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5.xml" ContentType="application/vnd.openxmlformats-officedocument.presentationml.tags+xml"/>
  <Override PartName="/ppt/notesSlides/notesSlide1.xml" ContentType="application/vnd.openxmlformats-officedocument.presentationml.notesSlid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2.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3.xml" ContentType="application/vnd.openxmlformats-officedocument.presentationml.notesSlide+xml"/>
  <Override PartName="/ppt/tags/tag82.xml" ContentType="application/vnd.openxmlformats-officedocument.presentationml.tags+xml"/>
  <Override PartName="/ppt/notesSlides/notesSlide4.xml" ContentType="application/vnd.openxmlformats-officedocument.presentationml.notesSlide+xml"/>
  <Override PartName="/ppt/tags/tag83.xml" ContentType="application/vnd.openxmlformats-officedocument.presentationml.tags+xml"/>
  <Override PartName="/ppt/notesSlides/notesSlide5.xml" ContentType="application/vnd.openxmlformats-officedocument.presentationml.notesSlide+xml"/>
  <Override PartName="/ppt/tags/tag84.xml" ContentType="application/vnd.openxmlformats-officedocument.presentationml.tags+xml"/>
  <Override PartName="/ppt/notesSlides/notesSlide6.xml" ContentType="application/vnd.openxmlformats-officedocument.presentationml.notesSlide+xml"/>
  <Override PartName="/ppt/tags/tag85.xml" ContentType="application/vnd.openxmlformats-officedocument.presentationml.tags+xml"/>
  <Override PartName="/ppt/notesSlides/notesSlide7.xml" ContentType="application/vnd.openxmlformats-officedocument.presentationml.notesSlide+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notesSlides/notesSlide9.xml" ContentType="application/vnd.openxmlformats-officedocument.presentationml.notesSlide+xml"/>
  <Override PartName="/ppt/tags/tag88.xml" ContentType="application/vnd.openxmlformats-officedocument.presentationml.tags+xml"/>
  <Override PartName="/ppt/notesSlides/notesSlide10.xml" ContentType="application/vnd.openxmlformats-officedocument.presentationml.notesSlide+xml"/>
  <Override PartName="/ppt/tags/tag89.xml" ContentType="application/vnd.openxmlformats-officedocument.presentationml.tags+xml"/>
  <Override PartName="/ppt/notesSlides/notesSlide11.xml" ContentType="application/vnd.openxmlformats-officedocument.presentationml.notesSlide+xml"/>
  <Override PartName="/ppt/tags/tag90.xml" ContentType="application/vnd.openxmlformats-officedocument.presentationml.tags+xml"/>
  <Override PartName="/ppt/notesSlides/notesSlide12.xml" ContentType="application/vnd.openxmlformats-officedocument.presentationml.notesSlide+xml"/>
  <Override PartName="/ppt/tags/tag91.xml" ContentType="application/vnd.openxmlformats-officedocument.presentationml.tags+xml"/>
  <Override PartName="/ppt/notesSlides/notesSlide13.xml" ContentType="application/vnd.openxmlformats-officedocument.presentationml.notesSlide+xml"/>
  <Override PartName="/ppt/tags/tag92.xml" ContentType="application/vnd.openxmlformats-officedocument.presentationml.tags+xml"/>
  <Override PartName="/ppt/notesSlides/notesSlide14.xml" ContentType="application/vnd.openxmlformats-officedocument.presentationml.notesSlide+xml"/>
  <Override PartName="/ppt/tags/tag93.xml" ContentType="application/vnd.openxmlformats-officedocument.presentationml.tags+xml"/>
  <Override PartName="/ppt/notesSlides/notesSlide15.xml" ContentType="application/vnd.openxmlformats-officedocument.presentationml.notesSlide+xml"/>
  <Override PartName="/ppt/tags/tag94.xml" ContentType="application/vnd.openxmlformats-officedocument.presentationml.tags+xml"/>
  <Override PartName="/ppt/notesSlides/notesSlide16.xml" ContentType="application/vnd.openxmlformats-officedocument.presentationml.notesSlide+xml"/>
  <Override PartName="/ppt/tags/tag95.xml" ContentType="application/vnd.openxmlformats-officedocument.presentationml.tags+xml"/>
  <Override PartName="/ppt/notesSlides/notesSlide17.xml" ContentType="application/vnd.openxmlformats-officedocument.presentationml.notesSlide+xml"/>
  <Override PartName="/ppt/tags/tag96.xml" ContentType="application/vnd.openxmlformats-officedocument.presentationml.tags+xml"/>
  <Override PartName="/ppt/notesSlides/notesSlide18.xml" ContentType="application/vnd.openxmlformats-officedocument.presentationml.notesSlide+xml"/>
  <Override PartName="/ppt/tags/tag97.xml" ContentType="application/vnd.openxmlformats-officedocument.presentationml.tags+xml"/>
  <Override PartName="/ppt/notesSlides/notesSlide19.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0.xml" ContentType="application/vnd.openxmlformats-officedocument.presentationml.notesSlide+xml"/>
  <Override PartName="/ppt/charts/chart1.xml" ContentType="application/vnd.openxmlformats-officedocument.drawingml.chart+xml"/>
  <Override PartName="/ppt/tags/tag109.xml" ContentType="application/vnd.openxmlformats-officedocument.presentationml.tags+xml"/>
  <Override PartName="/ppt/notesSlides/notesSlide21.xml" ContentType="application/vnd.openxmlformats-officedocument.presentationml.notesSlide+xml"/>
  <Override PartName="/ppt/tags/tag110.xml" ContentType="application/vnd.openxmlformats-officedocument.presentationml.tags+xml"/>
  <Override PartName="/ppt/notesSlides/notesSlide22.xml" ContentType="application/vnd.openxmlformats-officedocument.presentationml.notesSlide+xml"/>
  <Override PartName="/ppt/tags/tag111.xml" ContentType="application/vnd.openxmlformats-officedocument.presentationml.tags+xml"/>
  <Override PartName="/ppt/notesSlides/notesSlide23.xml" ContentType="application/vnd.openxmlformats-officedocument.presentationml.notesSlide+xml"/>
  <Override PartName="/ppt/tags/tag112.xml" ContentType="application/vnd.openxmlformats-officedocument.presentationml.tags+xml"/>
  <Override PartName="/ppt/notesSlides/notesSlide24.xml" ContentType="application/vnd.openxmlformats-officedocument.presentationml.notesSlide+xml"/>
  <Override PartName="/ppt/tags/tag113.xml" ContentType="application/vnd.openxmlformats-officedocument.presentationml.tags+xml"/>
  <Override PartName="/ppt/notesSlides/notesSlide25.xml" ContentType="application/vnd.openxmlformats-officedocument.presentationml.notesSlide+xml"/>
  <Override PartName="/ppt/tags/tag114.xml" ContentType="application/vnd.openxmlformats-officedocument.presentationml.tags+xml"/>
  <Override PartName="/ppt/notesSlides/notesSlide26.xml" ContentType="application/vnd.openxmlformats-officedocument.presentationml.notesSlide+xml"/>
  <Override PartName="/ppt/tags/tag115.xml" ContentType="application/vnd.openxmlformats-officedocument.presentationml.tags+xml"/>
  <Override PartName="/ppt/notesSlides/notesSlide27.xml" ContentType="application/vnd.openxmlformats-officedocument.presentationml.notesSlide+xml"/>
  <Override PartName="/ppt/tags/tag116.xml" ContentType="application/vnd.openxmlformats-officedocument.presentationml.tags+xml"/>
  <Override PartName="/ppt/notesSlides/notesSlide28.xml" ContentType="application/vnd.openxmlformats-officedocument.presentationml.notesSlide+xml"/>
  <Override PartName="/ppt/tags/tag117.xml" ContentType="application/vnd.openxmlformats-officedocument.presentationml.tags+xml"/>
  <Override PartName="/ppt/notesSlides/notesSlide29.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30.xml" ContentType="application/vnd.openxmlformats-officedocument.presentationml.notesSlide+xml"/>
  <Override PartName="/ppt/tags/tag120.xml" ContentType="application/vnd.openxmlformats-officedocument.presentationml.tags+xml"/>
  <Override PartName="/ppt/notesSlides/notesSlide31.xml" ContentType="application/vnd.openxmlformats-officedocument.presentationml.notesSlide+xml"/>
  <Override PartName="/ppt/tags/tag121.xml" ContentType="application/vnd.openxmlformats-officedocument.presentationml.tags+xml"/>
  <Override PartName="/ppt/notesSlides/notesSlide32.xml" ContentType="application/vnd.openxmlformats-officedocument.presentationml.notesSlide+xml"/>
  <Override PartName="/ppt/tags/tag122.xml" ContentType="application/vnd.openxmlformats-officedocument.presentationml.tags+xml"/>
  <Override PartName="/ppt/notesSlides/notesSlide33.xml" ContentType="application/vnd.openxmlformats-officedocument.presentationml.notesSlide+xml"/>
  <Override PartName="/ppt/tags/tag123.xml" ContentType="application/vnd.openxmlformats-officedocument.presentationml.tags+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955" r:id="rId1"/>
  </p:sldMasterIdLst>
  <p:notesMasterIdLst>
    <p:notesMasterId r:id="rId41"/>
  </p:notesMasterIdLst>
  <p:handoutMasterIdLst>
    <p:handoutMasterId r:id="rId42"/>
  </p:handoutMasterIdLst>
  <p:sldIdLst>
    <p:sldId id="256" r:id="rId2"/>
    <p:sldId id="470" r:id="rId3"/>
    <p:sldId id="487" r:id="rId4"/>
    <p:sldId id="485" r:id="rId5"/>
    <p:sldId id="484" r:id="rId6"/>
    <p:sldId id="456" r:id="rId7"/>
    <p:sldId id="258" r:id="rId8"/>
    <p:sldId id="259" r:id="rId9"/>
    <p:sldId id="260" r:id="rId10"/>
    <p:sldId id="261" r:id="rId11"/>
    <p:sldId id="449" r:id="rId12"/>
    <p:sldId id="298" r:id="rId13"/>
    <p:sldId id="303" r:id="rId14"/>
    <p:sldId id="335" r:id="rId15"/>
    <p:sldId id="397" r:id="rId16"/>
    <p:sldId id="399" r:id="rId17"/>
    <p:sldId id="421" r:id="rId18"/>
    <p:sldId id="423" r:id="rId19"/>
    <p:sldId id="329" r:id="rId20"/>
    <p:sldId id="404" r:id="rId21"/>
    <p:sldId id="450" r:id="rId22"/>
    <p:sldId id="384" r:id="rId23"/>
    <p:sldId id="310" r:id="rId24"/>
    <p:sldId id="334" r:id="rId25"/>
    <p:sldId id="398" r:id="rId26"/>
    <p:sldId id="365" r:id="rId27"/>
    <p:sldId id="308" r:id="rId28"/>
    <p:sldId id="400" r:id="rId29"/>
    <p:sldId id="425" r:id="rId30"/>
    <p:sldId id="321" r:id="rId31"/>
    <p:sldId id="395" r:id="rId32"/>
    <p:sldId id="394" r:id="rId33"/>
    <p:sldId id="387" r:id="rId34"/>
    <p:sldId id="393" r:id="rId35"/>
    <p:sldId id="382" r:id="rId36"/>
    <p:sldId id="448" r:id="rId37"/>
    <p:sldId id="389" r:id="rId38"/>
    <p:sldId id="390" r:id="rId39"/>
    <p:sldId id="392" r:id="rId40"/>
  </p:sldIdLst>
  <p:sldSz cx="12192000" cy="6858000"/>
  <p:notesSz cx="6797675" cy="9872663"/>
  <p:custDataLst>
    <p:tags r:id="rId43"/>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15:guide id="1" orient="horz" pos="3861" userDrawn="1">
          <p15:clr>
            <a:srgbClr val="A4A3A4"/>
          </p15:clr>
        </p15:guide>
        <p15:guide id="2" orient="horz" pos="1185" userDrawn="1">
          <p15:clr>
            <a:srgbClr val="A4A3A4"/>
          </p15:clr>
        </p15:guide>
        <p15:guide id="3" pos="4887" userDrawn="1">
          <p15:clr>
            <a:srgbClr val="A4A3A4"/>
          </p15:clr>
        </p15:guide>
        <p15:guide id="4" pos="279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CDCDC"/>
    <a:srgbClr val="D7D7D7"/>
    <a:srgbClr val="E6E6E6"/>
    <a:srgbClr val="FFFFFF"/>
    <a:srgbClr val="DCE7F9"/>
    <a:srgbClr val="F0F3FD"/>
    <a:srgbClr val="EAEEFA"/>
    <a:srgbClr val="E4EBFB"/>
    <a:srgbClr val="D5E6E8"/>
    <a:srgbClr val="58989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651" autoAdjust="0"/>
    <p:restoredTop sz="93016" autoAdjust="0"/>
  </p:normalViewPr>
  <p:slideViewPr>
    <p:cSldViewPr snapToGrid="0">
      <p:cViewPr varScale="1">
        <p:scale>
          <a:sx n="95" d="100"/>
          <a:sy n="95" d="100"/>
        </p:scale>
        <p:origin x="1302" y="78"/>
      </p:cViewPr>
      <p:guideLst>
        <p:guide orient="horz" pos="3861"/>
        <p:guide orient="horz" pos="1185"/>
        <p:guide pos="4887"/>
        <p:guide pos="279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8" d="100"/>
          <a:sy n="78" d="100"/>
        </p:scale>
        <p:origin x="3978" y="9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92860107928601E-2"/>
          <c:y val="0.10641110376734964"/>
          <c:w val="0.97841427978414275"/>
          <c:h val="0.85922009253139453"/>
        </c:manualLayout>
      </c:layout>
      <c:barChart>
        <c:barDir val="col"/>
        <c:grouping val="stacked"/>
        <c:varyColors val="0"/>
        <c:ser>
          <c:idx val="0"/>
          <c:order val="0"/>
          <c:spPr>
            <a:solidFill>
              <a:schemeClr val="accent1"/>
            </a:solidFill>
            <a:ln>
              <a:noFill/>
            </a:ln>
          </c:spPr>
          <c:invertIfNegative val="0"/>
          <c:dLbls>
            <c:dLbl>
              <c:idx val="0"/>
              <c:layout>
                <c:manualLayout>
                  <c:x val="0"/>
                  <c:y val="-0.48248512888301387"/>
                </c:manualLayout>
              </c:layout>
              <c:numFmt formatCode="#,##0&quot;%&quot;;&quot;-&quot;#,##0&quot;%&quot;" sourceLinked="0"/>
              <c:spPr>
                <a:noFill/>
                <a:ln>
                  <a:noFill/>
                </a:ln>
              </c:spPr>
              <c:txPr>
                <a:bodyPr wrap="none"/>
                <a:lstStyle/>
                <a:p>
                  <a:pPr>
                    <a:defRPr sz="1400" b="1" kern="1200">
                      <a:solidFill>
                        <a:schemeClr val="tx1"/>
                      </a:solidFill>
                      <a:latin typeface="+mn-lt"/>
                      <a:ea typeface="+mn-ea"/>
                      <a:cs typeface="+mn-cs"/>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06-41A9-B07E-77D8E4E8AC9F}"/>
                </c:ext>
              </c:extLst>
            </c:dLbl>
            <c:dLbl>
              <c:idx val="1"/>
              <c:layout>
                <c:manualLayout>
                  <c:x val="0"/>
                  <c:y val="-0.44811632518175809"/>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06-41A9-B07E-77D8E4E8AC9F}"/>
                </c:ext>
              </c:extLst>
            </c:dLbl>
            <c:dLbl>
              <c:idx val="2"/>
              <c:layout>
                <c:manualLayout>
                  <c:x val="0"/>
                  <c:y val="-0.44811632518175809"/>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06-41A9-B07E-77D8E4E8AC9F}"/>
                </c:ext>
              </c:extLst>
            </c:dLbl>
            <c:dLbl>
              <c:idx val="3"/>
              <c:layout>
                <c:manualLayout>
                  <c:x val="0"/>
                  <c:y val="-0.39656311962987439"/>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06-41A9-B07E-77D8E4E8AC9F}"/>
                </c:ext>
              </c:extLst>
            </c:dLbl>
            <c:dLbl>
              <c:idx val="4"/>
              <c:layout>
                <c:manualLayout>
                  <c:x val="0"/>
                  <c:y val="-0.36219431592861862"/>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06-41A9-B07E-77D8E4E8AC9F}"/>
                </c:ext>
              </c:extLst>
            </c:dLbl>
            <c:dLbl>
              <c:idx val="5"/>
              <c:layout>
                <c:manualLayout>
                  <c:x val="0"/>
                  <c:y val="-0.34500991407799075"/>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06-41A9-B07E-77D8E4E8AC9F}"/>
                </c:ext>
              </c:extLst>
            </c:dLbl>
            <c:dLbl>
              <c:idx val="6"/>
              <c:layout>
                <c:manualLayout>
                  <c:x val="0"/>
                  <c:y val="-0.32782551222736284"/>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06-41A9-B07E-77D8E4E8AC9F}"/>
                </c:ext>
              </c:extLst>
            </c:dLbl>
            <c:dLbl>
              <c:idx val="7"/>
              <c:layout>
                <c:manualLayout>
                  <c:x val="0"/>
                  <c:y val="-0.32782551222736284"/>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406-41A9-B07E-77D8E4E8AC9F}"/>
                </c:ext>
              </c:extLst>
            </c:dLbl>
            <c:dLbl>
              <c:idx val="8"/>
              <c:layout>
                <c:manualLayout>
                  <c:x val="0"/>
                  <c:y val="-0.32782551222736284"/>
                </c:manualLayout>
              </c:layout>
              <c:numFmt formatCode="#,##0&quot;%&quot;;&quot;-&quot;#,##0&quot;%&quot;" sourceLinked="0"/>
              <c:spPr>
                <a:noFill/>
                <a:ln>
                  <a:noFill/>
                </a:ln>
              </c:spPr>
              <c:txPr>
                <a:bodyPr wrap="none"/>
                <a:lstStyle/>
                <a:p>
                  <a:pPr>
                    <a:defRPr sz="1400" b="1" kern="1200">
                      <a:solidFill>
                        <a:schemeClr val="tx1"/>
                      </a:solidFill>
                      <a:latin typeface="Corbel"/>
                      <a:ea typeface="Corbel"/>
                      <a:cs typeface="Corbel"/>
                      <a:sym typeface="Corbel"/>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406-41A9-B07E-77D8E4E8AC9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5</c:v>
                </c:pt>
                <c:pt idx="1">
                  <c:v>23</c:v>
                </c:pt>
                <c:pt idx="2">
                  <c:v>23</c:v>
                </c:pt>
                <c:pt idx="3">
                  <c:v>20</c:v>
                </c:pt>
                <c:pt idx="4">
                  <c:v>18</c:v>
                </c:pt>
                <c:pt idx="5">
                  <c:v>17</c:v>
                </c:pt>
                <c:pt idx="6">
                  <c:v>16</c:v>
                </c:pt>
                <c:pt idx="7">
                  <c:v>16</c:v>
                </c:pt>
                <c:pt idx="8">
                  <c:v>16</c:v>
                </c:pt>
              </c:numCache>
            </c:numRef>
          </c:val>
          <c:extLst>
            <c:ext xmlns:c16="http://schemas.microsoft.com/office/drawing/2014/chart" uri="{C3380CC4-5D6E-409C-BE32-E72D297353CC}">
              <c16:uniqueId val="{00000009-3406-41A9-B07E-77D8E4E8AC9F}"/>
            </c:ext>
          </c:extLst>
        </c:ser>
        <c:dLbls>
          <c:showLegendKey val="0"/>
          <c:showVal val="0"/>
          <c:showCatName val="0"/>
          <c:showSerName val="0"/>
          <c:showPercent val="0"/>
          <c:showBubbleSize val="0"/>
        </c:dLbls>
        <c:gapWidth val="80"/>
        <c:overlap val="100"/>
        <c:axId val="674502112"/>
        <c:axId val="1"/>
      </c:barChart>
      <c:catAx>
        <c:axId val="674502112"/>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25"/>
          <c:min val="0"/>
        </c:scaling>
        <c:delete val="1"/>
        <c:axPos val="l"/>
        <c:numFmt formatCode="General" sourceLinked="1"/>
        <c:majorTickMark val="out"/>
        <c:minorTickMark val="none"/>
        <c:tickLblPos val="nextTo"/>
        <c:crossAx val="67450211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33464"/>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1" y="9637483"/>
            <a:ext cx="2945659" cy="23346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50443" y="9637483"/>
            <a:ext cx="2945659" cy="23346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57175"/>
          </a:xfrm>
          <a:prstGeom prst="rect">
            <a:avLst/>
          </a:prstGeom>
        </p:spPr>
        <p:txBody>
          <a:bodyPr vert="horz" lIns="91440" tIns="45720" rIns="91440" bIns="45720" rtlCol="0"/>
          <a:lstStyle>
            <a:lvl1pPr algn="l" rtl="0" fontAlgn="auto">
              <a:spcBef>
                <a:spcPts val="0"/>
              </a:spcBef>
              <a:spcAft>
                <a:spcPts val="0"/>
              </a:spcAft>
              <a:defRPr sz="1200">
                <a:latin typeface="Corbel" panose="020B0503020204020204" pitchFamily="34" charset="0"/>
                <a:cs typeface="+mn-cs"/>
                <a:sym typeface="Corbel" panose="020B0503020204020204" pitchFamily="34" charset="0"/>
              </a:defRPr>
            </a:lvl1pPr>
          </a:lstStyle>
          <a:p>
            <a:pPr>
              <a:defRPr/>
            </a:pPr>
            <a:endParaRPr lang="nl-NL" dirty="0"/>
          </a:p>
        </p:txBody>
      </p:sp>
      <p:sp>
        <p:nvSpPr>
          <p:cNvPr id="3" name="Tijdelijke aanduiding voor datum 2"/>
          <p:cNvSpPr>
            <a:spLocks noGrp="1"/>
          </p:cNvSpPr>
          <p:nvPr>
            <p:ph type="dt" idx="1"/>
          </p:nvPr>
        </p:nvSpPr>
        <p:spPr>
          <a:xfrm>
            <a:off x="3850443" y="0"/>
            <a:ext cx="2945659" cy="257175"/>
          </a:xfrm>
          <a:prstGeom prst="rect">
            <a:avLst/>
          </a:prstGeom>
        </p:spPr>
        <p:txBody>
          <a:bodyPr vert="horz" lIns="91440" tIns="45720" rIns="91440" bIns="45720" rtlCol="0"/>
          <a:lstStyle>
            <a:lvl1pPr algn="r" rtl="0" fontAlgn="auto">
              <a:spcBef>
                <a:spcPts val="0"/>
              </a:spcBef>
              <a:spcAft>
                <a:spcPts val="0"/>
              </a:spcAft>
              <a:defRPr sz="1200">
                <a:latin typeface="Corbel" panose="020B0503020204020204" pitchFamily="34" charset="0"/>
                <a:cs typeface="+mn-cs"/>
                <a:sym typeface="Corbel" panose="020B0503020204020204" pitchFamily="34" charset="0"/>
              </a:defRPr>
            </a:lvl1pPr>
          </a:lstStyle>
          <a:p>
            <a:pPr>
              <a:defRPr/>
            </a:pPr>
            <a:fld id="{AC5868DF-D8BD-409C-B6DB-626CBFA20D94}" type="datetimeFigureOut">
              <a:rPr lang="nl-NL" smtClean="0"/>
              <a:pPr>
                <a:defRPr/>
              </a:pPr>
              <a:t>27-2-2023</a:t>
            </a:fld>
            <a:endParaRPr lang="nl-NL" dirty="0"/>
          </a:p>
        </p:txBody>
      </p:sp>
      <p:sp>
        <p:nvSpPr>
          <p:cNvPr id="4" name="Tijdelijke aanduiding voor dia-afbeelding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6363" y="4689515"/>
            <a:ext cx="6584950" cy="4442699"/>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613774"/>
            <a:ext cx="2945659" cy="257175"/>
          </a:xfrm>
          <a:prstGeom prst="rect">
            <a:avLst/>
          </a:prstGeom>
        </p:spPr>
        <p:txBody>
          <a:bodyPr vert="horz" lIns="91440" tIns="45720" rIns="91440" bIns="45720" rtlCol="0" anchor="b"/>
          <a:lstStyle>
            <a:lvl1pPr algn="l" rtl="0" fontAlgn="auto">
              <a:spcBef>
                <a:spcPts val="0"/>
              </a:spcBef>
              <a:spcAft>
                <a:spcPts val="0"/>
              </a:spcAft>
              <a:defRPr sz="1200">
                <a:latin typeface="Corbel" panose="020B0503020204020204" pitchFamily="34" charset="0"/>
                <a:cs typeface="+mn-cs"/>
                <a:sym typeface="Corbel" panose="020B0503020204020204" pitchFamily="34" charset="0"/>
              </a:defRPr>
            </a:lvl1pPr>
          </a:lstStyle>
          <a:p>
            <a:pPr>
              <a:defRPr/>
            </a:pPr>
            <a:endParaRPr lang="nl-NL" dirty="0"/>
          </a:p>
        </p:txBody>
      </p:sp>
      <p:sp>
        <p:nvSpPr>
          <p:cNvPr id="7" name="Tijdelijke aanduiding voor dianummer 6"/>
          <p:cNvSpPr>
            <a:spLocks noGrp="1"/>
          </p:cNvSpPr>
          <p:nvPr>
            <p:ph type="sldNum" sz="quarter" idx="5"/>
          </p:nvPr>
        </p:nvSpPr>
        <p:spPr>
          <a:xfrm>
            <a:off x="3850443" y="9613774"/>
            <a:ext cx="2945659" cy="257175"/>
          </a:xfrm>
          <a:prstGeom prst="rect">
            <a:avLst/>
          </a:prstGeom>
        </p:spPr>
        <p:txBody>
          <a:bodyPr vert="horz" wrap="square" lIns="91440" tIns="45720" rIns="91440" bIns="45720" numCol="1" anchor="b" anchorCtr="0" compatLnSpc="1">
            <a:prstTxWarp prst="textNoShape">
              <a:avLst/>
            </a:prstTxWarp>
          </a:bodyPr>
          <a:lstStyle>
            <a:lvl1pPr algn="r" rtl="0">
              <a:defRPr sz="1200">
                <a:latin typeface="Corbel" panose="020B0503020204020204" pitchFamily="34" charset="0"/>
                <a:sym typeface="Corbel" panose="020B0503020204020204" pitchFamily="34" charset="0"/>
              </a:defRPr>
            </a:lvl1pPr>
          </a:lstStyle>
          <a:p>
            <a:fld id="{3894C14A-43FC-4077-9BE3-59190B437372}" type="slidenum">
              <a:rPr lang="nl-NL" altLang="en-US" smtClean="0"/>
              <a:pPr/>
              <a:t>‹#›</a:t>
            </a:fld>
            <a:endParaRPr lang="nl-NL" altLang="en-US" dirty="0"/>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Corbel" panose="020B0503020204020204" pitchFamily="34" charset="0"/>
        <a:ea typeface="+mn-ea"/>
        <a:cs typeface="+mn-cs"/>
        <a:sym typeface="Corbel" panose="020B0503020204020204" pitchFamily="34" charset="0"/>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9"/>
        <p:cNvGrpSpPr/>
        <p:nvPr/>
      </p:nvGrpSpPr>
      <p:grpSpPr>
        <a:xfrm>
          <a:off x="0" y="0"/>
          <a:ext cx="0" cy="0"/>
          <a:chOff x="0" y="0"/>
          <a:chExt cx="0" cy="0"/>
        </a:xfrm>
      </p:grpSpPr>
      <p:sp>
        <p:nvSpPr>
          <p:cNvPr id="450" name="Google Shape;450;p1: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51" name="Google Shape;451;p1:notes"/>
          <p:cNvSpPr txBox="1">
            <a:spLocks noGrp="1"/>
          </p:cNvSpPr>
          <p:nvPr>
            <p:ph type="body" idx="1"/>
          </p:nvPr>
        </p:nvSpPr>
        <p:spPr>
          <a:xfrm>
            <a:off x="106363" y="4689515"/>
            <a:ext cx="6584950" cy="4442699"/>
          </a:xfrm>
          <a:prstGeom prst="rect">
            <a:avLst/>
          </a:prstGeom>
          <a:noFill/>
          <a:ln>
            <a:noFill/>
          </a:ln>
        </p:spPr>
        <p:txBody>
          <a:bodyPr spcFirstLastPara="1" wrap="square" lIns="91425" tIns="45700" rIns="91425" bIns="45700" anchor="t" anchorCtr="0">
            <a:normAutofit/>
          </a:bodyPr>
          <a:lstStyle/>
          <a:p>
            <a:pPr marL="171450" lvl="0" indent="-120650" algn="l">
              <a:spcBef>
                <a:spcPts val="0"/>
              </a:spcBef>
              <a:spcAft>
                <a:spcPts val="0"/>
              </a:spcAft>
              <a:buClr>
                <a:schemeClr val="dk1"/>
              </a:buClr>
              <a:buSzPts val="800"/>
              <a:buNone/>
            </a:pPr>
            <a:endParaRPr lang="nl-NL" dirty="0"/>
          </a:p>
        </p:txBody>
      </p:sp>
      <p:sp>
        <p:nvSpPr>
          <p:cNvPr id="452" name="Google Shape;452;p1:notes"/>
          <p:cNvSpPr txBox="1">
            <a:spLocks noGrp="1"/>
          </p:cNvSpPr>
          <p:nvPr>
            <p:ph type="sldNum" idx="12"/>
          </p:nvPr>
        </p:nvSpPr>
        <p:spPr>
          <a:xfrm>
            <a:off x="3850443" y="9613774"/>
            <a:ext cx="2945659" cy="257175"/>
          </a:xfrm>
          <a:prstGeom prst="rect">
            <a:avLst/>
          </a:prstGeom>
          <a:noFill/>
          <a:ln>
            <a:noFill/>
          </a:ln>
        </p:spPr>
        <p:txBody>
          <a:bodyPr spcFirstLastPara="1" wrap="square" lIns="91425" tIns="45700" rIns="91425" bIns="45700" anchor="b" anchorCtr="0">
            <a:noAutofit/>
          </a:bodyPr>
          <a:lstStyle/>
          <a:p>
            <a:pPr marL="180000" lvl="0" indent="-180000" algn="r">
              <a:lnSpc>
                <a:spcPct val="90000"/>
              </a:lnSpc>
              <a:spcBef>
                <a:spcPts val="0"/>
              </a:spcBef>
              <a:spcAft>
                <a:spcPts val="0"/>
              </a:spcAft>
              <a:buSzPts val="1200"/>
              <a:buChar char="●"/>
            </a:pPr>
            <a:fld id="{00000000-1234-1234-1234-123412341234}" type="slidenum">
              <a:rPr lang="nl-NL" smtClean="0"/>
              <a:pPr marL="180000" lvl="0" indent="-180000" algn="r">
                <a:lnSpc>
                  <a:spcPct val="90000"/>
                </a:lnSpc>
                <a:spcBef>
                  <a:spcPts val="0"/>
                </a:spcBef>
                <a:spcAft>
                  <a:spcPts val="0"/>
                </a:spcAft>
                <a:buSzPts val="1200"/>
                <a:buChar char="●"/>
              </a:pPr>
              <a:t>1</a:t>
            </a:fld>
            <a:endParaRPr lang="nl-NL"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85948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80206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44258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100374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1033127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491888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0556095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047682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988844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9"/>
        <p:cNvGrpSpPr/>
        <p:nvPr/>
      </p:nvGrpSpPr>
      <p:grpSpPr>
        <a:xfrm>
          <a:off x="0" y="0"/>
          <a:ext cx="0" cy="0"/>
          <a:chOff x="0" y="0"/>
          <a:chExt cx="0" cy="0"/>
        </a:xfrm>
      </p:grpSpPr>
      <p:sp>
        <p:nvSpPr>
          <p:cNvPr id="530" name="Google Shape;530;p8: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1" name="Google Shape;531;p8: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01219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NL" dirty="0"/>
              <a:t>https://www.at5.nl/artikelen/204337/groenlinks-wil-blijven-investeren-tegen-het-woord-schuld-maak-ik-altijd-bezwaar</a:t>
            </a:r>
          </a:p>
          <a:p>
            <a:r>
              <a:rPr lang="nl-NL" dirty="0"/>
              <a:t>https://www.persinfo.org/nl/nieuws/artikel/g</a:t>
            </a:r>
          </a:p>
          <a:p>
            <a:r>
              <a:rPr lang="nl-NL" dirty="0"/>
              <a:t>https://dvhn.nl/economie/Geen-wethouder-wil-het-hoogste-ozb-tarief-van-Nederland-27510766.htmlemeente-gooik-herfinanciert-deel-van-de-schuldportefeuille/52820</a:t>
            </a:r>
          </a:p>
          <a:p>
            <a:r>
              <a:rPr lang="nl-NL" dirty="0"/>
              <a:t>https://eenvandaag.avrotros.nl/item/vrijwel-alle-gemeenten-hebben-langlopende-schulden-maar-dat-is-eigenlijk-niet-erg/</a:t>
            </a:r>
          </a:p>
          <a:p>
            <a:r>
              <a:rPr lang="nl-NL" dirty="0"/>
              <a:t>https://www.nhnieuws.nl/nieuws/292117/amsterdam-investeert-miljarden-in-de-stad-en-laat-schuld-verder-oplopen</a:t>
            </a:r>
          </a:p>
          <a:p>
            <a:r>
              <a:rPr lang="nl-NL" dirty="0"/>
              <a:t>https://vng.nl/files/vng/20150528-let-op-schuld.pdf</a:t>
            </a:r>
          </a:p>
          <a:p>
            <a:r>
              <a:rPr lang="nl-NL" dirty="0"/>
              <a:t>https://www.parool.nl/amsterdam/gemeente-amsterdam-investeert-flink-in-de-stad-om-uit-coronacrisis-te-komen~bf8f35b4/?referrer=https%3A%2F%2Fwww.google.com%2F</a:t>
            </a:r>
          </a:p>
          <a:p>
            <a:r>
              <a:rPr lang="nl-NL" dirty="0"/>
              <a:t>https://sleutelstad.nl/2021/10/20/schuldenlast-gemeente-oegstgeest-verdubbelt-door-mega-investeringen/</a:t>
            </a:r>
          </a:p>
          <a:p>
            <a:r>
              <a:rPr lang="nl-NL" dirty="0"/>
              <a:t>https://www.bngbank.nl/magazine/Overig/Schulden--een-last-voor-gemeenten</a:t>
            </a:r>
          </a:p>
        </p:txBody>
      </p:sp>
      <p:sp>
        <p:nvSpPr>
          <p:cNvPr id="4" name="Slide Number Placeholder 3"/>
          <p:cNvSpPr>
            <a:spLocks noGrp="1"/>
          </p:cNvSpPr>
          <p:nvPr>
            <p:ph type="sldNum" sz="quarter" idx="5"/>
          </p:nvPr>
        </p:nvSpPr>
        <p:spPr/>
        <p:txBody>
          <a:bodyPr/>
          <a:lstStyle/>
          <a:p>
            <a:fld id="{3894C14A-43FC-4077-9BE3-59190B437372}" type="slidenum">
              <a:rPr lang="nl-NL" altLang="en-US" smtClean="0"/>
              <a:pPr/>
              <a:t>5</a:t>
            </a:fld>
            <a:endParaRPr lang="nl-NL" altLang="en-US" dirty="0"/>
          </a:p>
        </p:txBody>
      </p:sp>
    </p:spTree>
    <p:extLst>
      <p:ext uri="{BB962C8B-B14F-4D97-AF65-F5344CB8AC3E}">
        <p14:creationId xmlns:p14="http://schemas.microsoft.com/office/powerpoint/2010/main" val="24455048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518484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26276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788054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9"/>
        <p:cNvGrpSpPr/>
        <p:nvPr/>
      </p:nvGrpSpPr>
      <p:grpSpPr>
        <a:xfrm>
          <a:off x="0" y="0"/>
          <a:ext cx="0" cy="0"/>
          <a:chOff x="0" y="0"/>
          <a:chExt cx="0" cy="0"/>
        </a:xfrm>
      </p:grpSpPr>
      <p:sp>
        <p:nvSpPr>
          <p:cNvPr id="530" name="Google Shape;530;p8: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1" name="Google Shape;531;p8: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6288639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0138362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879759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9"/>
        <p:cNvGrpSpPr/>
        <p:nvPr/>
      </p:nvGrpSpPr>
      <p:grpSpPr>
        <a:xfrm>
          <a:off x="0" y="0"/>
          <a:ext cx="0" cy="0"/>
          <a:chOff x="0" y="0"/>
          <a:chExt cx="0" cy="0"/>
        </a:xfrm>
      </p:grpSpPr>
      <p:sp>
        <p:nvSpPr>
          <p:cNvPr id="530" name="Google Shape;530;p8: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1" name="Google Shape;531;p8: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609807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0191010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65236764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42876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4"/>
        <p:cNvGrpSpPr/>
        <p:nvPr/>
      </p:nvGrpSpPr>
      <p:grpSpPr>
        <a:xfrm>
          <a:off x="0" y="0"/>
          <a:ext cx="0" cy="0"/>
          <a:chOff x="0" y="0"/>
          <a:chExt cx="0" cy="0"/>
        </a:xfrm>
      </p:grpSpPr>
      <p:sp>
        <p:nvSpPr>
          <p:cNvPr id="465" name="Google Shape;465;p3: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466" name="Google Shape;466;p3: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460983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1718284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2700008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16883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74306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1"/>
        <p:cNvGrpSpPr/>
        <p:nvPr/>
      </p:nvGrpSpPr>
      <p:grpSpPr>
        <a:xfrm>
          <a:off x="0" y="0"/>
          <a:ext cx="0" cy="0"/>
          <a:chOff x="0" y="0"/>
          <a:chExt cx="0" cy="0"/>
        </a:xfrm>
      </p:grpSpPr>
      <p:sp>
        <p:nvSpPr>
          <p:cNvPr id="472" name="Google Shape;472;p4: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3" name="Google Shape;473;p4:notes"/>
          <p:cNvSpPr txBox="1">
            <a:spLocks noGrp="1"/>
          </p:cNvSpPr>
          <p:nvPr>
            <p:ph type="body" idx="1"/>
          </p:nvPr>
        </p:nvSpPr>
        <p:spPr>
          <a:xfrm>
            <a:off x="106363" y="4689515"/>
            <a:ext cx="6584950" cy="4442699"/>
          </a:xfrm>
          <a:prstGeom prst="rect">
            <a:avLst/>
          </a:prstGeom>
          <a:noFill/>
          <a:ln>
            <a:noFill/>
          </a:ln>
        </p:spPr>
        <p:txBody>
          <a:bodyPr spcFirstLastPara="1" wrap="square" lIns="91425" tIns="45700" rIns="91425" bIns="45700" anchor="t" anchorCtr="0">
            <a:normAutofit/>
          </a:bodyPr>
          <a:lstStyle/>
          <a:p>
            <a:pPr marL="171450" lvl="0" indent="-120650" algn="l">
              <a:spcBef>
                <a:spcPts val="0"/>
              </a:spcBef>
              <a:spcAft>
                <a:spcPts val="0"/>
              </a:spcAft>
              <a:buClr>
                <a:schemeClr val="dk1"/>
              </a:buClr>
              <a:buSzPts val="800"/>
              <a:buNone/>
            </a:pPr>
            <a:endParaRPr lang="nl-NL" dirty="0"/>
          </a:p>
        </p:txBody>
      </p:sp>
      <p:sp>
        <p:nvSpPr>
          <p:cNvPr id="474" name="Google Shape;474;p4:notes"/>
          <p:cNvSpPr txBox="1">
            <a:spLocks noGrp="1"/>
          </p:cNvSpPr>
          <p:nvPr>
            <p:ph type="sldNum" idx="12"/>
          </p:nvPr>
        </p:nvSpPr>
        <p:spPr>
          <a:xfrm>
            <a:off x="3850443" y="9613774"/>
            <a:ext cx="2945659" cy="257175"/>
          </a:xfrm>
          <a:prstGeom prst="rect">
            <a:avLst/>
          </a:prstGeom>
          <a:noFill/>
          <a:ln>
            <a:noFill/>
          </a:ln>
        </p:spPr>
        <p:txBody>
          <a:bodyPr spcFirstLastPara="1" wrap="square" lIns="91425" tIns="45700" rIns="91425" bIns="45700" anchor="b" anchorCtr="0">
            <a:noAutofit/>
          </a:bodyPr>
          <a:lstStyle/>
          <a:p>
            <a:pPr marL="180000" lvl="0" indent="-180000" algn="r">
              <a:lnSpc>
                <a:spcPct val="90000"/>
              </a:lnSpc>
              <a:spcBef>
                <a:spcPts val="0"/>
              </a:spcBef>
              <a:spcAft>
                <a:spcPts val="0"/>
              </a:spcAft>
              <a:buSzPts val="1200"/>
              <a:buChar char="●"/>
            </a:pPr>
            <a:fld id="{00000000-1234-1234-1234-123412341234}" type="slidenum">
              <a:rPr lang="nl-NL" smtClean="0"/>
              <a:pPr marL="180000" lvl="0" indent="-180000" algn="r">
                <a:lnSpc>
                  <a:spcPct val="90000"/>
                </a:lnSpc>
                <a:spcBef>
                  <a:spcPts val="0"/>
                </a:spcBef>
                <a:spcAft>
                  <a:spcPts val="0"/>
                </a:spcAft>
                <a:buSzPts val="1200"/>
                <a:buChar char="●"/>
              </a:pPr>
              <a:t>8</a:t>
            </a:fld>
            <a:endParaRPr lang="nl-NL"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5: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5" name="Google Shape;485;p5:notes"/>
          <p:cNvSpPr txBox="1">
            <a:spLocks noGrp="1"/>
          </p:cNvSpPr>
          <p:nvPr>
            <p:ph type="body" idx="1"/>
          </p:nvPr>
        </p:nvSpPr>
        <p:spPr>
          <a:xfrm>
            <a:off x="106363" y="4689515"/>
            <a:ext cx="6584950" cy="4442699"/>
          </a:xfrm>
          <a:prstGeom prst="rect">
            <a:avLst/>
          </a:prstGeom>
          <a:noFill/>
          <a:ln>
            <a:noFill/>
          </a:ln>
        </p:spPr>
        <p:txBody>
          <a:bodyPr spcFirstLastPara="1" wrap="square" lIns="91425" tIns="45700" rIns="91425" bIns="45700" anchor="t" anchorCtr="0">
            <a:normAutofit/>
          </a:bodyPr>
          <a:lstStyle/>
          <a:p>
            <a:pPr marL="171450" lvl="0" indent="-120650" algn="l">
              <a:spcBef>
                <a:spcPts val="0"/>
              </a:spcBef>
              <a:spcAft>
                <a:spcPts val="0"/>
              </a:spcAft>
              <a:buClr>
                <a:schemeClr val="dk1"/>
              </a:buClr>
              <a:buSzPts val="800"/>
              <a:buNone/>
            </a:pPr>
            <a:endParaRPr lang="nl-NL" dirty="0"/>
          </a:p>
        </p:txBody>
      </p:sp>
      <p:sp>
        <p:nvSpPr>
          <p:cNvPr id="486" name="Google Shape;486;p5:notes"/>
          <p:cNvSpPr txBox="1">
            <a:spLocks noGrp="1"/>
          </p:cNvSpPr>
          <p:nvPr>
            <p:ph type="sldNum" idx="12"/>
          </p:nvPr>
        </p:nvSpPr>
        <p:spPr>
          <a:xfrm>
            <a:off x="3850443" y="9613774"/>
            <a:ext cx="2945659" cy="257175"/>
          </a:xfrm>
          <a:prstGeom prst="rect">
            <a:avLst/>
          </a:prstGeom>
          <a:noFill/>
          <a:ln>
            <a:noFill/>
          </a:ln>
        </p:spPr>
        <p:txBody>
          <a:bodyPr spcFirstLastPara="1" wrap="square" lIns="91425" tIns="45700" rIns="91425" bIns="45700" anchor="b" anchorCtr="0">
            <a:noAutofit/>
          </a:bodyPr>
          <a:lstStyle/>
          <a:p>
            <a:pPr marL="180000" lvl="0" indent="-180000" algn="r">
              <a:lnSpc>
                <a:spcPct val="90000"/>
              </a:lnSpc>
              <a:spcBef>
                <a:spcPts val="0"/>
              </a:spcBef>
              <a:spcAft>
                <a:spcPts val="0"/>
              </a:spcAft>
              <a:buSzPts val="1200"/>
              <a:buChar char="●"/>
            </a:pPr>
            <a:fld id="{00000000-1234-1234-1234-123412341234}" type="slidenum">
              <a:rPr lang="nl-NL" smtClean="0"/>
              <a:pPr marL="180000" lvl="0" indent="-180000" algn="r">
                <a:lnSpc>
                  <a:spcPct val="90000"/>
                </a:lnSpc>
                <a:spcBef>
                  <a:spcPts val="0"/>
                </a:spcBef>
                <a:spcAft>
                  <a:spcPts val="0"/>
                </a:spcAft>
                <a:buSzPts val="1200"/>
                <a:buChar char="●"/>
              </a:pPr>
              <a:t>9</a:t>
            </a:fld>
            <a:endParaRPr lang="nl-NL"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p6: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4" name="Google Shape;504;p6:notes"/>
          <p:cNvSpPr txBox="1">
            <a:spLocks noGrp="1"/>
          </p:cNvSpPr>
          <p:nvPr>
            <p:ph type="body" idx="1"/>
          </p:nvPr>
        </p:nvSpPr>
        <p:spPr>
          <a:xfrm>
            <a:off x="106363" y="4689515"/>
            <a:ext cx="6584950" cy="4442699"/>
          </a:xfrm>
          <a:prstGeom prst="rect">
            <a:avLst/>
          </a:prstGeom>
          <a:noFill/>
          <a:ln>
            <a:noFill/>
          </a:ln>
        </p:spPr>
        <p:txBody>
          <a:bodyPr spcFirstLastPara="1" wrap="square" lIns="91425" tIns="45700" rIns="91425" bIns="45700" anchor="t" anchorCtr="0">
            <a:normAutofit/>
          </a:bodyPr>
          <a:lstStyle/>
          <a:p>
            <a:pPr marL="171450" lvl="0" indent="-120650" algn="l">
              <a:spcBef>
                <a:spcPts val="0"/>
              </a:spcBef>
              <a:spcAft>
                <a:spcPts val="0"/>
              </a:spcAft>
              <a:buClr>
                <a:schemeClr val="dk1"/>
              </a:buClr>
              <a:buSzPts val="800"/>
              <a:buNone/>
            </a:pPr>
            <a:endParaRPr lang="nl-NL" dirty="0"/>
          </a:p>
        </p:txBody>
      </p:sp>
      <p:sp>
        <p:nvSpPr>
          <p:cNvPr id="505" name="Google Shape;505;p6:notes"/>
          <p:cNvSpPr txBox="1">
            <a:spLocks noGrp="1"/>
          </p:cNvSpPr>
          <p:nvPr>
            <p:ph type="sldNum" idx="12"/>
          </p:nvPr>
        </p:nvSpPr>
        <p:spPr>
          <a:xfrm>
            <a:off x="3850443" y="9613774"/>
            <a:ext cx="2945659" cy="257175"/>
          </a:xfrm>
          <a:prstGeom prst="rect">
            <a:avLst/>
          </a:prstGeom>
          <a:noFill/>
          <a:ln>
            <a:noFill/>
          </a:ln>
        </p:spPr>
        <p:txBody>
          <a:bodyPr spcFirstLastPara="1" wrap="square" lIns="91425" tIns="45700" rIns="91425" bIns="45700" anchor="b" anchorCtr="0">
            <a:noAutofit/>
          </a:bodyPr>
          <a:lstStyle/>
          <a:p>
            <a:pPr marL="180000" lvl="0" indent="-180000" algn="r">
              <a:lnSpc>
                <a:spcPct val="90000"/>
              </a:lnSpc>
              <a:spcBef>
                <a:spcPts val="0"/>
              </a:spcBef>
              <a:spcAft>
                <a:spcPts val="0"/>
              </a:spcAft>
              <a:buSzPts val="1200"/>
              <a:buChar char="●"/>
            </a:pPr>
            <a:fld id="{00000000-1234-1234-1234-123412341234}" type="slidenum">
              <a:rPr lang="nl-NL" smtClean="0"/>
              <a:pPr marL="180000" lvl="0" indent="-180000" algn="r">
                <a:lnSpc>
                  <a:spcPct val="90000"/>
                </a:lnSpc>
                <a:spcBef>
                  <a:spcPts val="0"/>
                </a:spcBef>
                <a:spcAft>
                  <a:spcPts val="0"/>
                </a:spcAft>
                <a:buSzPts val="1200"/>
                <a:buChar char="●"/>
              </a:pPr>
              <a:t>10</a:t>
            </a:fld>
            <a:endParaRPr lang="nl-NL"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2"/>
        <p:cNvGrpSpPr/>
        <p:nvPr/>
      </p:nvGrpSpPr>
      <p:grpSpPr>
        <a:xfrm>
          <a:off x="0" y="0"/>
          <a:ext cx="0" cy="0"/>
          <a:chOff x="0" y="0"/>
          <a:chExt cx="0" cy="0"/>
        </a:xfrm>
      </p:grpSpPr>
      <p:sp>
        <p:nvSpPr>
          <p:cNvPr id="503" name="Google Shape;503;p6: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4" name="Google Shape;504;p6:notes"/>
          <p:cNvSpPr txBox="1">
            <a:spLocks noGrp="1"/>
          </p:cNvSpPr>
          <p:nvPr>
            <p:ph type="body" idx="1"/>
          </p:nvPr>
        </p:nvSpPr>
        <p:spPr>
          <a:xfrm>
            <a:off x="106363" y="4689515"/>
            <a:ext cx="6584950" cy="4442699"/>
          </a:xfrm>
          <a:prstGeom prst="rect">
            <a:avLst/>
          </a:prstGeom>
          <a:noFill/>
          <a:ln>
            <a:noFill/>
          </a:ln>
        </p:spPr>
        <p:txBody>
          <a:bodyPr spcFirstLastPara="1" wrap="square" lIns="91425" tIns="45700" rIns="91425" bIns="45700" anchor="t" anchorCtr="0">
            <a:normAutofit/>
          </a:bodyPr>
          <a:lstStyle/>
          <a:p>
            <a:pPr marL="171450" lvl="0" indent="-120650" algn="l">
              <a:spcBef>
                <a:spcPts val="0"/>
              </a:spcBef>
              <a:spcAft>
                <a:spcPts val="0"/>
              </a:spcAft>
              <a:buClr>
                <a:schemeClr val="dk1"/>
              </a:buClr>
              <a:buSzPts val="800"/>
              <a:buNone/>
            </a:pPr>
            <a:endParaRPr lang="nl-NL" dirty="0"/>
          </a:p>
        </p:txBody>
      </p:sp>
      <p:sp>
        <p:nvSpPr>
          <p:cNvPr id="505" name="Google Shape;505;p6:notes"/>
          <p:cNvSpPr txBox="1">
            <a:spLocks noGrp="1"/>
          </p:cNvSpPr>
          <p:nvPr>
            <p:ph type="sldNum" idx="12"/>
          </p:nvPr>
        </p:nvSpPr>
        <p:spPr>
          <a:xfrm>
            <a:off x="3850443" y="9613774"/>
            <a:ext cx="2945659" cy="257175"/>
          </a:xfrm>
          <a:prstGeom prst="rect">
            <a:avLst/>
          </a:prstGeom>
          <a:noFill/>
          <a:ln>
            <a:noFill/>
          </a:ln>
        </p:spPr>
        <p:txBody>
          <a:bodyPr spcFirstLastPara="1" wrap="square" lIns="91425" tIns="45700" rIns="91425" bIns="45700" anchor="b" anchorCtr="0">
            <a:noAutofit/>
          </a:bodyPr>
          <a:lstStyle/>
          <a:p>
            <a:pPr marL="180000" lvl="0" indent="-180000" algn="r">
              <a:lnSpc>
                <a:spcPct val="90000"/>
              </a:lnSpc>
              <a:spcBef>
                <a:spcPts val="0"/>
              </a:spcBef>
              <a:spcAft>
                <a:spcPts val="0"/>
              </a:spcAft>
              <a:buSzPts val="1200"/>
              <a:buChar char="●"/>
            </a:pPr>
            <a:fld id="{00000000-1234-1234-1234-123412341234}" type="slidenum">
              <a:rPr lang="nl-NL" smtClean="0"/>
              <a:pPr marL="180000" lvl="0" indent="-180000" algn="r">
                <a:lnSpc>
                  <a:spcPct val="90000"/>
                </a:lnSpc>
                <a:spcBef>
                  <a:spcPts val="0"/>
                </a:spcBef>
                <a:spcAft>
                  <a:spcPts val="0"/>
                </a:spcAft>
                <a:buSzPts val="1200"/>
                <a:buChar char="●"/>
              </a:pPr>
              <a:t>11</a:t>
            </a:fld>
            <a:endParaRPr lang="nl-NL" dirty="0"/>
          </a:p>
        </p:txBody>
      </p:sp>
    </p:spTree>
    <p:extLst>
      <p:ext uri="{BB962C8B-B14F-4D97-AF65-F5344CB8AC3E}">
        <p14:creationId xmlns:p14="http://schemas.microsoft.com/office/powerpoint/2010/main" val="18096876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9"/>
        <p:cNvGrpSpPr/>
        <p:nvPr/>
      </p:nvGrpSpPr>
      <p:grpSpPr>
        <a:xfrm>
          <a:off x="0" y="0"/>
          <a:ext cx="0" cy="0"/>
          <a:chOff x="0" y="0"/>
          <a:chExt cx="0" cy="0"/>
        </a:xfrm>
      </p:grpSpPr>
      <p:sp>
        <p:nvSpPr>
          <p:cNvPr id="530" name="Google Shape;530;p8: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1" name="Google Shape;531;p8: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881802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7"/>
        <p:cNvGrpSpPr/>
        <p:nvPr/>
      </p:nvGrpSpPr>
      <p:grpSpPr>
        <a:xfrm>
          <a:off x="0" y="0"/>
          <a:ext cx="0" cy="0"/>
          <a:chOff x="0" y="0"/>
          <a:chExt cx="0" cy="0"/>
        </a:xfrm>
      </p:grpSpPr>
      <p:sp>
        <p:nvSpPr>
          <p:cNvPr id="538" name="Google Shape;538;p9:notes"/>
          <p:cNvSpPr txBox="1">
            <a:spLocks noGrp="1"/>
          </p:cNvSpPr>
          <p:nvPr>
            <p:ph type="body" idx="1"/>
          </p:nvPr>
        </p:nvSpPr>
        <p:spPr>
          <a:xfrm>
            <a:off x="106363" y="4689515"/>
            <a:ext cx="6584950" cy="4442699"/>
          </a:xfrm>
          <a:prstGeom prst="rect">
            <a:avLst/>
          </a:prstGeom>
        </p:spPr>
        <p:txBody>
          <a:bodyPr spcFirstLastPara="1" wrap="square" lIns="91425" tIns="45700" rIns="91425" bIns="45700" anchor="t" anchorCtr="0">
            <a:noAutofit/>
          </a:bodyPr>
          <a:lstStyle/>
          <a:p>
            <a:pPr marL="0" lvl="0" indent="0" algn="l">
              <a:spcBef>
                <a:spcPts val="240"/>
              </a:spcBef>
              <a:spcAft>
                <a:spcPts val="0"/>
              </a:spcAft>
              <a:buNone/>
            </a:pPr>
            <a:endParaRPr lang="nl-NL" dirty="0"/>
          </a:p>
        </p:txBody>
      </p:sp>
      <p:sp>
        <p:nvSpPr>
          <p:cNvPr id="539" name="Google Shape;539;p9:notes"/>
          <p:cNvSpPr>
            <a:spLocks noGrp="1" noRot="1" noChangeAspect="1"/>
          </p:cNvSpPr>
          <p:nvPr>
            <p:ph type="sldImg" idx="2"/>
          </p:nvPr>
        </p:nvSpPr>
        <p:spPr>
          <a:xfrm>
            <a:off x="107950" y="739775"/>
            <a:ext cx="6581775" cy="3703638"/>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777360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71.xml"/><Relationship Id="rId4" Type="http://schemas.openxmlformats.org/officeDocument/2006/relationships/image" Target="../media/image7.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72.xml"/><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73.xml"/><Relationship Id="rId4" Type="http://schemas.openxmlformats.org/officeDocument/2006/relationships/image" Target="../media/image7.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74.xml"/><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1"/>
            </p:custDataLst>
            <p:extLst>
              <p:ext uri="{D42A27DB-BD31-4B8C-83A1-F6EECF244321}">
                <p14:modId xmlns:p14="http://schemas.microsoft.com/office/powerpoint/2010/main" val="150931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latin typeface="Corbel" panose="020B0503020204020204" pitchFamily="34" charset="0"/>
              <a:sym typeface="Corbel" panose="020B0503020204020204" pitchFamily="34" charset="0"/>
            </a:endParaRPr>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sym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sym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4243279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1"/>
            </p:custDataLst>
            <p:extLst>
              <p:ext uri="{D42A27DB-BD31-4B8C-83A1-F6EECF244321}">
                <p14:modId xmlns:p14="http://schemas.microsoft.com/office/powerpoint/2010/main" val="1557772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1"/>
            </p:custDataLst>
            <p:extLst>
              <p:ext uri="{D42A27DB-BD31-4B8C-83A1-F6EECF244321}">
                <p14:modId xmlns:p14="http://schemas.microsoft.com/office/powerpoint/2010/main" val="355244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1"/>
            </p:custDataLst>
            <p:extLst>
              <p:ext uri="{D42A27DB-BD31-4B8C-83A1-F6EECF244321}">
                <p14:modId xmlns:p14="http://schemas.microsoft.com/office/powerpoint/2010/main" val="542213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1"/>
            </p:custDataLst>
            <p:extLst>
              <p:ext uri="{D42A27DB-BD31-4B8C-83A1-F6EECF244321}">
                <p14:modId xmlns:p14="http://schemas.microsoft.com/office/powerpoint/2010/main" val="1975621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1"/>
            </p:custDataLst>
            <p:extLst>
              <p:ext uri="{D42A27DB-BD31-4B8C-83A1-F6EECF244321}">
                <p14:modId xmlns:p14="http://schemas.microsoft.com/office/powerpoint/2010/main" val="1794616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061251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1"/>
            </p:custDataLst>
            <p:extLst>
              <p:ext uri="{D42A27DB-BD31-4B8C-83A1-F6EECF244321}">
                <p14:modId xmlns:p14="http://schemas.microsoft.com/office/powerpoint/2010/main" val="734253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1"/>
            </p:custDataLst>
            <p:extLst>
              <p:ext uri="{D42A27DB-BD31-4B8C-83A1-F6EECF244321}">
                <p14:modId xmlns:p14="http://schemas.microsoft.com/office/powerpoint/2010/main" val="1947786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latin typeface="Corbel" panose="020B0503020204020204" pitchFamily="34" charset="0"/>
                <a:sym typeface="Corbel" panose="020B0503020204020204" pitchFamily="34" charset="0"/>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260673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1"/>
            </p:custDataLst>
            <p:extLst>
              <p:ext uri="{D42A27DB-BD31-4B8C-83A1-F6EECF244321}">
                <p14:modId xmlns:p14="http://schemas.microsoft.com/office/powerpoint/2010/main" val="3322641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1"/>
            </p:custDataLst>
            <p:extLst>
              <p:ext uri="{D42A27DB-BD31-4B8C-83A1-F6EECF244321}">
                <p14:modId xmlns:p14="http://schemas.microsoft.com/office/powerpoint/2010/main" val="843864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1"/>
            </p:custDataLst>
            <p:extLst>
              <p:ext uri="{D42A27DB-BD31-4B8C-83A1-F6EECF244321}">
                <p14:modId xmlns:p14="http://schemas.microsoft.com/office/powerpoint/2010/main" val="1887824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1"/>
            </p:custDataLst>
            <p:extLst>
              <p:ext uri="{D42A27DB-BD31-4B8C-83A1-F6EECF244321}">
                <p14:modId xmlns:p14="http://schemas.microsoft.com/office/powerpoint/2010/main" val="2836822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1"/>
            </p:custDataLst>
            <p:extLst>
              <p:ext uri="{D42A27DB-BD31-4B8C-83A1-F6EECF244321}">
                <p14:modId xmlns:p14="http://schemas.microsoft.com/office/powerpoint/2010/main" val="2806761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latin typeface="Corbel" panose="020B0503020204020204" pitchFamily="34" charset="0"/>
              <a:sym typeface="Corbel" panose="020B0503020204020204" pitchFamily="34" charset="0"/>
            </a:endParaRPr>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latin typeface="Corbel" panose="020B0503020204020204" pitchFamily="34" charset="0"/>
              <a:sym typeface="Corbel" panose="020B0503020204020204" pitchFamily="34" charset="0"/>
            </a:endParaRP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sym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sym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1"/>
            </p:custDataLst>
            <p:extLst>
              <p:ext uri="{D42A27DB-BD31-4B8C-83A1-F6EECF244321}">
                <p14:modId xmlns:p14="http://schemas.microsoft.com/office/powerpoint/2010/main" val="2621312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latin typeface="Corbel" panose="020B0503020204020204" pitchFamily="34" charset="0"/>
              <a:sym typeface="Corbel" panose="020B0503020204020204" pitchFamily="34" charset="0"/>
            </a:endParaRPr>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sym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sym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831230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sym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rtl="0">
              <a:defRPr lang="nl-NL" altLang="nl-NL" sz="1400" noProof="0" dirty="0">
                <a:solidFill>
                  <a:schemeClr val="tx1"/>
                </a:solidFill>
                <a:latin typeface="Corbel" panose="020B0503020204020204" pitchFamily="34" charset="0"/>
                <a:ea typeface="+mn-ea"/>
                <a:cs typeface="+mn-cs"/>
                <a:sym typeface="Corbel" panose="020B0503020204020204" pitchFamily="34" charset="0"/>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1"/>
            </p:custDataLst>
            <p:extLst>
              <p:ext uri="{D42A27DB-BD31-4B8C-83A1-F6EECF244321}">
                <p14:modId xmlns:p14="http://schemas.microsoft.com/office/powerpoint/2010/main" val="404970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atin typeface="Corbel" panose="020B0503020204020204" pitchFamily="34" charset="0"/>
                <a:sym typeface="Corbel" panose="020B0503020204020204" pitchFamily="34" charset="0"/>
              </a:defRPr>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latin typeface="Corbel" panose="020B0503020204020204" pitchFamily="34" charset="0"/>
                <a:sym typeface="Corbel" panose="020B0503020204020204" pitchFamily="34" charset="0"/>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1"/>
            </p:custDataLst>
            <p:extLst>
              <p:ext uri="{D42A27DB-BD31-4B8C-83A1-F6EECF244321}">
                <p14:modId xmlns:p14="http://schemas.microsoft.com/office/powerpoint/2010/main" val="75087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1"/>
            </p:custDataLst>
            <p:extLst>
              <p:ext uri="{D42A27DB-BD31-4B8C-83A1-F6EECF244321}">
                <p14:modId xmlns:p14="http://schemas.microsoft.com/office/powerpoint/2010/main" val="372311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1"/>
            </p:custDataLst>
            <p:extLst>
              <p:ext uri="{D42A27DB-BD31-4B8C-83A1-F6EECF244321}">
                <p14:modId xmlns:p14="http://schemas.microsoft.com/office/powerpoint/2010/main" val="2200054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atin typeface="Corbel" panose="020B0503020204020204" pitchFamily="34" charset="0"/>
                <a:sym typeface="Corbel" panose="020B0503020204020204" pitchFamily="34" charset="0"/>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lvl1pPr rtl="0">
              <a:defRPr>
                <a:latin typeface="Corbel" panose="020B0503020204020204" pitchFamily="34" charset="0"/>
                <a:sym typeface="Corbel" panose="020B0503020204020204" pitchFamily="34" charset="0"/>
              </a:defRPr>
            </a:lvl1pPr>
          </a:lstStyle>
          <a:p>
            <a:r>
              <a:rPr lang="nl-NL"/>
              <a:t>Bron: </a:t>
            </a:r>
            <a:endParaRPr lang="nl-NL" dirty="0"/>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2166272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rtl="0">
              <a:defRPr lang="nl-NL" noProof="0" dirty="0">
                <a:solidFill>
                  <a:schemeClr val="tx1"/>
                </a:solidFill>
                <a:latin typeface="Corbel" panose="020B0503020204020204" pitchFamily="34" charset="0"/>
                <a:sym typeface="Corbel" panose="020B0503020204020204" pitchFamily="34" charset="0"/>
              </a:defRPr>
            </a:lvl2pPr>
            <a:lvl3pPr rtl="0">
              <a:defRPr lang="nl-NL" noProof="0" dirty="0">
                <a:solidFill>
                  <a:schemeClr val="tx1"/>
                </a:solidFill>
                <a:latin typeface="Corbel" panose="020B0503020204020204" pitchFamily="34" charset="0"/>
                <a:sym typeface="Corbel" panose="020B0503020204020204" pitchFamily="34" charset="0"/>
              </a:defRPr>
            </a:lvl3pPr>
            <a:lvl4pPr rtl="0">
              <a:defRPr lang="nl-NL" noProof="0" dirty="0">
                <a:solidFill>
                  <a:schemeClr val="tx1"/>
                </a:solidFill>
                <a:latin typeface="Corbel" panose="020B0503020204020204" pitchFamily="34" charset="0"/>
                <a:sym typeface="Corbel" panose="020B0503020204020204" pitchFamily="34" charset="0"/>
              </a:defRPr>
            </a:lvl4pPr>
            <a:lvl5pPr rtl="0">
              <a:defRPr lang="nl-NL" noProof="0" dirty="0">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3273490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rtl="0">
              <a:buNone/>
            </a:pPr>
            <a:r>
              <a:rPr lang="nl-NL" sz="2800" b="1" dirty="0">
                <a:solidFill>
                  <a:srgbClr val="22777B"/>
                </a:solidFill>
                <a:latin typeface="Corbel" panose="020B0503020204020204" pitchFamily="34" charset="0"/>
                <a:sym typeface="Corbel" panose="020B0503020204020204" pitchFamily="34" charset="0"/>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rtl="0">
              <a:buNone/>
              <a:defRPr sz="1600" b="1">
                <a:solidFill>
                  <a:srgbClr val="22777B"/>
                </a:solidFill>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pPr rtl="0"/>
            <a:endParaRPr lang="nl-NL" dirty="0">
              <a:latin typeface="Corbel" panose="020B0503020204020204" pitchFamily="34" charset="0"/>
              <a:sym typeface="Corbel" panose="020B0503020204020204" pitchFamily="34" charset="0"/>
            </a:endParaRPr>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rtl="0">
              <a:buNone/>
            </a:pPr>
            <a:r>
              <a:rPr lang="nl-NL" noProof="0" dirty="0">
                <a:latin typeface="Corbel" panose="020B0503020204020204" pitchFamily="34" charset="0"/>
                <a:sym typeface="Corbel" panose="020B0503020204020204" pitchFamily="34" charset="0"/>
              </a:rPr>
              <a:t>(knip pijltje uit master en haal deze </a:t>
            </a:r>
            <a:r>
              <a:rPr lang="nl-NL" noProof="0" dirty="0" err="1">
                <a:latin typeface="Corbel" panose="020B0503020204020204" pitchFamily="34" charset="0"/>
                <a:sym typeface="Corbel" panose="020B0503020204020204" pitchFamily="34" charset="0"/>
              </a:rPr>
              <a:t>callout</a:t>
            </a:r>
            <a:r>
              <a:rPr lang="nl-NL" noProof="0" dirty="0">
                <a:latin typeface="Corbel" panose="020B0503020204020204" pitchFamily="34" charset="0"/>
                <a:sym typeface="Corbel" panose="020B0503020204020204" pitchFamily="34" charset="0"/>
              </a:rPr>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736929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rtl="0">
              <a:buNone/>
              <a:defRPr>
                <a:noFill/>
                <a:latin typeface="Corbel" panose="020B0503020204020204" pitchFamily="34" charset="0"/>
                <a:sym typeface="Corbel" panose="020B0503020204020204" pitchFamily="34" charset="0"/>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rtl="0">
              <a:buNone/>
            </a:pPr>
            <a:r>
              <a:rPr lang="nl-NL" sz="2800" b="1" dirty="0">
                <a:solidFill>
                  <a:srgbClr val="22777B"/>
                </a:solidFill>
                <a:latin typeface="Corbel" panose="020B0503020204020204" pitchFamily="34" charset="0"/>
                <a:sym typeface="Corbel" panose="020B0503020204020204" pitchFamily="34" charset="0"/>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rtl="0">
              <a:buNone/>
              <a:defRPr sz="800" b="1">
                <a:latin typeface="Corbel" panose="020B0503020204020204" pitchFamily="34" charset="0"/>
                <a:sym typeface="Corbel" panose="020B0503020204020204" pitchFamily="34" charset="0"/>
              </a:defRPr>
            </a:lvl1pPr>
          </a:lstStyle>
          <a:p>
            <a:pPr lvl="0"/>
            <a:r>
              <a:rPr lang="nl-NL"/>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rtl="0">
              <a:buNone/>
              <a:defRPr>
                <a:noFill/>
                <a:latin typeface="Corbel" panose="020B0503020204020204" pitchFamily="34" charset="0"/>
                <a:sym typeface="Corbel" panose="020B0503020204020204" pitchFamily="34" charset="0"/>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rtl="0">
              <a:buNone/>
              <a:defRPr sz="800" b="1">
                <a:latin typeface="Corbel" panose="020B0503020204020204" pitchFamily="34" charset="0"/>
                <a:sym typeface="Corbel" panose="020B0503020204020204" pitchFamily="34" charset="0"/>
              </a:defRPr>
            </a:lvl1pPr>
          </a:lstStyle>
          <a:p>
            <a:pPr lvl="0"/>
            <a:r>
              <a:rPr lang="nl-NL"/>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rtl="0">
              <a:buNone/>
              <a:defRPr>
                <a:noFill/>
                <a:latin typeface="Corbel" panose="020B0503020204020204" pitchFamily="34" charset="0"/>
                <a:sym typeface="Corbel" panose="020B0503020204020204" pitchFamily="34" charset="0"/>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rtl="0">
              <a:buNone/>
              <a:defRPr sz="800" b="1">
                <a:latin typeface="Corbel" panose="020B0503020204020204" pitchFamily="34" charset="0"/>
                <a:sym typeface="Corbel" panose="020B0503020204020204" pitchFamily="34" charset="0"/>
              </a:defRPr>
            </a:lvl1pPr>
          </a:lstStyle>
          <a:p>
            <a:pPr lvl="0"/>
            <a:r>
              <a:rPr lang="nl-NL"/>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rtl="0">
              <a:buNone/>
              <a:defRPr>
                <a:noFill/>
                <a:latin typeface="Corbel" panose="020B0503020204020204" pitchFamily="34" charset="0"/>
                <a:sym typeface="Corbel" panose="020B0503020204020204" pitchFamily="34" charset="0"/>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rtl="0">
              <a:buNone/>
              <a:defRPr sz="800" b="1">
                <a:latin typeface="Corbel" panose="020B0503020204020204" pitchFamily="34" charset="0"/>
                <a:sym typeface="Corbel" panose="020B0503020204020204" pitchFamily="34" charset="0"/>
              </a:defRPr>
            </a:lvl1pPr>
          </a:lstStyle>
          <a:p>
            <a:pPr lvl="0"/>
            <a:r>
              <a:rPr lang="nl-NL"/>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1"/>
            </p:custDataLst>
            <p:extLst>
              <p:ext uri="{D42A27DB-BD31-4B8C-83A1-F6EECF244321}">
                <p14:modId xmlns:p14="http://schemas.microsoft.com/office/powerpoint/2010/main" val="218645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rtl="0">
              <a:buNone/>
            </a:pPr>
            <a:r>
              <a:rPr lang="nl-NL" sz="2800" b="1" dirty="0">
                <a:solidFill>
                  <a:srgbClr val="22777B"/>
                </a:solidFill>
                <a:latin typeface="Corbel" panose="020B0503020204020204" pitchFamily="34" charset="0"/>
                <a:sym typeface="Corbel" panose="020B0503020204020204" pitchFamily="34" charset="0"/>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rtl="0">
              <a:buNone/>
              <a:defRPr sz="1600" b="1">
                <a:solidFill>
                  <a:schemeClr val="bg1"/>
                </a:solidFill>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rtl="0">
              <a:buNone/>
              <a:defRPr sz="1600" b="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rtl="0">
              <a:buNone/>
              <a:defRPr sz="1600">
                <a:latin typeface="Corbel" panose="020B0503020204020204" pitchFamily="34" charset="0"/>
                <a:sym typeface="Corbel" panose="020B0503020204020204" pitchFamily="34" charset="0"/>
              </a:defRPr>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1"/>
            </p:custDataLst>
            <p:extLst>
              <p:ext uri="{D42A27DB-BD31-4B8C-83A1-F6EECF244321}">
                <p14:modId xmlns:p14="http://schemas.microsoft.com/office/powerpoint/2010/main" val="41509692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latin typeface="Corbel" panose="020B0503020204020204" pitchFamily="34" charset="0"/>
                <a:sym typeface="Corbel" panose="020B0503020204020204" pitchFamily="34" charset="0"/>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1"/>
            </p:custDataLst>
            <p:extLst>
              <p:ext uri="{D42A27DB-BD31-4B8C-83A1-F6EECF244321}">
                <p14:modId xmlns:p14="http://schemas.microsoft.com/office/powerpoint/2010/main" val="14149184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latin typeface="Corbel" panose="020B0503020204020204" pitchFamily="34" charset="0"/>
                <a:sym typeface="Corbel" panose="020B0503020204020204" pitchFamily="34" charset="0"/>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1"/>
            </p:custDataLst>
            <p:extLst>
              <p:ext uri="{D42A27DB-BD31-4B8C-83A1-F6EECF244321}">
                <p14:modId xmlns:p14="http://schemas.microsoft.com/office/powerpoint/2010/main" val="2949295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atin typeface="Corbel" panose="020B0503020204020204" pitchFamily="34" charset="0"/>
                <a:sym typeface="Corbel" panose="020B0503020204020204" pitchFamily="34" charset="0"/>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1"/>
            </p:custDataLst>
            <p:extLst>
              <p:ext uri="{D42A27DB-BD31-4B8C-83A1-F6EECF244321}">
                <p14:modId xmlns:p14="http://schemas.microsoft.com/office/powerpoint/2010/main" val="365863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atin typeface="Corbel" panose="020B0503020204020204" pitchFamily="34" charset="0"/>
                <a:sym typeface="Corbel" panose="020B0503020204020204" pitchFamily="34" charset="0"/>
              </a:defRPr>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atin typeface="Corbel" panose="020B0503020204020204" pitchFamily="34" charset="0"/>
                <a:sym typeface="Corbel" panose="020B0503020204020204" pitchFamily="34" charset="0"/>
              </a:defRPr>
            </a:lvl1pPr>
          </a:lstStyle>
          <a:p>
            <a:pPr lvl="0"/>
            <a:r>
              <a:rPr lang="nl-NL" noProof="0" dirty="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rtl="0">
              <a:lnSpc>
                <a:spcPct val="90000"/>
              </a:lnSpc>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1"/>
            </p:custDataLst>
            <p:extLst>
              <p:ext uri="{D42A27DB-BD31-4B8C-83A1-F6EECF244321}">
                <p14:modId xmlns:p14="http://schemas.microsoft.com/office/powerpoint/2010/main" val="16847312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rtl="0">
              <a:defRPr>
                <a:solidFill>
                  <a:schemeClr val="bg1"/>
                </a:solidFill>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sym typeface="Corbel" panose="020B0503020204020204" pitchFamily="34" charset="0"/>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sym typeface="Corbel" panose="020B0503020204020204" pitchFamily="34" charset="0"/>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sym typeface="Corbel" panose="020B0503020204020204" pitchFamily="34" charset="0"/>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sym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sym typeface="Corbel" panose="020B0503020204020204" pitchFamily="34" charset="0"/>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latin typeface="Corbel" panose="020B0503020204020204" pitchFamily="34" charset="0"/>
                <a:sym typeface="Corbel" panose="020B0503020204020204" pitchFamily="34" charset="0"/>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latin typeface="Corbel" panose="020B0503020204020204" pitchFamily="34" charset="0"/>
                <a:sym typeface="Corbel" panose="020B0503020204020204" pitchFamily="34" charset="0"/>
              </a:defRPr>
            </a:lvl1pPr>
          </a:lstStyle>
          <a:p>
            <a:pPr lvl="0"/>
            <a:r>
              <a:rPr lang="nl-NL" noProof="0" dirty="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matchingName="1_Box (1)">
  <p:cSld name="1_Box (1)">
    <p:spTree>
      <p:nvGrpSpPr>
        <p:cNvPr id="1" name="Shape 3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544E326-E755-4774-A1FD-98086ECE6F42}"/>
              </a:ext>
            </a:extLst>
          </p:cNvPr>
          <p:cNvGraphicFramePr>
            <a:graphicFrameLocks noChangeAspect="1"/>
          </p:cNvGraphicFramePr>
          <p:nvPr userDrawn="1">
            <p:custDataLst>
              <p:tags r:id="rId1"/>
            </p:custDataLst>
            <p:extLst>
              <p:ext uri="{D42A27DB-BD31-4B8C-83A1-F6EECF244321}">
                <p14:modId xmlns:p14="http://schemas.microsoft.com/office/powerpoint/2010/main" val="40577079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4" name="Google Shape;34;p41"/>
          <p:cNvSpPr txBox="1">
            <a:spLocks noGrp="1"/>
          </p:cNvSpPr>
          <p:nvPr>
            <p:ph type="dt" idx="10"/>
          </p:nvPr>
        </p:nvSpPr>
        <p:spPr>
          <a:xfrm rot="-5400000">
            <a:off x="-1249363" y="5364163"/>
            <a:ext cx="2668589" cy="16827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375"/>
              </a:spcBef>
              <a:spcAft>
                <a:spcPts val="0"/>
              </a:spcAft>
              <a:buClr>
                <a:schemeClr val="dk2"/>
              </a:buClr>
              <a:buSzPts val="1400"/>
              <a:buFont typeface="Noto Sans Symbols"/>
              <a:buChar char="▪"/>
              <a:defRPr sz="1400" b="0" i="0" u="none" strike="noStrike" cap="none">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marR="0" lvl="1" algn="l" rtl="0">
              <a:lnSpc>
                <a:spcPct val="90000"/>
              </a:lnSpc>
              <a:spcBef>
                <a:spcPts val="375"/>
              </a:spcBef>
              <a:spcAft>
                <a:spcPts val="0"/>
              </a:spcAft>
              <a:buClr>
                <a:schemeClr val="dk2"/>
              </a:buClr>
              <a:buSzPts val="1400"/>
              <a:buFont typeface="Corbel"/>
              <a:buChar char="-"/>
              <a:defRPr sz="1400" b="0" i="0" u="none" strike="noStrike" cap="none">
                <a:solidFill>
                  <a:srgbClr val="000000"/>
                </a:solidFill>
                <a:latin typeface="Corbel"/>
                <a:ea typeface="Corbel"/>
                <a:cs typeface="Corbel"/>
                <a:sym typeface="Corbel"/>
              </a:defRPr>
            </a:lvl2pPr>
            <a:lvl3pPr marR="0" lvl="2" algn="l" rtl="0">
              <a:lnSpc>
                <a:spcPct val="90000"/>
              </a:lnSpc>
              <a:spcBef>
                <a:spcPts val="375"/>
              </a:spcBef>
              <a:spcAft>
                <a:spcPts val="0"/>
              </a:spcAft>
              <a:buClr>
                <a:schemeClr val="dk2"/>
              </a:buClr>
              <a:buSzPts val="1400"/>
              <a:buFont typeface="Corbel"/>
              <a:buChar char="-"/>
              <a:defRPr sz="1400" b="0" i="0" u="none" strike="noStrike" cap="none">
                <a:solidFill>
                  <a:srgbClr val="000000"/>
                </a:solidFill>
                <a:latin typeface="Corbel"/>
                <a:ea typeface="Corbel"/>
                <a:cs typeface="Corbel"/>
                <a:sym typeface="Corbel"/>
              </a:defRPr>
            </a:lvl3pPr>
            <a:lvl4pPr marR="0" lvl="3" algn="l" rtl="0">
              <a:lnSpc>
                <a:spcPct val="90000"/>
              </a:lnSpc>
              <a:spcBef>
                <a:spcPts val="375"/>
              </a:spcBef>
              <a:spcAft>
                <a:spcPts val="0"/>
              </a:spcAft>
              <a:buClr>
                <a:schemeClr val="dk2"/>
              </a:buClr>
              <a:buSzPts val="1400"/>
              <a:buFont typeface="Corbel"/>
              <a:buChar char="-"/>
              <a:defRPr sz="1400" b="0" i="0" u="none" strike="noStrike" cap="none">
                <a:solidFill>
                  <a:srgbClr val="000000"/>
                </a:solidFill>
                <a:latin typeface="Corbel"/>
                <a:ea typeface="Corbel"/>
                <a:cs typeface="Corbel"/>
                <a:sym typeface="Corbel"/>
              </a:defRPr>
            </a:lvl4pPr>
            <a:lvl5pPr marR="0" lvl="4" algn="l" rtl="0">
              <a:spcBef>
                <a:spcPts val="0"/>
              </a:spcBef>
              <a:spcAft>
                <a:spcPts val="0"/>
              </a:spcAft>
              <a:buSzPts val="1400"/>
              <a:buNone/>
              <a:defRPr sz="1800" b="0" i="0" u="none" strike="noStrike" cap="none">
                <a:solidFill>
                  <a:schemeClr val="dk1"/>
                </a:solidFill>
                <a:latin typeface="Corbel"/>
                <a:ea typeface="Corbel"/>
                <a:cs typeface="Corbel"/>
                <a:sym typeface="Corbel"/>
              </a:defRPr>
            </a:lvl5pPr>
            <a:lvl6pPr marR="0" lvl="5" algn="l" rtl="0">
              <a:spcBef>
                <a:spcPts val="0"/>
              </a:spcBef>
              <a:spcAft>
                <a:spcPts val="0"/>
              </a:spcAft>
              <a:buSzPts val="1400"/>
              <a:buNone/>
              <a:defRPr sz="1800" b="0" i="0" u="none" strike="noStrike" cap="none">
                <a:solidFill>
                  <a:schemeClr val="dk1"/>
                </a:solidFill>
                <a:latin typeface="Corbel"/>
                <a:ea typeface="Corbel"/>
                <a:cs typeface="Corbel"/>
                <a:sym typeface="Corbel"/>
              </a:defRPr>
            </a:lvl6pPr>
            <a:lvl7pPr marR="0" lvl="6" algn="l" rtl="0">
              <a:spcBef>
                <a:spcPts val="0"/>
              </a:spcBef>
              <a:spcAft>
                <a:spcPts val="0"/>
              </a:spcAft>
              <a:buSzPts val="1400"/>
              <a:buNone/>
              <a:defRPr sz="1800" b="0" i="0" u="none" strike="noStrike" cap="none">
                <a:solidFill>
                  <a:schemeClr val="dk1"/>
                </a:solidFill>
                <a:latin typeface="Corbel"/>
                <a:ea typeface="Corbel"/>
                <a:cs typeface="Corbel"/>
                <a:sym typeface="Corbel"/>
              </a:defRPr>
            </a:lvl7pPr>
            <a:lvl8pPr marR="0" lvl="7" algn="l" rtl="0">
              <a:spcBef>
                <a:spcPts val="0"/>
              </a:spcBef>
              <a:spcAft>
                <a:spcPts val="0"/>
              </a:spcAft>
              <a:buSzPts val="1400"/>
              <a:buNone/>
              <a:defRPr sz="1800" b="0" i="0" u="none" strike="noStrike" cap="none">
                <a:solidFill>
                  <a:schemeClr val="dk1"/>
                </a:solidFill>
                <a:latin typeface="Corbel"/>
                <a:ea typeface="Corbel"/>
                <a:cs typeface="Corbel"/>
                <a:sym typeface="Corbel"/>
              </a:defRPr>
            </a:lvl8pPr>
            <a:lvl9pPr marR="0" lvl="8" algn="l" rtl="0">
              <a:spcBef>
                <a:spcPts val="0"/>
              </a:spcBef>
              <a:spcAft>
                <a:spcPts val="0"/>
              </a:spcAft>
              <a:buSzPts val="1400"/>
              <a:buNone/>
              <a:defRPr sz="1800" b="0" i="0" u="none" strike="noStrike" cap="none">
                <a:solidFill>
                  <a:schemeClr val="dk1"/>
                </a:solidFill>
                <a:latin typeface="Corbel"/>
                <a:ea typeface="Corbel"/>
                <a:cs typeface="Corbel"/>
                <a:sym typeface="Corbel"/>
              </a:defRPr>
            </a:lvl9pPr>
          </a:lstStyle>
          <a:p>
            <a:endParaRPr lang="nl-NL" dirty="0"/>
          </a:p>
        </p:txBody>
      </p:sp>
      <p:sp>
        <p:nvSpPr>
          <p:cNvPr id="35" name="Google Shape;35;p41"/>
          <p:cNvSpPr txBox="1">
            <a:spLocks noGrp="1"/>
          </p:cNvSpPr>
          <p:nvPr>
            <p:ph type="ftr" idx="11"/>
          </p:nvPr>
        </p:nvSpPr>
        <p:spPr>
          <a:xfrm>
            <a:off x="661800" y="6686783"/>
            <a:ext cx="10868400" cy="122400"/>
          </a:xfrm>
          <a:prstGeom prst="rect">
            <a:avLst/>
          </a:prstGeom>
          <a:noFill/>
          <a:ln>
            <a:noFill/>
          </a:ln>
        </p:spPr>
        <p:txBody>
          <a:bodyPr spcFirstLastPara="1" wrap="square" lIns="36000" tIns="0" rIns="36000" bIns="0" anchor="b" anchorCtr="0">
            <a:noAutofit/>
          </a:bodyPr>
          <a:lstStyle>
            <a:lvl1pPr lvl="0" algn="l" rtl="0">
              <a:lnSpc>
                <a:spcPct val="90000"/>
              </a:lnSpc>
              <a:spcBef>
                <a:spcPts val="375"/>
              </a:spcBef>
              <a:spcAft>
                <a:spcPts val="0"/>
              </a:spcAft>
              <a:buSzPts val="800"/>
              <a:buNone/>
              <a:defRPr>
                <a:latin typeface="Corbel" panose="020B0503020204020204" pitchFamily="34" charset="0"/>
                <a:sym typeface="Corbel" panose="020B0503020204020204" pitchFamily="34" charset="0"/>
              </a:defRPr>
            </a:lvl1pPr>
            <a:lvl2pPr lvl="1" algn="l">
              <a:lnSpc>
                <a:spcPct val="90000"/>
              </a:lnSpc>
              <a:spcBef>
                <a:spcPts val="375"/>
              </a:spcBef>
              <a:spcAft>
                <a:spcPts val="0"/>
              </a:spcAft>
              <a:buSzPts val="1800"/>
              <a:buChar char="-"/>
              <a:defRPr/>
            </a:lvl2pPr>
            <a:lvl3pPr lvl="2" algn="l">
              <a:lnSpc>
                <a:spcPct val="90000"/>
              </a:lnSpc>
              <a:spcBef>
                <a:spcPts val="375"/>
              </a:spcBef>
              <a:spcAft>
                <a:spcPts val="0"/>
              </a:spcAft>
              <a:buSzPts val="1800"/>
              <a:buChar char="-"/>
              <a:defRPr/>
            </a:lvl3pPr>
            <a:lvl4pPr lvl="3" algn="l">
              <a:lnSpc>
                <a:spcPct val="90000"/>
              </a:lnSpc>
              <a:spcBef>
                <a:spcPts val="375"/>
              </a:spcBef>
              <a:spcAft>
                <a:spcPts val="0"/>
              </a:spcAft>
              <a:buSzPts val="1800"/>
              <a:buChar char="-"/>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nl-NL" dirty="0"/>
          </a:p>
        </p:txBody>
      </p:sp>
      <p:sp>
        <p:nvSpPr>
          <p:cNvPr id="36" name="Google Shape;36;p41"/>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lvl1pPr marL="0" lvl="0" indent="0" algn="r" rtl="0">
              <a:lnSpc>
                <a:spcPct val="90000"/>
              </a:lnSpc>
              <a:spcBef>
                <a:spcPts val="0"/>
              </a:spcBef>
              <a:buSzPts val="1000"/>
              <a:buNone/>
              <a:defRPr sz="1000" b="0" i="0" u="none" strike="noStrike" cap="none">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marL="0" lvl="1"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2pPr>
            <a:lvl3pPr marL="0" lvl="2"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3pPr>
            <a:lvl4pPr marL="0" lvl="3"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4pPr>
            <a:lvl5pPr marL="0" lvl="4"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5pPr>
            <a:lvl6pPr marL="0" lvl="5"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6pPr>
            <a:lvl7pPr marL="0" lvl="6"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7pPr>
            <a:lvl8pPr marL="0" lvl="7"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8pPr>
            <a:lvl9pPr marL="0" lvl="8"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9pPr>
          </a:lstStyle>
          <a:p>
            <a:fld id="{00000000-1234-1234-1234-123412341234}" type="slidenum">
              <a:rPr lang="nl-NL" smtClean="0"/>
              <a:pPr/>
              <a:t>‹#›</a:t>
            </a:fld>
            <a:endParaRPr lang="nl-NL" dirty="0"/>
          </a:p>
        </p:txBody>
      </p:sp>
      <p:sp>
        <p:nvSpPr>
          <p:cNvPr id="37" name="Google Shape;37;p41"/>
          <p:cNvSpPr txBox="1">
            <a:spLocks noGrp="1"/>
          </p:cNvSpPr>
          <p:nvPr>
            <p:ph type="body" idx="1"/>
          </p:nvPr>
        </p:nvSpPr>
        <p:spPr>
          <a:xfrm>
            <a:off x="666750" y="1228725"/>
            <a:ext cx="10872000" cy="247650"/>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lnSpc>
                <a:spcPct val="90000"/>
              </a:lnSpc>
              <a:spcBef>
                <a:spcPts val="375"/>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38" name="Google Shape;38;p41"/>
          <p:cNvSpPr txBox="1">
            <a:spLocks noGrp="1"/>
          </p:cNvSpPr>
          <p:nvPr>
            <p:ph type="body" idx="2"/>
          </p:nvPr>
        </p:nvSpPr>
        <p:spPr>
          <a:xfrm>
            <a:off x="666748" y="1592263"/>
            <a:ext cx="10866440" cy="4716461"/>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lvl2pPr>
            <a:lvl3pPr marL="1371600" lvl="2" indent="-317500" algn="l">
              <a:lnSpc>
                <a:spcPct val="90000"/>
              </a:lnSpc>
              <a:spcBef>
                <a:spcPts val="375"/>
              </a:spcBef>
              <a:spcAft>
                <a:spcPts val="0"/>
              </a:spcAft>
              <a:buSzPts val="1400"/>
              <a:buFont typeface="Corbel"/>
              <a:buChar char="-"/>
              <a:defRPr/>
            </a:lvl3pPr>
            <a:lvl4pPr marL="1828800" lvl="3" indent="-317500" algn="l">
              <a:lnSpc>
                <a:spcPct val="90000"/>
              </a:lnSpc>
              <a:spcBef>
                <a:spcPts val="375"/>
              </a:spcBef>
              <a:spcAft>
                <a:spcPts val="0"/>
              </a:spcAft>
              <a:buSzPts val="1400"/>
              <a:buFont typeface="Corbel"/>
              <a:buChar char="-"/>
              <a:defRPr/>
            </a:lvl4pPr>
            <a:lvl5pPr marL="2286000" lvl="4" indent="-317500" algn="l">
              <a:lnSpc>
                <a:spcPct val="90000"/>
              </a:lnSpc>
              <a:spcBef>
                <a:spcPts val="375"/>
              </a:spcBef>
              <a:spcAft>
                <a:spcPts val="0"/>
              </a:spcAft>
              <a:buSzPts val="14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39" name="Google Shape;39;p41"/>
          <p:cNvSpPr txBox="1">
            <a:spLocks noGrp="1"/>
          </p:cNvSpPr>
          <p:nvPr>
            <p:ph type="title"/>
          </p:nvPr>
        </p:nvSpPr>
        <p:spPr>
          <a:xfrm>
            <a:off x="666747" y="266699"/>
            <a:ext cx="10866441" cy="930276"/>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2"/>
              </a:buClr>
              <a:buSzPts val="2800"/>
              <a:buFont typeface="Corbel"/>
              <a:buNone/>
              <a:defRPr>
                <a:latin typeface="Corbel" panose="020B0503020204020204" pitchFamily="34" charset="0"/>
                <a:sym typeface="Corbel" panose="020B0503020204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nl-NL" dirty="0"/>
          </a:p>
        </p:txBody>
      </p:sp>
    </p:spTree>
    <p:extLst>
      <p:ext uri="{BB962C8B-B14F-4D97-AF65-F5344CB8AC3E}">
        <p14:creationId xmlns:p14="http://schemas.microsoft.com/office/powerpoint/2010/main" val="1160437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matchingName="Seperator">
  <p:cSld name="1_Seperator">
    <p:spTree>
      <p:nvGrpSpPr>
        <p:cNvPr id="1" name="Shape 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BC0AE7-195A-45D6-9D13-AE3D6470CDD1}"/>
              </a:ext>
            </a:extLst>
          </p:cNvPr>
          <p:cNvGraphicFramePr>
            <a:graphicFrameLocks noChangeAspect="1"/>
          </p:cNvGraphicFramePr>
          <p:nvPr userDrawn="1">
            <p:custDataLst>
              <p:tags r:id="rId1"/>
            </p:custDataLst>
            <p:extLst>
              <p:ext uri="{D42A27DB-BD31-4B8C-83A1-F6EECF244321}">
                <p14:modId xmlns:p14="http://schemas.microsoft.com/office/powerpoint/2010/main" val="339086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1" name="Google Shape;41;p42"/>
          <p:cNvSpPr txBox="1">
            <a:spLocks noGrp="1"/>
          </p:cNvSpPr>
          <p:nvPr>
            <p:ph type="sldNum" idx="12"/>
          </p:nvPr>
        </p:nvSpPr>
        <p:spPr>
          <a:xfrm>
            <a:off x="10510048" y="6578762"/>
            <a:ext cx="1023140" cy="168275"/>
          </a:xfrm>
          <a:prstGeom prst="rect">
            <a:avLst/>
          </a:prstGeom>
          <a:noFill/>
          <a:ln>
            <a:noFill/>
          </a:ln>
        </p:spPr>
        <p:txBody>
          <a:bodyPr spcFirstLastPara="1" wrap="square" lIns="0" tIns="0" rIns="72000" bIns="0" anchor="t" anchorCtr="0">
            <a:noAutofit/>
          </a:bodyPr>
          <a:lstStyle>
            <a:lvl1pPr marL="0" lvl="0" indent="0" algn="r" rtl="0">
              <a:lnSpc>
                <a:spcPct val="90000"/>
              </a:lnSpc>
              <a:spcBef>
                <a:spcPts val="0"/>
              </a:spcBef>
              <a:buSzPts val="1000"/>
              <a:buNone/>
              <a:defRPr sz="1000" b="0" i="0" u="none" strike="noStrike" cap="none">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marL="0" lvl="1"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2pPr>
            <a:lvl3pPr marL="0" lvl="2"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3pPr>
            <a:lvl4pPr marL="0" lvl="3"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4pPr>
            <a:lvl5pPr marL="0" lvl="4"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5pPr>
            <a:lvl6pPr marL="0" lvl="5"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6pPr>
            <a:lvl7pPr marL="0" lvl="6"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7pPr>
            <a:lvl8pPr marL="0" lvl="7"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8pPr>
            <a:lvl9pPr marL="0" lvl="8"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9pPr>
          </a:lstStyle>
          <a:p>
            <a:fld id="{00000000-1234-1234-1234-123412341234}" type="slidenum">
              <a:rPr lang="nl-NL" smtClean="0"/>
              <a:pPr/>
              <a:t>‹#›</a:t>
            </a:fld>
            <a:endParaRPr lang="nl-NL" dirty="0"/>
          </a:p>
        </p:txBody>
      </p:sp>
      <p:sp>
        <p:nvSpPr>
          <p:cNvPr id="42" name="Google Shape;42;p42"/>
          <p:cNvSpPr txBox="1">
            <a:spLocks noGrp="1"/>
          </p:cNvSpPr>
          <p:nvPr>
            <p:ph type="body" idx="1"/>
          </p:nvPr>
        </p:nvSpPr>
        <p:spPr>
          <a:xfrm>
            <a:off x="658814" y="2019300"/>
            <a:ext cx="10874374" cy="495300"/>
          </a:xfrm>
          <a:prstGeom prst="rect">
            <a:avLst/>
          </a:prstGeom>
          <a:noFill/>
          <a:ln>
            <a:noFill/>
          </a:ln>
        </p:spPr>
        <p:txBody>
          <a:bodyPr spcFirstLastPara="1" wrap="square" lIns="36000" tIns="36000" rIns="36000" bIns="36000" anchor="t" anchorCtr="0">
            <a:noAutofit/>
          </a:bodyPr>
          <a:lstStyle>
            <a:lvl1pPr marL="457200" lvl="0" indent="-228600" algn="l" rtl="0">
              <a:lnSpc>
                <a:spcPct val="90000"/>
              </a:lnSpc>
              <a:spcBef>
                <a:spcPts val="375"/>
              </a:spcBef>
              <a:spcAft>
                <a:spcPts val="0"/>
              </a:spcAft>
              <a:buSzPts val="4000"/>
              <a:buNone/>
              <a:defRPr sz="4000" b="1" u="none">
                <a:latin typeface="Corbel" panose="020B0503020204020204" pitchFamily="34" charset="0"/>
                <a:sym typeface="Corbel" panose="020B0503020204020204" pitchFamily="34" charset="0"/>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lnSpc>
                <a:spcPct val="90000"/>
              </a:lnSpc>
              <a:spcBef>
                <a:spcPts val="375"/>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43" name="Google Shape;43;p42"/>
          <p:cNvSpPr txBox="1">
            <a:spLocks noGrp="1"/>
          </p:cNvSpPr>
          <p:nvPr>
            <p:ph type="body" idx="2"/>
          </p:nvPr>
        </p:nvSpPr>
        <p:spPr>
          <a:xfrm>
            <a:off x="658813" y="2514600"/>
            <a:ext cx="10874374" cy="914400"/>
          </a:xfrm>
          <a:prstGeom prst="rect">
            <a:avLst/>
          </a:prstGeom>
          <a:noFill/>
          <a:ln>
            <a:noFill/>
          </a:ln>
        </p:spPr>
        <p:txBody>
          <a:bodyPr spcFirstLastPara="1" wrap="square" lIns="36000" tIns="36000" rIns="36000" bIns="36000" anchor="t" anchorCtr="0">
            <a:noAutofit/>
          </a:bodyPr>
          <a:lstStyle>
            <a:lvl1pPr marL="457200" lvl="0" indent="-228600" algn="l" rtl="0">
              <a:lnSpc>
                <a:spcPct val="90000"/>
              </a:lnSpc>
              <a:spcBef>
                <a:spcPts val="375"/>
              </a:spcBef>
              <a:spcAft>
                <a:spcPts val="0"/>
              </a:spcAft>
              <a:buSzPts val="5400"/>
              <a:buNone/>
              <a:defRPr sz="5400" b="1">
                <a:solidFill>
                  <a:schemeClr val="dk2"/>
                </a:solidFill>
                <a:latin typeface="Corbel" panose="020B0503020204020204" pitchFamily="34" charset="0"/>
                <a:sym typeface="Corbel" panose="020B0503020204020204" pitchFamily="34" charset="0"/>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lnSpc>
                <a:spcPct val="90000"/>
              </a:lnSpc>
              <a:spcBef>
                <a:spcPts val="375"/>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Tree>
    <p:extLst>
      <p:ext uri="{BB962C8B-B14F-4D97-AF65-F5344CB8AC3E}">
        <p14:creationId xmlns:p14="http://schemas.microsoft.com/office/powerpoint/2010/main" val="15377868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1"/>
            </p:custDataLst>
            <p:extLst>
              <p:ext uri="{D42A27DB-BD31-4B8C-83A1-F6EECF244321}">
                <p14:modId xmlns:p14="http://schemas.microsoft.com/office/powerpoint/2010/main" val="2215309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412641917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Box (4)">
  <p:cSld name="1_Box (4)">
    <p:spTree>
      <p:nvGrpSpPr>
        <p:cNvPr id="1" name="Shape 4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A523EE8-D105-4939-88A6-566E893A157A}"/>
              </a:ext>
            </a:extLst>
          </p:cNvPr>
          <p:cNvGraphicFramePr>
            <a:graphicFrameLocks noChangeAspect="1"/>
          </p:cNvGraphicFramePr>
          <p:nvPr userDrawn="1">
            <p:custDataLst>
              <p:tags r:id="rId1"/>
            </p:custDataLst>
            <p:extLst>
              <p:ext uri="{D42A27DB-BD31-4B8C-83A1-F6EECF244321}">
                <p14:modId xmlns:p14="http://schemas.microsoft.com/office/powerpoint/2010/main" val="4046698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5" name="Google Shape;45;p43"/>
          <p:cNvSpPr txBox="1">
            <a:spLocks noGrp="1"/>
          </p:cNvSpPr>
          <p:nvPr>
            <p:ph type="body" idx="1"/>
          </p:nvPr>
        </p:nvSpPr>
        <p:spPr>
          <a:xfrm>
            <a:off x="6237221" y="4141744"/>
            <a:ext cx="5292000" cy="2206800"/>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solidFill>
                  <a:schemeClr val="dk1"/>
                </a:solidFill>
              </a:defRPr>
            </a:lvl2pPr>
            <a:lvl3pPr marL="1371600" lvl="2" indent="-317500" algn="l">
              <a:lnSpc>
                <a:spcPct val="90000"/>
              </a:lnSpc>
              <a:spcBef>
                <a:spcPts val="375"/>
              </a:spcBef>
              <a:spcAft>
                <a:spcPts val="0"/>
              </a:spcAft>
              <a:buSzPts val="1400"/>
              <a:buFont typeface="Corbel"/>
              <a:buChar char="-"/>
              <a:defRPr>
                <a:solidFill>
                  <a:schemeClr val="dk1"/>
                </a:solidFill>
              </a:defRPr>
            </a:lvl3pPr>
            <a:lvl4pPr marL="1828800" lvl="3" indent="-317500" algn="l">
              <a:lnSpc>
                <a:spcPct val="90000"/>
              </a:lnSpc>
              <a:spcBef>
                <a:spcPts val="375"/>
              </a:spcBef>
              <a:spcAft>
                <a:spcPts val="0"/>
              </a:spcAft>
              <a:buSzPts val="1400"/>
              <a:buFont typeface="Corbel"/>
              <a:buChar char="-"/>
              <a:defRPr>
                <a:solidFill>
                  <a:schemeClr val="dk1"/>
                </a:solidFill>
              </a:defRPr>
            </a:lvl4pPr>
            <a:lvl5pPr marL="2286000" lvl="4" indent="-317500" algn="l">
              <a:lnSpc>
                <a:spcPct val="90000"/>
              </a:lnSpc>
              <a:spcBef>
                <a:spcPts val="375"/>
              </a:spcBef>
              <a:spcAft>
                <a:spcPts val="0"/>
              </a:spcAft>
              <a:buSzPts val="1400"/>
              <a:buChar char="-"/>
              <a:defRPr>
                <a:solidFill>
                  <a:schemeClr val="dk1"/>
                </a:solidFill>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46" name="Google Shape;46;p43"/>
          <p:cNvSpPr txBox="1">
            <a:spLocks noGrp="1"/>
          </p:cNvSpPr>
          <p:nvPr>
            <p:ph type="body" idx="2"/>
          </p:nvPr>
        </p:nvSpPr>
        <p:spPr>
          <a:xfrm>
            <a:off x="662780" y="4141744"/>
            <a:ext cx="5292000" cy="2206800"/>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solidFill>
                  <a:schemeClr val="dk1"/>
                </a:solidFill>
              </a:defRPr>
            </a:lvl2pPr>
            <a:lvl3pPr marL="1371600" lvl="2" indent="-317500" algn="l">
              <a:lnSpc>
                <a:spcPct val="90000"/>
              </a:lnSpc>
              <a:spcBef>
                <a:spcPts val="375"/>
              </a:spcBef>
              <a:spcAft>
                <a:spcPts val="0"/>
              </a:spcAft>
              <a:buSzPts val="1400"/>
              <a:buFont typeface="Corbel"/>
              <a:buChar char="-"/>
              <a:defRPr>
                <a:solidFill>
                  <a:schemeClr val="dk1"/>
                </a:solidFill>
              </a:defRPr>
            </a:lvl3pPr>
            <a:lvl4pPr marL="1828800" lvl="3" indent="-317500" algn="l">
              <a:lnSpc>
                <a:spcPct val="90000"/>
              </a:lnSpc>
              <a:spcBef>
                <a:spcPts val="375"/>
              </a:spcBef>
              <a:spcAft>
                <a:spcPts val="0"/>
              </a:spcAft>
              <a:buSzPts val="1400"/>
              <a:buFont typeface="Corbel"/>
              <a:buChar char="-"/>
              <a:defRPr>
                <a:solidFill>
                  <a:schemeClr val="dk1"/>
                </a:solidFill>
              </a:defRPr>
            </a:lvl4pPr>
            <a:lvl5pPr marL="2286000" lvl="4" indent="-317500" algn="l">
              <a:lnSpc>
                <a:spcPct val="90000"/>
              </a:lnSpc>
              <a:spcBef>
                <a:spcPts val="375"/>
              </a:spcBef>
              <a:spcAft>
                <a:spcPts val="0"/>
              </a:spcAft>
              <a:buSzPts val="1400"/>
              <a:buChar char="-"/>
              <a:defRPr>
                <a:solidFill>
                  <a:schemeClr val="dk1"/>
                </a:solidFill>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47" name="Google Shape;47;p43"/>
          <p:cNvSpPr txBox="1">
            <a:spLocks noGrp="1"/>
          </p:cNvSpPr>
          <p:nvPr>
            <p:ph type="body" idx="3"/>
          </p:nvPr>
        </p:nvSpPr>
        <p:spPr>
          <a:xfrm>
            <a:off x="6237221" y="1699963"/>
            <a:ext cx="5292000" cy="2206800"/>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solidFill>
                  <a:schemeClr val="dk1"/>
                </a:solidFill>
              </a:defRPr>
            </a:lvl2pPr>
            <a:lvl3pPr marL="1371600" lvl="2" indent="-317500" algn="l">
              <a:lnSpc>
                <a:spcPct val="90000"/>
              </a:lnSpc>
              <a:spcBef>
                <a:spcPts val="375"/>
              </a:spcBef>
              <a:spcAft>
                <a:spcPts val="0"/>
              </a:spcAft>
              <a:buSzPts val="1400"/>
              <a:buFont typeface="Corbel"/>
              <a:buChar char="-"/>
              <a:defRPr>
                <a:solidFill>
                  <a:schemeClr val="dk1"/>
                </a:solidFill>
              </a:defRPr>
            </a:lvl3pPr>
            <a:lvl4pPr marL="1828800" lvl="3" indent="-317500" algn="l">
              <a:lnSpc>
                <a:spcPct val="90000"/>
              </a:lnSpc>
              <a:spcBef>
                <a:spcPts val="375"/>
              </a:spcBef>
              <a:spcAft>
                <a:spcPts val="0"/>
              </a:spcAft>
              <a:buSzPts val="1400"/>
              <a:buFont typeface="Corbel"/>
              <a:buChar char="-"/>
              <a:defRPr>
                <a:solidFill>
                  <a:schemeClr val="dk1"/>
                </a:solidFill>
              </a:defRPr>
            </a:lvl4pPr>
            <a:lvl5pPr marL="2286000" lvl="4" indent="-317500" algn="l">
              <a:lnSpc>
                <a:spcPct val="90000"/>
              </a:lnSpc>
              <a:spcBef>
                <a:spcPts val="375"/>
              </a:spcBef>
              <a:spcAft>
                <a:spcPts val="0"/>
              </a:spcAft>
              <a:buSzPts val="1400"/>
              <a:buChar char="-"/>
              <a:defRPr>
                <a:solidFill>
                  <a:schemeClr val="dk1"/>
                </a:solidFill>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48" name="Google Shape;48;p43"/>
          <p:cNvSpPr txBox="1">
            <a:spLocks noGrp="1"/>
          </p:cNvSpPr>
          <p:nvPr>
            <p:ph type="body" idx="4"/>
          </p:nvPr>
        </p:nvSpPr>
        <p:spPr>
          <a:xfrm>
            <a:off x="662780" y="1699963"/>
            <a:ext cx="5292000" cy="2206800"/>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solidFill>
                  <a:schemeClr val="dk1"/>
                </a:solidFill>
              </a:defRPr>
            </a:lvl2pPr>
            <a:lvl3pPr marL="1371600" lvl="2" indent="-317500" algn="l">
              <a:lnSpc>
                <a:spcPct val="90000"/>
              </a:lnSpc>
              <a:spcBef>
                <a:spcPts val="375"/>
              </a:spcBef>
              <a:spcAft>
                <a:spcPts val="0"/>
              </a:spcAft>
              <a:buSzPts val="1400"/>
              <a:buFont typeface="Corbel"/>
              <a:buChar char="-"/>
              <a:defRPr>
                <a:solidFill>
                  <a:schemeClr val="dk1"/>
                </a:solidFill>
              </a:defRPr>
            </a:lvl3pPr>
            <a:lvl4pPr marL="1828800" lvl="3" indent="-317500" algn="l">
              <a:lnSpc>
                <a:spcPct val="90000"/>
              </a:lnSpc>
              <a:spcBef>
                <a:spcPts val="375"/>
              </a:spcBef>
              <a:spcAft>
                <a:spcPts val="0"/>
              </a:spcAft>
              <a:buSzPts val="1400"/>
              <a:buFont typeface="Corbel"/>
              <a:buChar char="-"/>
              <a:defRPr>
                <a:solidFill>
                  <a:schemeClr val="dk1"/>
                </a:solidFill>
              </a:defRPr>
            </a:lvl4pPr>
            <a:lvl5pPr marL="2286000" lvl="4" indent="-317500" algn="l">
              <a:lnSpc>
                <a:spcPct val="90000"/>
              </a:lnSpc>
              <a:spcBef>
                <a:spcPts val="375"/>
              </a:spcBef>
              <a:spcAft>
                <a:spcPts val="0"/>
              </a:spcAft>
              <a:buSzPts val="1400"/>
              <a:buChar char="-"/>
              <a:defRPr>
                <a:solidFill>
                  <a:schemeClr val="dk1"/>
                </a:solidFill>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49" name="Google Shape;49;p43"/>
          <p:cNvSpPr txBox="1">
            <a:spLocks noGrp="1"/>
          </p:cNvSpPr>
          <p:nvPr>
            <p:ph type="body" idx="5"/>
          </p:nvPr>
        </p:nvSpPr>
        <p:spPr>
          <a:xfrm>
            <a:off x="662780" y="1203211"/>
            <a:ext cx="10866440" cy="388800"/>
          </a:xfrm>
          <a:prstGeom prst="rect">
            <a:avLst/>
          </a:prstGeom>
          <a:noFill/>
          <a:ln>
            <a:noFill/>
          </a:ln>
        </p:spPr>
        <p:txBody>
          <a:bodyPr spcFirstLastPara="1" wrap="square" lIns="7200" tIns="0" rIns="0" bIns="0" anchor="t" anchorCtr="0">
            <a:noAutofit/>
          </a:bodyPr>
          <a:lstStyle>
            <a:lvl1pPr marL="457200" lvl="0" indent="-228600" algn="l" rtl="0">
              <a:lnSpc>
                <a:spcPct val="90000"/>
              </a:lnSpc>
              <a:spcBef>
                <a:spcPts val="0"/>
              </a:spcBef>
              <a:spcAft>
                <a:spcPts val="0"/>
              </a:spcAft>
              <a:buSzPts val="1400"/>
              <a:buNone/>
              <a:defRPr b="1">
                <a:latin typeface="Corbel" panose="020B0503020204020204" pitchFamily="34" charset="0"/>
                <a:sym typeface="Corbel" panose="020B0503020204020204" pitchFamily="34" charset="0"/>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lnSpc>
                <a:spcPct val="90000"/>
              </a:lnSpc>
              <a:spcBef>
                <a:spcPts val="375"/>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50" name="Google Shape;50;p43"/>
          <p:cNvSpPr txBox="1">
            <a:spLocks noGrp="1"/>
          </p:cNvSpPr>
          <p:nvPr>
            <p:ph type="title"/>
          </p:nvPr>
        </p:nvSpPr>
        <p:spPr>
          <a:xfrm>
            <a:off x="662780" y="384876"/>
            <a:ext cx="10866441" cy="774000"/>
          </a:xfrm>
          <a:prstGeom prst="rect">
            <a:avLst/>
          </a:prstGeom>
          <a:noFill/>
          <a:ln>
            <a:noFill/>
          </a:ln>
        </p:spPr>
        <p:txBody>
          <a:bodyPr spcFirstLastPara="1" wrap="square" lIns="0" tIns="0" rIns="0" bIns="0" anchor="b" anchorCtr="0">
            <a:noAutofit/>
          </a:bodyPr>
          <a:lstStyle>
            <a:lvl1pPr lvl="0" algn="l" rtl="0">
              <a:lnSpc>
                <a:spcPct val="90000"/>
              </a:lnSpc>
              <a:spcBef>
                <a:spcPts val="0"/>
              </a:spcBef>
              <a:spcAft>
                <a:spcPts val="0"/>
              </a:spcAft>
              <a:buClr>
                <a:schemeClr val="dk2"/>
              </a:buClr>
              <a:buSzPts val="2800"/>
              <a:buFont typeface="Corbel"/>
              <a:buNone/>
              <a:defRPr>
                <a:latin typeface="Corbel" panose="020B0503020204020204" pitchFamily="34" charset="0"/>
                <a:sym typeface="Corbel" panose="020B0503020204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nl-NL" dirty="0"/>
          </a:p>
        </p:txBody>
      </p:sp>
      <p:sp>
        <p:nvSpPr>
          <p:cNvPr id="51" name="Google Shape;51;p43"/>
          <p:cNvSpPr txBox="1">
            <a:spLocks noGrp="1"/>
          </p:cNvSpPr>
          <p:nvPr>
            <p:ph type="body" idx="6"/>
          </p:nvPr>
        </p:nvSpPr>
        <p:spPr>
          <a:xfrm>
            <a:off x="662780" y="6549444"/>
            <a:ext cx="10868400" cy="122400"/>
          </a:xfrm>
          <a:prstGeom prst="rect">
            <a:avLst/>
          </a:prstGeom>
          <a:noFill/>
          <a:ln>
            <a:noFill/>
          </a:ln>
        </p:spPr>
        <p:txBody>
          <a:bodyPr spcFirstLastPara="1" wrap="square" lIns="36000" tIns="0" rIns="36000" bIns="0" anchor="b" anchorCtr="0">
            <a:noAutofit/>
          </a:bodyPr>
          <a:lstStyle>
            <a:lvl1pPr marL="457200" lvl="0" indent="-279400" algn="l" rtl="0">
              <a:lnSpc>
                <a:spcPct val="90000"/>
              </a:lnSpc>
              <a:spcBef>
                <a:spcPts val="0"/>
              </a:spcBef>
              <a:spcAft>
                <a:spcPts val="0"/>
              </a:spcAft>
              <a:buClr>
                <a:srgbClr val="000000"/>
              </a:buClr>
              <a:buSzPts val="800"/>
              <a:buFont typeface="Corbel"/>
              <a:buAutoNum type="arabicPeriod"/>
              <a:defRPr sz="800">
                <a:latin typeface="Corbel" panose="020B0503020204020204" pitchFamily="34" charset="0"/>
                <a:sym typeface="Corbel" panose="020B0503020204020204" pitchFamily="34" charset="0"/>
              </a:defRPr>
            </a:lvl1pPr>
            <a:lvl2pPr marL="914400" lvl="1" indent="-342900" algn="l">
              <a:lnSpc>
                <a:spcPct val="90000"/>
              </a:lnSpc>
              <a:spcBef>
                <a:spcPts val="375"/>
              </a:spcBef>
              <a:spcAft>
                <a:spcPts val="0"/>
              </a:spcAft>
              <a:buSzPts val="1800"/>
              <a:buChar char="-"/>
              <a:defRPr/>
            </a:lvl2pPr>
            <a:lvl3pPr marL="1371600" lvl="2" indent="-342900" algn="l">
              <a:lnSpc>
                <a:spcPct val="90000"/>
              </a:lnSpc>
              <a:spcBef>
                <a:spcPts val="375"/>
              </a:spcBef>
              <a:spcAft>
                <a:spcPts val="0"/>
              </a:spcAft>
              <a:buSzPts val="1800"/>
              <a:buChar char="-"/>
              <a:defRPr/>
            </a:lvl3pPr>
            <a:lvl4pPr marL="1828800" lvl="3" indent="-342900" algn="l">
              <a:lnSpc>
                <a:spcPct val="90000"/>
              </a:lnSpc>
              <a:spcBef>
                <a:spcPts val="375"/>
              </a:spcBef>
              <a:spcAft>
                <a:spcPts val="0"/>
              </a:spcAft>
              <a:buSzPts val="1800"/>
              <a:buChar char="-"/>
              <a:defRPr/>
            </a:lvl4pPr>
            <a:lvl5pPr marL="2286000" lvl="4" indent="-342900" algn="l">
              <a:lnSpc>
                <a:spcPct val="90000"/>
              </a:lnSpc>
              <a:spcBef>
                <a:spcPts val="375"/>
              </a:spcBef>
              <a:spcAft>
                <a:spcPts val="0"/>
              </a:spcAft>
              <a:buSzPts val="18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52" name="Google Shape;52;p43"/>
          <p:cNvSpPr txBox="1">
            <a:spLocks noGrp="1"/>
          </p:cNvSpPr>
          <p:nvPr>
            <p:ph type="ftr" idx="11"/>
          </p:nvPr>
        </p:nvSpPr>
        <p:spPr>
          <a:xfrm>
            <a:off x="661800" y="6686783"/>
            <a:ext cx="10868400" cy="122400"/>
          </a:xfrm>
          <a:prstGeom prst="rect">
            <a:avLst/>
          </a:prstGeom>
          <a:noFill/>
          <a:ln>
            <a:noFill/>
          </a:ln>
        </p:spPr>
        <p:txBody>
          <a:bodyPr spcFirstLastPara="1" wrap="square" lIns="36000" tIns="0" rIns="36000" bIns="0" anchor="b" anchorCtr="0">
            <a:noAutofit/>
          </a:bodyPr>
          <a:lstStyle>
            <a:lvl1pPr lvl="0" algn="l" rtl="0">
              <a:lnSpc>
                <a:spcPct val="90000"/>
              </a:lnSpc>
              <a:spcBef>
                <a:spcPts val="375"/>
              </a:spcBef>
              <a:spcAft>
                <a:spcPts val="0"/>
              </a:spcAft>
              <a:buSzPts val="800"/>
              <a:buNone/>
              <a:defRPr sz="800">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lvl="1" algn="l">
              <a:lnSpc>
                <a:spcPct val="90000"/>
              </a:lnSpc>
              <a:spcBef>
                <a:spcPts val="375"/>
              </a:spcBef>
              <a:spcAft>
                <a:spcPts val="0"/>
              </a:spcAft>
              <a:buSzPts val="1800"/>
              <a:buChar char="-"/>
              <a:defRPr/>
            </a:lvl2pPr>
            <a:lvl3pPr lvl="2" algn="l">
              <a:lnSpc>
                <a:spcPct val="90000"/>
              </a:lnSpc>
              <a:spcBef>
                <a:spcPts val="375"/>
              </a:spcBef>
              <a:spcAft>
                <a:spcPts val="0"/>
              </a:spcAft>
              <a:buSzPts val="1800"/>
              <a:buChar char="-"/>
              <a:defRPr/>
            </a:lvl3pPr>
            <a:lvl4pPr lvl="3" algn="l">
              <a:lnSpc>
                <a:spcPct val="90000"/>
              </a:lnSpc>
              <a:spcBef>
                <a:spcPts val="375"/>
              </a:spcBef>
              <a:spcAft>
                <a:spcPts val="0"/>
              </a:spcAft>
              <a:buSzPts val="1800"/>
              <a:buChar char="-"/>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nl-NL" dirty="0"/>
          </a:p>
        </p:txBody>
      </p:sp>
      <p:sp>
        <p:nvSpPr>
          <p:cNvPr id="53" name="Google Shape;53;p43"/>
          <p:cNvSpPr txBox="1">
            <a:spLocks noGrp="1"/>
          </p:cNvSpPr>
          <p:nvPr>
            <p:ph type="sldNum" idx="12"/>
          </p:nvPr>
        </p:nvSpPr>
        <p:spPr>
          <a:xfrm>
            <a:off x="10989444" y="6684903"/>
            <a:ext cx="1023140" cy="163513"/>
          </a:xfrm>
          <a:prstGeom prst="rect">
            <a:avLst/>
          </a:prstGeom>
          <a:noFill/>
          <a:ln>
            <a:noFill/>
          </a:ln>
        </p:spPr>
        <p:txBody>
          <a:bodyPr spcFirstLastPara="1" wrap="square" lIns="0" tIns="0" rIns="72000" bIns="0" anchor="t" anchorCtr="0">
            <a:noAutofit/>
          </a:bodyPr>
          <a:lstStyle>
            <a:lvl1pPr marL="0" lvl="0" indent="0" algn="r" rtl="0">
              <a:lnSpc>
                <a:spcPct val="90000"/>
              </a:lnSpc>
              <a:spcBef>
                <a:spcPts val="0"/>
              </a:spcBef>
              <a:buSzPts val="1000"/>
              <a:buNone/>
              <a:defRPr sz="1000" b="0" i="0" u="none" strike="noStrike" cap="none">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marL="0" lvl="1"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2pPr>
            <a:lvl3pPr marL="0" lvl="2"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3pPr>
            <a:lvl4pPr marL="0" lvl="3"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4pPr>
            <a:lvl5pPr marL="0" lvl="4"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5pPr>
            <a:lvl6pPr marL="0" lvl="5"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6pPr>
            <a:lvl7pPr marL="0" lvl="6"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7pPr>
            <a:lvl8pPr marL="0" lvl="7"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8pPr>
            <a:lvl9pPr marL="0" lvl="8"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9pPr>
          </a:lstStyle>
          <a:p>
            <a:fld id="{00000000-1234-1234-1234-123412341234}" type="slidenum">
              <a:rPr lang="nl-NL" smtClean="0"/>
              <a:pPr/>
              <a:t>‹#›</a:t>
            </a:fld>
            <a:endParaRPr lang="nl-NL" dirty="0"/>
          </a:p>
        </p:txBody>
      </p:sp>
    </p:spTree>
    <p:extLst>
      <p:ext uri="{BB962C8B-B14F-4D97-AF65-F5344CB8AC3E}">
        <p14:creationId xmlns:p14="http://schemas.microsoft.com/office/powerpoint/2010/main" val="21459843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1_Box (2)">
  <p:cSld name="1_Box (2)">
    <p:spTree>
      <p:nvGrpSpPr>
        <p:cNvPr id="1" name="Shape 54"/>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9ACBDF-962B-492F-8CA1-66CF3BB192FD}"/>
              </a:ext>
            </a:extLst>
          </p:cNvPr>
          <p:cNvGraphicFramePr>
            <a:graphicFrameLocks noChangeAspect="1"/>
          </p:cNvGraphicFramePr>
          <p:nvPr userDrawn="1">
            <p:custDataLst>
              <p:tags r:id="rId1"/>
            </p:custDataLst>
            <p:extLst>
              <p:ext uri="{D42A27DB-BD31-4B8C-83A1-F6EECF244321}">
                <p14:modId xmlns:p14="http://schemas.microsoft.com/office/powerpoint/2010/main" val="1061325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5" name="Google Shape;55;p44"/>
          <p:cNvSpPr txBox="1">
            <a:spLocks noGrp="1"/>
          </p:cNvSpPr>
          <p:nvPr>
            <p:ph type="dt" idx="10"/>
          </p:nvPr>
        </p:nvSpPr>
        <p:spPr>
          <a:xfrm rot="-5400000">
            <a:off x="-1249363" y="5364163"/>
            <a:ext cx="2668589" cy="16827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375"/>
              </a:spcBef>
              <a:spcAft>
                <a:spcPts val="0"/>
              </a:spcAft>
              <a:buClr>
                <a:schemeClr val="dk2"/>
              </a:buClr>
              <a:buSzPts val="1400"/>
              <a:buFont typeface="Noto Sans Symbols"/>
              <a:buChar char="▪"/>
              <a:defRPr sz="1400" b="0" i="0" u="none" strike="noStrike" cap="none">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marR="0" lvl="1" algn="l" rtl="0">
              <a:lnSpc>
                <a:spcPct val="90000"/>
              </a:lnSpc>
              <a:spcBef>
                <a:spcPts val="375"/>
              </a:spcBef>
              <a:spcAft>
                <a:spcPts val="0"/>
              </a:spcAft>
              <a:buClr>
                <a:schemeClr val="dk2"/>
              </a:buClr>
              <a:buSzPts val="1400"/>
              <a:buFont typeface="Corbel"/>
              <a:buChar char="-"/>
              <a:defRPr sz="1400" b="0" i="0" u="none" strike="noStrike" cap="none">
                <a:solidFill>
                  <a:srgbClr val="000000"/>
                </a:solidFill>
                <a:latin typeface="Corbel"/>
                <a:ea typeface="Corbel"/>
                <a:cs typeface="Corbel"/>
                <a:sym typeface="Corbel"/>
              </a:defRPr>
            </a:lvl2pPr>
            <a:lvl3pPr marR="0" lvl="2" algn="l" rtl="0">
              <a:lnSpc>
                <a:spcPct val="90000"/>
              </a:lnSpc>
              <a:spcBef>
                <a:spcPts val="375"/>
              </a:spcBef>
              <a:spcAft>
                <a:spcPts val="0"/>
              </a:spcAft>
              <a:buClr>
                <a:schemeClr val="dk2"/>
              </a:buClr>
              <a:buSzPts val="1400"/>
              <a:buFont typeface="Corbel"/>
              <a:buChar char="-"/>
              <a:defRPr sz="1400" b="0" i="0" u="none" strike="noStrike" cap="none">
                <a:solidFill>
                  <a:srgbClr val="000000"/>
                </a:solidFill>
                <a:latin typeface="Corbel"/>
                <a:ea typeface="Corbel"/>
                <a:cs typeface="Corbel"/>
                <a:sym typeface="Corbel"/>
              </a:defRPr>
            </a:lvl3pPr>
            <a:lvl4pPr marR="0" lvl="3" algn="l" rtl="0">
              <a:lnSpc>
                <a:spcPct val="90000"/>
              </a:lnSpc>
              <a:spcBef>
                <a:spcPts val="375"/>
              </a:spcBef>
              <a:spcAft>
                <a:spcPts val="0"/>
              </a:spcAft>
              <a:buClr>
                <a:schemeClr val="dk2"/>
              </a:buClr>
              <a:buSzPts val="1400"/>
              <a:buFont typeface="Corbel"/>
              <a:buChar char="-"/>
              <a:defRPr sz="1400" b="0" i="0" u="none" strike="noStrike" cap="none">
                <a:solidFill>
                  <a:srgbClr val="000000"/>
                </a:solidFill>
                <a:latin typeface="Corbel"/>
                <a:ea typeface="Corbel"/>
                <a:cs typeface="Corbel"/>
                <a:sym typeface="Corbel"/>
              </a:defRPr>
            </a:lvl4pPr>
            <a:lvl5pPr marR="0" lvl="4" algn="l" rtl="0">
              <a:spcBef>
                <a:spcPts val="0"/>
              </a:spcBef>
              <a:spcAft>
                <a:spcPts val="0"/>
              </a:spcAft>
              <a:buSzPts val="1400"/>
              <a:buNone/>
              <a:defRPr sz="1800" b="0" i="0" u="none" strike="noStrike" cap="none">
                <a:solidFill>
                  <a:schemeClr val="dk1"/>
                </a:solidFill>
                <a:latin typeface="Corbel"/>
                <a:ea typeface="Corbel"/>
                <a:cs typeface="Corbel"/>
                <a:sym typeface="Corbel"/>
              </a:defRPr>
            </a:lvl5pPr>
            <a:lvl6pPr marR="0" lvl="5" algn="l" rtl="0">
              <a:spcBef>
                <a:spcPts val="0"/>
              </a:spcBef>
              <a:spcAft>
                <a:spcPts val="0"/>
              </a:spcAft>
              <a:buSzPts val="1400"/>
              <a:buNone/>
              <a:defRPr sz="1800" b="0" i="0" u="none" strike="noStrike" cap="none">
                <a:solidFill>
                  <a:schemeClr val="dk1"/>
                </a:solidFill>
                <a:latin typeface="Corbel"/>
                <a:ea typeface="Corbel"/>
                <a:cs typeface="Corbel"/>
                <a:sym typeface="Corbel"/>
              </a:defRPr>
            </a:lvl6pPr>
            <a:lvl7pPr marR="0" lvl="6" algn="l" rtl="0">
              <a:spcBef>
                <a:spcPts val="0"/>
              </a:spcBef>
              <a:spcAft>
                <a:spcPts val="0"/>
              </a:spcAft>
              <a:buSzPts val="1400"/>
              <a:buNone/>
              <a:defRPr sz="1800" b="0" i="0" u="none" strike="noStrike" cap="none">
                <a:solidFill>
                  <a:schemeClr val="dk1"/>
                </a:solidFill>
                <a:latin typeface="Corbel"/>
                <a:ea typeface="Corbel"/>
                <a:cs typeface="Corbel"/>
                <a:sym typeface="Corbel"/>
              </a:defRPr>
            </a:lvl7pPr>
            <a:lvl8pPr marR="0" lvl="7" algn="l" rtl="0">
              <a:spcBef>
                <a:spcPts val="0"/>
              </a:spcBef>
              <a:spcAft>
                <a:spcPts val="0"/>
              </a:spcAft>
              <a:buSzPts val="1400"/>
              <a:buNone/>
              <a:defRPr sz="1800" b="0" i="0" u="none" strike="noStrike" cap="none">
                <a:solidFill>
                  <a:schemeClr val="dk1"/>
                </a:solidFill>
                <a:latin typeface="Corbel"/>
                <a:ea typeface="Corbel"/>
                <a:cs typeface="Corbel"/>
                <a:sym typeface="Corbel"/>
              </a:defRPr>
            </a:lvl8pPr>
            <a:lvl9pPr marR="0" lvl="8" algn="l" rtl="0">
              <a:spcBef>
                <a:spcPts val="0"/>
              </a:spcBef>
              <a:spcAft>
                <a:spcPts val="0"/>
              </a:spcAft>
              <a:buSzPts val="1400"/>
              <a:buNone/>
              <a:defRPr sz="1800" b="0" i="0" u="none" strike="noStrike" cap="none">
                <a:solidFill>
                  <a:schemeClr val="dk1"/>
                </a:solidFill>
                <a:latin typeface="Corbel"/>
                <a:ea typeface="Corbel"/>
                <a:cs typeface="Corbel"/>
                <a:sym typeface="Corbel"/>
              </a:defRPr>
            </a:lvl9pPr>
          </a:lstStyle>
          <a:p>
            <a:endParaRPr lang="nl-NL" dirty="0"/>
          </a:p>
        </p:txBody>
      </p:sp>
      <p:sp>
        <p:nvSpPr>
          <p:cNvPr id="56" name="Google Shape;56;p44"/>
          <p:cNvSpPr txBox="1">
            <a:spLocks noGrp="1"/>
          </p:cNvSpPr>
          <p:nvPr>
            <p:ph type="ftr" idx="11"/>
          </p:nvPr>
        </p:nvSpPr>
        <p:spPr>
          <a:xfrm>
            <a:off x="661800" y="6686783"/>
            <a:ext cx="10868400" cy="122400"/>
          </a:xfrm>
          <a:prstGeom prst="rect">
            <a:avLst/>
          </a:prstGeom>
          <a:noFill/>
          <a:ln>
            <a:noFill/>
          </a:ln>
        </p:spPr>
        <p:txBody>
          <a:bodyPr spcFirstLastPara="1" wrap="square" lIns="36000" tIns="0" rIns="36000" bIns="0" anchor="b" anchorCtr="0">
            <a:noAutofit/>
          </a:bodyPr>
          <a:lstStyle>
            <a:lvl1pPr lvl="0" algn="l" rtl="0">
              <a:lnSpc>
                <a:spcPct val="90000"/>
              </a:lnSpc>
              <a:spcBef>
                <a:spcPts val="375"/>
              </a:spcBef>
              <a:spcAft>
                <a:spcPts val="0"/>
              </a:spcAft>
              <a:buSzPts val="800"/>
              <a:buNone/>
              <a:defRPr>
                <a:latin typeface="Corbel" panose="020B0503020204020204" pitchFamily="34" charset="0"/>
                <a:sym typeface="Corbel" panose="020B0503020204020204" pitchFamily="34" charset="0"/>
              </a:defRPr>
            </a:lvl1pPr>
            <a:lvl2pPr lvl="1" algn="l">
              <a:lnSpc>
                <a:spcPct val="90000"/>
              </a:lnSpc>
              <a:spcBef>
                <a:spcPts val="375"/>
              </a:spcBef>
              <a:spcAft>
                <a:spcPts val="0"/>
              </a:spcAft>
              <a:buSzPts val="1800"/>
              <a:buChar char="-"/>
              <a:defRPr/>
            </a:lvl2pPr>
            <a:lvl3pPr lvl="2" algn="l">
              <a:lnSpc>
                <a:spcPct val="90000"/>
              </a:lnSpc>
              <a:spcBef>
                <a:spcPts val="375"/>
              </a:spcBef>
              <a:spcAft>
                <a:spcPts val="0"/>
              </a:spcAft>
              <a:buSzPts val="1800"/>
              <a:buChar char="-"/>
              <a:defRPr/>
            </a:lvl3pPr>
            <a:lvl4pPr lvl="3" algn="l">
              <a:lnSpc>
                <a:spcPct val="90000"/>
              </a:lnSpc>
              <a:spcBef>
                <a:spcPts val="375"/>
              </a:spcBef>
              <a:spcAft>
                <a:spcPts val="0"/>
              </a:spcAft>
              <a:buSzPts val="1800"/>
              <a:buChar char="-"/>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lang="nl-NL" dirty="0"/>
          </a:p>
        </p:txBody>
      </p:sp>
      <p:sp>
        <p:nvSpPr>
          <p:cNvPr id="57" name="Google Shape;57;p44"/>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lvl1pPr marL="0" lvl="0" indent="0" algn="r" rtl="0">
              <a:lnSpc>
                <a:spcPct val="90000"/>
              </a:lnSpc>
              <a:spcBef>
                <a:spcPts val="0"/>
              </a:spcBef>
              <a:buSzPts val="1000"/>
              <a:buNone/>
              <a:defRPr sz="1000" b="0" i="0" u="none" strike="noStrike" cap="none">
                <a:solidFill>
                  <a:srgbClr val="000000"/>
                </a:solidFill>
                <a:latin typeface="Corbel" panose="020B0503020204020204" pitchFamily="34" charset="0"/>
                <a:ea typeface="Corbel" panose="020B0503020204020204" pitchFamily="34" charset="0"/>
                <a:cs typeface="Corbel" panose="020B0503020204020204" pitchFamily="34" charset="0"/>
                <a:sym typeface="Corbel" panose="020B0503020204020204" pitchFamily="34" charset="0"/>
              </a:defRPr>
            </a:lvl1pPr>
            <a:lvl2pPr marL="0" lvl="1"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2pPr>
            <a:lvl3pPr marL="0" lvl="2"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3pPr>
            <a:lvl4pPr marL="0" lvl="3"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4pPr>
            <a:lvl5pPr marL="0" lvl="4"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5pPr>
            <a:lvl6pPr marL="0" lvl="5"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6pPr>
            <a:lvl7pPr marL="0" lvl="6"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7pPr>
            <a:lvl8pPr marL="0" lvl="7"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8pPr>
            <a:lvl9pPr marL="0" lvl="8" indent="0" algn="r">
              <a:lnSpc>
                <a:spcPct val="90000"/>
              </a:lnSpc>
              <a:spcBef>
                <a:spcPts val="0"/>
              </a:spcBef>
              <a:buSzPts val="1000"/>
              <a:buNone/>
              <a:defRPr sz="1000" b="0" i="0" u="none" strike="noStrike" cap="none">
                <a:solidFill>
                  <a:srgbClr val="000000"/>
                </a:solidFill>
                <a:latin typeface="Corbel"/>
                <a:ea typeface="Corbel"/>
                <a:cs typeface="Corbel"/>
                <a:sym typeface="Corbel"/>
              </a:defRPr>
            </a:lvl9pPr>
          </a:lstStyle>
          <a:p>
            <a:fld id="{00000000-1234-1234-1234-123412341234}" type="slidenum">
              <a:rPr lang="nl-NL" smtClean="0"/>
              <a:pPr/>
              <a:t>‹#›</a:t>
            </a:fld>
            <a:endParaRPr lang="nl-NL" dirty="0"/>
          </a:p>
        </p:txBody>
      </p:sp>
      <p:sp>
        <p:nvSpPr>
          <p:cNvPr id="58" name="Google Shape;58;p44"/>
          <p:cNvSpPr txBox="1">
            <a:spLocks noGrp="1"/>
          </p:cNvSpPr>
          <p:nvPr>
            <p:ph type="body" idx="1"/>
          </p:nvPr>
        </p:nvSpPr>
        <p:spPr>
          <a:xfrm>
            <a:off x="666748" y="1592263"/>
            <a:ext cx="5332401" cy="4716462"/>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lvl2pPr>
            <a:lvl3pPr marL="1371600" lvl="2" indent="-317500" algn="l">
              <a:lnSpc>
                <a:spcPct val="90000"/>
              </a:lnSpc>
              <a:spcBef>
                <a:spcPts val="375"/>
              </a:spcBef>
              <a:spcAft>
                <a:spcPts val="0"/>
              </a:spcAft>
              <a:buSzPts val="1400"/>
              <a:buFont typeface="Corbel"/>
              <a:buChar char="-"/>
              <a:defRPr/>
            </a:lvl3pPr>
            <a:lvl4pPr marL="1828800" lvl="3" indent="-317500" algn="l">
              <a:lnSpc>
                <a:spcPct val="90000"/>
              </a:lnSpc>
              <a:spcBef>
                <a:spcPts val="375"/>
              </a:spcBef>
              <a:spcAft>
                <a:spcPts val="0"/>
              </a:spcAft>
              <a:buSzPts val="1400"/>
              <a:buFont typeface="Corbel"/>
              <a:buChar char="-"/>
              <a:defRPr/>
            </a:lvl4pPr>
            <a:lvl5pPr marL="2286000" lvl="4" indent="-317500" algn="l">
              <a:lnSpc>
                <a:spcPct val="90000"/>
              </a:lnSpc>
              <a:spcBef>
                <a:spcPts val="375"/>
              </a:spcBef>
              <a:spcAft>
                <a:spcPts val="0"/>
              </a:spcAft>
              <a:buSzPts val="14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59" name="Google Shape;59;p44"/>
          <p:cNvSpPr txBox="1">
            <a:spLocks noGrp="1"/>
          </p:cNvSpPr>
          <p:nvPr>
            <p:ph type="body" idx="2"/>
          </p:nvPr>
        </p:nvSpPr>
        <p:spPr>
          <a:xfrm>
            <a:off x="6200787" y="1592263"/>
            <a:ext cx="5332401" cy="4716462"/>
          </a:xfrm>
          <a:prstGeom prst="rect">
            <a:avLst/>
          </a:prstGeom>
          <a:noFill/>
          <a:ln>
            <a:noFill/>
          </a:ln>
        </p:spPr>
        <p:txBody>
          <a:bodyPr spcFirstLastPara="1" wrap="square" lIns="72000" tIns="72000" rIns="72000" bIns="72000" anchor="t" anchorCtr="0">
            <a:noAutofit/>
          </a:bodyPr>
          <a:lstStyle>
            <a:lvl1pPr marL="457200" lvl="0" indent="-317500" algn="l" rtl="0">
              <a:lnSpc>
                <a:spcPct val="90000"/>
              </a:lnSpc>
              <a:spcBef>
                <a:spcPts val="375"/>
              </a:spcBef>
              <a:spcAft>
                <a:spcPts val="0"/>
              </a:spcAft>
              <a:buSzPts val="1400"/>
              <a:buChar char="▪"/>
              <a:defRPr>
                <a:latin typeface="Corbel" panose="020B0503020204020204" pitchFamily="34" charset="0"/>
                <a:sym typeface="Corbel" panose="020B0503020204020204" pitchFamily="34" charset="0"/>
              </a:defRPr>
            </a:lvl1pPr>
            <a:lvl2pPr marL="914400" lvl="1" indent="-317500" algn="l">
              <a:lnSpc>
                <a:spcPct val="90000"/>
              </a:lnSpc>
              <a:spcBef>
                <a:spcPts val="375"/>
              </a:spcBef>
              <a:spcAft>
                <a:spcPts val="0"/>
              </a:spcAft>
              <a:buSzPts val="1400"/>
              <a:buFont typeface="Corbel"/>
              <a:buChar char="-"/>
              <a:defRPr/>
            </a:lvl2pPr>
            <a:lvl3pPr marL="1371600" lvl="2" indent="-317500" algn="l">
              <a:lnSpc>
                <a:spcPct val="90000"/>
              </a:lnSpc>
              <a:spcBef>
                <a:spcPts val="375"/>
              </a:spcBef>
              <a:spcAft>
                <a:spcPts val="0"/>
              </a:spcAft>
              <a:buSzPts val="1400"/>
              <a:buFont typeface="Corbel"/>
              <a:buChar char="-"/>
              <a:defRPr/>
            </a:lvl3pPr>
            <a:lvl4pPr marL="1828800" lvl="3" indent="-317500" algn="l">
              <a:lnSpc>
                <a:spcPct val="90000"/>
              </a:lnSpc>
              <a:spcBef>
                <a:spcPts val="375"/>
              </a:spcBef>
              <a:spcAft>
                <a:spcPts val="0"/>
              </a:spcAft>
              <a:buSzPts val="1400"/>
              <a:buFont typeface="Corbel"/>
              <a:buChar char="-"/>
              <a:defRPr/>
            </a:lvl4pPr>
            <a:lvl5pPr marL="2286000" lvl="4" indent="-317500" algn="l">
              <a:lnSpc>
                <a:spcPct val="90000"/>
              </a:lnSpc>
              <a:spcBef>
                <a:spcPts val="375"/>
              </a:spcBef>
              <a:spcAft>
                <a:spcPts val="0"/>
              </a:spcAft>
              <a:buSzPts val="1400"/>
              <a:buChar char="-"/>
              <a:defRPr/>
            </a:lvl5pPr>
            <a:lvl6pPr marL="2743200" lvl="5" indent="-228600" algn="l">
              <a:spcBef>
                <a:spcPts val="0"/>
              </a:spcBef>
              <a:spcAft>
                <a:spcPts val="0"/>
              </a:spcAft>
              <a:buSzPts val="1400"/>
              <a:buNone/>
              <a:defRPr/>
            </a:lvl6pPr>
            <a:lvl7pPr marL="3200400" lvl="6" indent="-228600" algn="l">
              <a:spcBef>
                <a:spcPts val="0"/>
              </a:spcBef>
              <a:spcAft>
                <a:spcPts val="0"/>
              </a:spcAft>
              <a:buSzPts val="1400"/>
              <a:buNone/>
              <a:defRPr/>
            </a:lvl7pPr>
            <a:lvl8pPr marL="3657600" lvl="7" indent="-228600" algn="l">
              <a:spcBef>
                <a:spcPts val="0"/>
              </a:spcBef>
              <a:spcAft>
                <a:spcPts val="0"/>
              </a:spcAft>
              <a:buSzPts val="1400"/>
              <a:buNone/>
              <a:defRPr/>
            </a:lvl8pPr>
            <a:lvl9pPr marL="4114800" lvl="8" indent="-228600" algn="l">
              <a:spcBef>
                <a:spcPts val="0"/>
              </a:spcBef>
              <a:spcAft>
                <a:spcPts val="0"/>
              </a:spcAft>
              <a:buSzPts val="1400"/>
              <a:buNone/>
              <a:defRPr/>
            </a:lvl9pPr>
          </a:lstStyle>
          <a:p>
            <a:endParaRPr lang="nl-NL" dirty="0"/>
          </a:p>
        </p:txBody>
      </p:sp>
      <p:sp>
        <p:nvSpPr>
          <p:cNvPr id="60" name="Google Shape;60;p44"/>
          <p:cNvSpPr txBox="1">
            <a:spLocks noGrp="1"/>
          </p:cNvSpPr>
          <p:nvPr>
            <p:ph type="title"/>
          </p:nvPr>
        </p:nvSpPr>
        <p:spPr>
          <a:xfrm>
            <a:off x="666747" y="266699"/>
            <a:ext cx="10866441" cy="930276"/>
          </a:xfrm>
          <a:prstGeom prst="rect">
            <a:avLst/>
          </a:prstGeom>
          <a:noFill/>
          <a:ln>
            <a:noFill/>
          </a:ln>
        </p:spPr>
        <p:txBody>
          <a:bodyPr spcFirstLastPara="1" wrap="square" lIns="91425" tIns="45700" rIns="91425" bIns="45700" anchor="b" anchorCtr="0">
            <a:noAutofit/>
          </a:bodyPr>
          <a:lstStyle>
            <a:lvl1pPr lvl="0" algn="l" rtl="0">
              <a:lnSpc>
                <a:spcPct val="90000"/>
              </a:lnSpc>
              <a:spcBef>
                <a:spcPts val="0"/>
              </a:spcBef>
              <a:spcAft>
                <a:spcPts val="0"/>
              </a:spcAft>
              <a:buClr>
                <a:schemeClr val="dk2"/>
              </a:buClr>
              <a:buSzPts val="2800"/>
              <a:buFont typeface="Corbel"/>
              <a:buNone/>
              <a:defRPr>
                <a:latin typeface="Corbel" panose="020B0503020204020204" pitchFamily="34" charset="0"/>
                <a:sym typeface="Corbel" panose="020B0503020204020204" pitchFamily="34" charset="0"/>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lang="nl-NL" dirty="0"/>
          </a:p>
        </p:txBody>
      </p:sp>
    </p:spTree>
    <p:extLst>
      <p:ext uri="{BB962C8B-B14F-4D97-AF65-F5344CB8AC3E}">
        <p14:creationId xmlns:p14="http://schemas.microsoft.com/office/powerpoint/2010/main" val="9825978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1"/>
            </p:custDataLst>
            <p:extLst>
              <p:ext uri="{D42A27DB-BD31-4B8C-83A1-F6EECF244321}">
                <p14:modId xmlns:p14="http://schemas.microsoft.com/office/powerpoint/2010/main" val="2973216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1"/>
            </p:custDataLst>
            <p:extLst>
              <p:ext uri="{D42A27DB-BD31-4B8C-83A1-F6EECF244321}">
                <p14:modId xmlns:p14="http://schemas.microsoft.com/office/powerpoint/2010/main" val="3310729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1"/>
            </p:custDataLst>
            <p:extLst>
              <p:ext uri="{D42A27DB-BD31-4B8C-83A1-F6EECF244321}">
                <p14:modId xmlns:p14="http://schemas.microsoft.com/office/powerpoint/2010/main" val="35825680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rtl="0">
              <a:defRPr lang="nl-NL" b="1" noProof="0" dirty="0">
                <a:solidFill>
                  <a:schemeClr val="tx1"/>
                </a:solidFill>
                <a:latin typeface="Corbel" panose="020B0503020204020204" pitchFamily="34" charset="0"/>
                <a:sym typeface="Corbel" panose="020B0503020204020204" pitchFamily="34" charset="0"/>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1"/>
            </p:custDataLst>
            <p:extLst>
              <p:ext uri="{D42A27DB-BD31-4B8C-83A1-F6EECF244321}">
                <p14:modId xmlns:p14="http://schemas.microsoft.com/office/powerpoint/2010/main" val="367776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rtl="0">
              <a:defRPr lang="nl-NL" noProof="0" dirty="0">
                <a:solidFill>
                  <a:schemeClr val="tx1"/>
                </a:solidFill>
                <a:latin typeface="Corbel" panose="020B0503020204020204" pitchFamily="34" charset="0"/>
                <a:sym typeface="Corbel" panose="020B0503020204020204" pitchFamily="34" charset="0"/>
              </a:defRPr>
            </a:lvl2pPr>
            <a:lvl3pPr rtl="0">
              <a:defRPr lang="nl-NL" noProof="0" dirty="0">
                <a:solidFill>
                  <a:schemeClr val="tx1"/>
                </a:solidFill>
                <a:latin typeface="Corbel" panose="020B0503020204020204" pitchFamily="34" charset="0"/>
                <a:sym typeface="Corbel" panose="020B0503020204020204" pitchFamily="34" charset="0"/>
              </a:defRPr>
            </a:lvl3pPr>
            <a:lvl4pPr rtl="0">
              <a:defRPr lang="nl-NL" noProof="0" dirty="0">
                <a:solidFill>
                  <a:schemeClr val="tx1"/>
                </a:solidFill>
                <a:latin typeface="Corbel" panose="020B0503020204020204" pitchFamily="34" charset="0"/>
                <a:sym typeface="Corbel" panose="020B0503020204020204" pitchFamily="34" charset="0"/>
              </a:defRPr>
            </a:lvl4pPr>
            <a:lvl5pPr rtl="0">
              <a:defRPr lang="nl-NL" noProof="0" dirty="0">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rtl="0">
              <a:buNone/>
              <a:defRPr lang="nl-NL" b="1" noProof="0" dirty="0">
                <a:solidFill>
                  <a:schemeClr val="tx1"/>
                </a:solidFill>
                <a:latin typeface="Corbel" panose="020B0503020204020204" pitchFamily="34" charset="0"/>
                <a:sym typeface="Corbel" panose="020B0503020204020204" pitchFamily="34" charset="0"/>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1"/>
            </p:custDataLst>
            <p:extLst>
              <p:ext uri="{D42A27DB-BD31-4B8C-83A1-F6EECF244321}">
                <p14:modId xmlns:p14="http://schemas.microsoft.com/office/powerpoint/2010/main" val="1493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rtl="0">
              <a:defRPr lang="en-US" dirty="0">
                <a:solidFill>
                  <a:schemeClr val="tx1"/>
                </a:solidFill>
                <a:latin typeface="Corbel" panose="020B0503020204020204" pitchFamily="34" charset="0"/>
                <a:sym typeface="Corbel" panose="020B0503020204020204" pitchFamily="34" charset="0"/>
              </a:defRPr>
            </a:lvl2pPr>
            <a:lvl3pPr rtl="0">
              <a:defRPr lang="en-US" dirty="0">
                <a:solidFill>
                  <a:schemeClr val="tx1"/>
                </a:solidFill>
                <a:latin typeface="Corbel" panose="020B0503020204020204" pitchFamily="34" charset="0"/>
                <a:sym typeface="Corbel" panose="020B0503020204020204" pitchFamily="34" charset="0"/>
              </a:defRPr>
            </a:lvl3pPr>
            <a:lvl4pPr rtl="0">
              <a:defRPr lang="en-US" dirty="0">
                <a:solidFill>
                  <a:schemeClr val="tx1"/>
                </a:solidFill>
                <a:latin typeface="Corbel" panose="020B0503020204020204" pitchFamily="34" charset="0"/>
                <a:sym typeface="Corbel" panose="020B0503020204020204" pitchFamily="34" charset="0"/>
              </a:defRPr>
            </a:lvl4pPr>
            <a:lvl5pPr rtl="0">
              <a:defRPr lang="nl-NL" dirty="0">
                <a:solidFill>
                  <a:schemeClr val="tx1"/>
                </a:solidFill>
                <a:latin typeface="Corbel" panose="020B0503020204020204" pitchFamily="34" charset="0"/>
                <a:sym typeface="Corbel" panose="020B0503020204020204" pitchFamily="34" charset="0"/>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atin typeface="Corbel" panose="020B0503020204020204" pitchFamily="34" charset="0"/>
                <a:sym typeface="Corbel" panose="020B0503020204020204" pitchFamily="34" charset="0"/>
              </a:defRPr>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atin typeface="Corbel" panose="020B0503020204020204" pitchFamily="34" charset="0"/>
                <a:sym typeface="Corbel" panose="020B0503020204020204" pitchFamily="34" charset="0"/>
              </a:defRPr>
            </a:lvl1p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rtl="0">
              <a:spcBef>
                <a:spcPts val="0"/>
              </a:spcBef>
              <a:buClrTx/>
              <a:buFont typeface="+mj-lt"/>
              <a:buAutoNum type="arabicPeriod"/>
              <a:defRPr sz="800">
                <a:latin typeface="Corbel" panose="020B0503020204020204" pitchFamily="34" charset="0"/>
                <a:sym typeface="Corbel" panose="020B0503020204020204" pitchFamily="34" charset="0"/>
              </a:defRPr>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lvl1pPr rtl="0">
              <a:defRPr>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305451863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5" imgW="470" imgH="469" progId="TCLayout.ActiveDocument.1">
                  <p:embed/>
                </p:oleObj>
              </mc:Choice>
              <mc:Fallback>
                <p:oleObj name="think-cell Slide" r:id="rId45" imgW="470" imgH="469" progId="TCLayout.ActiveDocument.1">
                  <p:embed/>
                  <p:pic>
                    <p:nvPicPr>
                      <p:cNvPr id="0" name=""/>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latin typeface="Corbel" panose="020B0503020204020204" pitchFamily="34" charset="0"/>
              <a:sym typeface="Corbel" panose="020B0503020204020204" pitchFamily="34" charset="0"/>
            </a:endParaRPr>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latin typeface="Corbel" panose="020B0503020204020204" pitchFamily="34" charset="0"/>
              <a:sym typeface="Corbel" panose="020B0503020204020204" pitchFamily="34" charset="0"/>
            </a:endParaRPr>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latin typeface="Corbel" panose="020B0503020204020204" pitchFamily="34" charset="0"/>
              <a:sym typeface="Corbel" panose="020B0503020204020204" pitchFamily="34" charset="0"/>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rtl="0">
              <a:buNone/>
              <a:defRPr sz="1000">
                <a:latin typeface="Corbel" panose="020B0503020204020204" pitchFamily="34" charset="0"/>
                <a:sym typeface="Corbel" panose="020B0503020204020204" pitchFamily="34" charset="0"/>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rtl="0">
              <a:lnSpc>
                <a:spcPct val="90000"/>
              </a:lnSpc>
              <a:buNone/>
              <a:defRPr sz="800">
                <a:solidFill>
                  <a:srgbClr val="000000"/>
                </a:solidFill>
                <a:latin typeface="Corbel" panose="020B0503020204020204" pitchFamily="34" charset="0"/>
                <a:sym typeface="Corbel" panose="020B0503020204020204" pitchFamily="34" charset="0"/>
              </a:defRPr>
            </a:lvl1pPr>
          </a:lstStyle>
          <a:p>
            <a:r>
              <a:rPr lang="nl-NL"/>
              <a:t>Bron: </a:t>
            </a:r>
            <a:endParaRPr lang="nl-NL" dirty="0"/>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 id="2147484015" r:id="rId38"/>
    <p:sldLayoutId id="2147484016" r:id="rId39"/>
    <p:sldLayoutId id="2147484017" r:id="rId40"/>
    <p:sldLayoutId id="2147484018" r:id="rId41"/>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sym typeface="Corbel" panose="020B0503020204020204" pitchFamily="34" charset="0"/>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sym typeface="Corbel" panose="020B0503020204020204" pitchFamily="34" charset="0"/>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503020204020204" pitchFamily="34" charset="0"/>
          <a:ea typeface="+mn-ea"/>
          <a:cs typeface="Corbel" panose="020B0503020204020204" pitchFamily="34" charset="0"/>
          <a:sym typeface="Corbel" panose="020B0503020204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5.xml"/><Relationship Id="rId5" Type="http://schemas.openxmlformats.org/officeDocument/2006/relationships/image" Target="../media/image7.emf"/><Relationship Id="rId4" Type="http://schemas.openxmlformats.org/officeDocument/2006/relationships/oleObject" Target="../embeddings/oleObject43.bin"/></Relationships>
</file>

<file path=ppt/slides/_rels/slide10.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notesSlide" Target="../notesSlides/notesSlide6.xml"/><Relationship Id="rId7" Type="http://schemas.openxmlformats.org/officeDocument/2006/relationships/image" Target="../media/image30.png"/><Relationship Id="rId2" Type="http://schemas.openxmlformats.org/officeDocument/2006/relationships/slideLayout" Target="../slideLayouts/slideLayout41.xml"/><Relationship Id="rId1" Type="http://schemas.openxmlformats.org/officeDocument/2006/relationships/tags" Target="../tags/tag84.xml"/><Relationship Id="rId6" Type="http://schemas.openxmlformats.org/officeDocument/2006/relationships/image" Target="../media/image29.png"/><Relationship Id="rId5" Type="http://schemas.openxmlformats.org/officeDocument/2006/relationships/image" Target="../media/image7.emf"/><Relationship Id="rId4" Type="http://schemas.openxmlformats.org/officeDocument/2006/relationships/oleObject" Target="../embeddings/oleObject52.bin"/></Relationships>
</file>

<file path=ppt/slides/_rels/slide11.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7.xml"/><Relationship Id="rId7" Type="http://schemas.openxmlformats.org/officeDocument/2006/relationships/image" Target="../media/image33.png"/><Relationship Id="rId2" Type="http://schemas.openxmlformats.org/officeDocument/2006/relationships/slideLayout" Target="../slideLayouts/slideLayout41.xml"/><Relationship Id="rId1" Type="http://schemas.openxmlformats.org/officeDocument/2006/relationships/tags" Target="../tags/tag85.xml"/><Relationship Id="rId6" Type="http://schemas.openxmlformats.org/officeDocument/2006/relationships/image" Target="../media/image32.png"/><Relationship Id="rId5" Type="http://schemas.openxmlformats.org/officeDocument/2006/relationships/image" Target="../media/image7.emf"/><Relationship Id="rId4" Type="http://schemas.openxmlformats.org/officeDocument/2006/relationships/oleObject" Target="../embeddings/oleObject53.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9.xml"/><Relationship Id="rId1" Type="http://schemas.openxmlformats.org/officeDocument/2006/relationships/tags" Target="../tags/tag86.xml"/><Relationship Id="rId5" Type="http://schemas.openxmlformats.org/officeDocument/2006/relationships/image" Target="../media/image7.emf"/><Relationship Id="rId4" Type="http://schemas.openxmlformats.org/officeDocument/2006/relationships/oleObject" Target="../embeddings/oleObject54.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8.png"/><Relationship Id="rId2" Type="http://schemas.openxmlformats.org/officeDocument/2006/relationships/slideLayout" Target="../slideLayouts/slideLayout41.xml"/><Relationship Id="rId1" Type="http://schemas.openxmlformats.org/officeDocument/2006/relationships/tags" Target="../tags/tag87.xml"/><Relationship Id="rId6" Type="http://schemas.openxmlformats.org/officeDocument/2006/relationships/image" Target="../media/image35.png"/><Relationship Id="rId5" Type="http://schemas.openxmlformats.org/officeDocument/2006/relationships/image" Target="../media/image7.emf"/><Relationship Id="rId4" Type="http://schemas.openxmlformats.org/officeDocument/2006/relationships/oleObject" Target="../embeddings/oleObject55.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18.png"/><Relationship Id="rId2" Type="http://schemas.openxmlformats.org/officeDocument/2006/relationships/slideLayout" Target="../slideLayouts/slideLayout41.xml"/><Relationship Id="rId1" Type="http://schemas.openxmlformats.org/officeDocument/2006/relationships/tags" Target="../tags/tag88.xml"/><Relationship Id="rId6" Type="http://schemas.openxmlformats.org/officeDocument/2006/relationships/image" Target="../media/image36.jpeg"/><Relationship Id="rId5" Type="http://schemas.openxmlformats.org/officeDocument/2006/relationships/image" Target="../media/image7.emf"/><Relationship Id="rId4" Type="http://schemas.openxmlformats.org/officeDocument/2006/relationships/oleObject" Target="../embeddings/oleObject56.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7.jpeg"/><Relationship Id="rId2" Type="http://schemas.openxmlformats.org/officeDocument/2006/relationships/slideLayout" Target="../slideLayouts/slideLayout41.xml"/><Relationship Id="rId1" Type="http://schemas.openxmlformats.org/officeDocument/2006/relationships/tags" Target="../tags/tag89.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57.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38.jpeg"/><Relationship Id="rId2" Type="http://schemas.openxmlformats.org/officeDocument/2006/relationships/slideLayout" Target="../slideLayouts/slideLayout41.xml"/><Relationship Id="rId1" Type="http://schemas.openxmlformats.org/officeDocument/2006/relationships/tags" Target="../tags/tag90.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58.bin"/></Relationships>
</file>

<file path=ppt/slides/_rels/slide1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13.xml"/><Relationship Id="rId7" Type="http://schemas.openxmlformats.org/officeDocument/2006/relationships/image" Target="../media/image39.png"/><Relationship Id="rId2" Type="http://schemas.openxmlformats.org/officeDocument/2006/relationships/slideLayout" Target="../slideLayouts/slideLayout41.xml"/><Relationship Id="rId1" Type="http://schemas.openxmlformats.org/officeDocument/2006/relationships/tags" Target="../tags/tag91.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59.bin"/></Relationships>
</file>

<file path=ppt/slides/_rels/slide18.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4.xml"/><Relationship Id="rId7" Type="http://schemas.openxmlformats.org/officeDocument/2006/relationships/image" Target="../media/image40.png"/><Relationship Id="rId12" Type="http://schemas.openxmlformats.org/officeDocument/2006/relationships/image" Target="../media/image45.png"/><Relationship Id="rId2" Type="http://schemas.openxmlformats.org/officeDocument/2006/relationships/slideLayout" Target="../slideLayouts/slideLayout41.xml"/><Relationship Id="rId1" Type="http://schemas.openxmlformats.org/officeDocument/2006/relationships/tags" Target="../tags/tag92.xml"/><Relationship Id="rId6" Type="http://schemas.openxmlformats.org/officeDocument/2006/relationships/image" Target="../media/image18.png"/><Relationship Id="rId11" Type="http://schemas.openxmlformats.org/officeDocument/2006/relationships/image" Target="../media/image44.png"/><Relationship Id="rId5" Type="http://schemas.openxmlformats.org/officeDocument/2006/relationships/image" Target="../media/image7.emf"/><Relationship Id="rId10" Type="http://schemas.openxmlformats.org/officeDocument/2006/relationships/image" Target="../media/image43.png"/><Relationship Id="rId4" Type="http://schemas.openxmlformats.org/officeDocument/2006/relationships/oleObject" Target="../embeddings/oleObject60.bin"/><Relationship Id="rId9" Type="http://schemas.openxmlformats.org/officeDocument/2006/relationships/image" Target="../media/image42.png"/></Relationships>
</file>

<file path=ppt/slides/_rels/slide19.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notesSlide" Target="../notesSlides/notesSlide15.xml"/><Relationship Id="rId7" Type="http://schemas.openxmlformats.org/officeDocument/2006/relationships/image" Target="../media/image40.png"/><Relationship Id="rId2" Type="http://schemas.openxmlformats.org/officeDocument/2006/relationships/slideLayout" Target="../slideLayouts/slideLayout41.xml"/><Relationship Id="rId1" Type="http://schemas.openxmlformats.org/officeDocument/2006/relationships/tags" Target="../tags/tag93.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61.bin"/></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oleObject" Target="../embeddings/oleObject44.bin"/><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Layout" Target="../slideLayouts/slideLayout2.xml"/><Relationship Id="rId16" Type="http://schemas.openxmlformats.org/officeDocument/2006/relationships/image" Target="../media/image18.png"/><Relationship Id="rId1" Type="http://schemas.openxmlformats.org/officeDocument/2006/relationships/tags" Target="../tags/tag76.xml"/><Relationship Id="rId6" Type="http://schemas.microsoft.com/office/2007/relationships/hdphoto" Target="../media/hdphoto1.wdp"/><Relationship Id="rId11" Type="http://schemas.openxmlformats.org/officeDocument/2006/relationships/image" Target="../media/image13.png"/><Relationship Id="rId5" Type="http://schemas.openxmlformats.org/officeDocument/2006/relationships/image" Target="../media/image8.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7.emf"/><Relationship Id="rId9" Type="http://schemas.openxmlformats.org/officeDocument/2006/relationships/image" Target="../media/image11.png"/><Relationship Id="rId14" Type="http://schemas.openxmlformats.org/officeDocument/2006/relationships/image" Target="../media/image16.png"/></Relationships>
</file>

<file path=ppt/slides/_rels/slide20.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svg"/><Relationship Id="rId3" Type="http://schemas.openxmlformats.org/officeDocument/2006/relationships/notesSlide" Target="../notesSlides/notesSlide16.xml"/><Relationship Id="rId7" Type="http://schemas.openxmlformats.org/officeDocument/2006/relationships/image" Target="../media/image40.png"/><Relationship Id="rId12" Type="http://schemas.openxmlformats.org/officeDocument/2006/relationships/image" Target="../media/image50.png"/><Relationship Id="rId2" Type="http://schemas.openxmlformats.org/officeDocument/2006/relationships/slideLayout" Target="../slideLayouts/slideLayout41.xml"/><Relationship Id="rId1" Type="http://schemas.openxmlformats.org/officeDocument/2006/relationships/tags" Target="../tags/tag94.xml"/><Relationship Id="rId6" Type="http://schemas.openxmlformats.org/officeDocument/2006/relationships/image" Target="../media/image18.png"/><Relationship Id="rId11" Type="http://schemas.openxmlformats.org/officeDocument/2006/relationships/image" Target="../media/image49.svg"/><Relationship Id="rId5" Type="http://schemas.openxmlformats.org/officeDocument/2006/relationships/image" Target="../media/image7.emf"/><Relationship Id="rId10" Type="http://schemas.openxmlformats.org/officeDocument/2006/relationships/image" Target="../media/image48.png"/><Relationship Id="rId4" Type="http://schemas.openxmlformats.org/officeDocument/2006/relationships/oleObject" Target="../embeddings/oleObject62.bin"/><Relationship Id="rId9" Type="http://schemas.openxmlformats.org/officeDocument/2006/relationships/image" Target="../media/image47.jpg"/></Relationships>
</file>

<file path=ppt/slides/_rels/slide21.xml.rels><?xml version="1.0" encoding="UTF-8" standalone="yes"?>
<Relationships xmlns="http://schemas.openxmlformats.org/package/2006/relationships"><Relationship Id="rId8" Type="http://schemas.openxmlformats.org/officeDocument/2006/relationships/image" Target="../media/image52.jpeg"/><Relationship Id="rId3" Type="http://schemas.openxmlformats.org/officeDocument/2006/relationships/notesSlide" Target="../notesSlides/notesSlide17.xml"/><Relationship Id="rId7" Type="http://schemas.openxmlformats.org/officeDocument/2006/relationships/image" Target="../media/image40.png"/><Relationship Id="rId2" Type="http://schemas.openxmlformats.org/officeDocument/2006/relationships/slideLayout" Target="../slideLayouts/slideLayout41.xml"/><Relationship Id="rId1" Type="http://schemas.openxmlformats.org/officeDocument/2006/relationships/tags" Target="../tags/tag95.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63.bin"/></Relationships>
</file>

<file path=ppt/slides/_rels/slide22.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18.xml"/><Relationship Id="rId7" Type="http://schemas.openxmlformats.org/officeDocument/2006/relationships/image" Target="../media/image40.png"/><Relationship Id="rId2" Type="http://schemas.openxmlformats.org/officeDocument/2006/relationships/slideLayout" Target="../slideLayouts/slideLayout41.xml"/><Relationship Id="rId1" Type="http://schemas.openxmlformats.org/officeDocument/2006/relationships/tags" Target="../tags/tag96.xml"/><Relationship Id="rId6" Type="http://schemas.openxmlformats.org/officeDocument/2006/relationships/image" Target="../media/image18.png"/><Relationship Id="rId11" Type="http://schemas.openxmlformats.org/officeDocument/2006/relationships/image" Target="../media/image56.png"/><Relationship Id="rId5" Type="http://schemas.openxmlformats.org/officeDocument/2006/relationships/image" Target="../media/image7.emf"/><Relationship Id="rId10" Type="http://schemas.openxmlformats.org/officeDocument/2006/relationships/image" Target="../media/image55.png"/><Relationship Id="rId4" Type="http://schemas.openxmlformats.org/officeDocument/2006/relationships/oleObject" Target="../embeddings/oleObject64.bin"/><Relationship Id="rId9"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9.xml"/><Relationship Id="rId1" Type="http://schemas.openxmlformats.org/officeDocument/2006/relationships/tags" Target="../tags/tag97.xml"/><Relationship Id="rId5" Type="http://schemas.openxmlformats.org/officeDocument/2006/relationships/image" Target="../media/image7.emf"/><Relationship Id="rId4" Type="http://schemas.openxmlformats.org/officeDocument/2006/relationships/oleObject" Target="../embeddings/oleObject65.bin"/></Relationships>
</file>

<file path=ppt/slides/_rels/slide24.xml.rels><?xml version="1.0" encoding="UTF-8" standalone="yes"?>
<Relationships xmlns="http://schemas.openxmlformats.org/package/2006/relationships"><Relationship Id="rId8" Type="http://schemas.openxmlformats.org/officeDocument/2006/relationships/tags" Target="../tags/tag105.xml"/><Relationship Id="rId13" Type="http://schemas.openxmlformats.org/officeDocument/2006/relationships/notesSlide" Target="../notesSlides/notesSlide20.xml"/><Relationship Id="rId3" Type="http://schemas.openxmlformats.org/officeDocument/2006/relationships/tags" Target="../tags/tag100.xml"/><Relationship Id="rId7" Type="http://schemas.openxmlformats.org/officeDocument/2006/relationships/tags" Target="../tags/tag104.xml"/><Relationship Id="rId12" Type="http://schemas.openxmlformats.org/officeDocument/2006/relationships/slideLayout" Target="../slideLayouts/slideLayout41.xml"/><Relationship Id="rId17" Type="http://schemas.openxmlformats.org/officeDocument/2006/relationships/chart" Target="../charts/chart1.xml"/><Relationship Id="rId2" Type="http://schemas.openxmlformats.org/officeDocument/2006/relationships/tags" Target="../tags/tag99.xml"/><Relationship Id="rId16" Type="http://schemas.openxmlformats.org/officeDocument/2006/relationships/image" Target="../media/image57.jpeg"/><Relationship Id="rId1" Type="http://schemas.openxmlformats.org/officeDocument/2006/relationships/tags" Target="../tags/tag98.xml"/><Relationship Id="rId6" Type="http://schemas.openxmlformats.org/officeDocument/2006/relationships/tags" Target="../tags/tag103.xml"/><Relationship Id="rId11" Type="http://schemas.openxmlformats.org/officeDocument/2006/relationships/tags" Target="../tags/tag108.xml"/><Relationship Id="rId5" Type="http://schemas.openxmlformats.org/officeDocument/2006/relationships/tags" Target="../tags/tag102.xml"/><Relationship Id="rId15" Type="http://schemas.openxmlformats.org/officeDocument/2006/relationships/image" Target="../media/image7.emf"/><Relationship Id="rId10" Type="http://schemas.openxmlformats.org/officeDocument/2006/relationships/tags" Target="../tags/tag107.xml"/><Relationship Id="rId4" Type="http://schemas.openxmlformats.org/officeDocument/2006/relationships/tags" Target="../tags/tag101.xml"/><Relationship Id="rId9" Type="http://schemas.openxmlformats.org/officeDocument/2006/relationships/tags" Target="../tags/tag106.xml"/><Relationship Id="rId14" Type="http://schemas.openxmlformats.org/officeDocument/2006/relationships/oleObject" Target="../embeddings/oleObject66.bin"/></Relationships>
</file>

<file path=ppt/slides/_rels/slide25.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notesSlide" Target="../notesSlides/notesSlide21.xml"/><Relationship Id="rId7" Type="http://schemas.openxmlformats.org/officeDocument/2006/relationships/image" Target="../media/image59.png"/><Relationship Id="rId2" Type="http://schemas.openxmlformats.org/officeDocument/2006/relationships/slideLayout" Target="../slideLayouts/slideLayout41.xml"/><Relationship Id="rId1" Type="http://schemas.openxmlformats.org/officeDocument/2006/relationships/tags" Target="../tags/tag109.xml"/><Relationship Id="rId6" Type="http://schemas.openxmlformats.org/officeDocument/2006/relationships/image" Target="../media/image58.jpeg"/><Relationship Id="rId5" Type="http://schemas.openxmlformats.org/officeDocument/2006/relationships/image" Target="../media/image7.emf"/><Relationship Id="rId10" Type="http://schemas.openxmlformats.org/officeDocument/2006/relationships/image" Target="../media/image18.png"/><Relationship Id="rId4" Type="http://schemas.openxmlformats.org/officeDocument/2006/relationships/oleObject" Target="../embeddings/oleObject67.bin"/><Relationship Id="rId9" Type="http://schemas.openxmlformats.org/officeDocument/2006/relationships/image" Target="../media/image61.png"/></Relationships>
</file>

<file path=ppt/slides/_rels/slide26.xml.rels><?xml version="1.0" encoding="UTF-8" standalone="yes"?>
<Relationships xmlns="http://schemas.openxmlformats.org/package/2006/relationships"><Relationship Id="rId8" Type="http://schemas.openxmlformats.org/officeDocument/2006/relationships/image" Target="../media/image63.svg"/><Relationship Id="rId13" Type="http://schemas.openxmlformats.org/officeDocument/2006/relationships/image" Target="../media/image66.png"/><Relationship Id="rId3" Type="http://schemas.openxmlformats.org/officeDocument/2006/relationships/notesSlide" Target="../notesSlides/notesSlide22.xml"/><Relationship Id="rId7" Type="http://schemas.openxmlformats.org/officeDocument/2006/relationships/image" Target="../media/image62.png"/><Relationship Id="rId12" Type="http://schemas.openxmlformats.org/officeDocument/2006/relationships/image" Target="../media/image60.svg"/><Relationship Id="rId2" Type="http://schemas.openxmlformats.org/officeDocument/2006/relationships/slideLayout" Target="../slideLayouts/slideLayout41.xml"/><Relationship Id="rId1" Type="http://schemas.openxmlformats.org/officeDocument/2006/relationships/tags" Target="../tags/tag110.xml"/><Relationship Id="rId6" Type="http://schemas.openxmlformats.org/officeDocument/2006/relationships/image" Target="../media/image18.png"/><Relationship Id="rId11" Type="http://schemas.openxmlformats.org/officeDocument/2006/relationships/image" Target="../media/image59.png"/><Relationship Id="rId5" Type="http://schemas.openxmlformats.org/officeDocument/2006/relationships/image" Target="../media/image7.emf"/><Relationship Id="rId10" Type="http://schemas.openxmlformats.org/officeDocument/2006/relationships/image" Target="../media/image65.svg"/><Relationship Id="rId4" Type="http://schemas.openxmlformats.org/officeDocument/2006/relationships/oleObject" Target="../embeddings/oleObject68.bin"/><Relationship Id="rId9" Type="http://schemas.openxmlformats.org/officeDocument/2006/relationships/image" Target="../media/image64.png"/><Relationship Id="rId14" Type="http://schemas.openxmlformats.org/officeDocument/2006/relationships/image" Target="../media/image67.sv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9.xml"/><Relationship Id="rId1" Type="http://schemas.openxmlformats.org/officeDocument/2006/relationships/tags" Target="../tags/tag111.xml"/><Relationship Id="rId5" Type="http://schemas.openxmlformats.org/officeDocument/2006/relationships/image" Target="../media/image7.emf"/><Relationship Id="rId4" Type="http://schemas.openxmlformats.org/officeDocument/2006/relationships/oleObject" Target="../embeddings/oleObject69.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68.jpeg"/><Relationship Id="rId2" Type="http://schemas.openxmlformats.org/officeDocument/2006/relationships/slideLayout" Target="../slideLayouts/slideLayout41.xml"/><Relationship Id="rId1" Type="http://schemas.openxmlformats.org/officeDocument/2006/relationships/tags" Target="../tags/tag112.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70.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69.jpg"/><Relationship Id="rId2" Type="http://schemas.openxmlformats.org/officeDocument/2006/relationships/slideLayout" Target="../slideLayouts/slideLayout41.xml"/><Relationship Id="rId1" Type="http://schemas.openxmlformats.org/officeDocument/2006/relationships/tags" Target="../tags/tag113.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71.bin"/></Relationships>
</file>

<file path=ppt/slides/_rels/slide3.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oleObject" Target="../embeddings/oleObject45.bin"/><Relationship Id="rId7" Type="http://schemas.openxmlformats.org/officeDocument/2006/relationships/image" Target="../media/image19.jpg"/><Relationship Id="rId2" Type="http://schemas.openxmlformats.org/officeDocument/2006/relationships/slideLayout" Target="../slideLayouts/slideLayout2.xml"/><Relationship Id="rId1" Type="http://schemas.openxmlformats.org/officeDocument/2006/relationships/tags" Target="../tags/tag77.xml"/><Relationship Id="rId6" Type="http://schemas.microsoft.com/office/2007/relationships/hdphoto" Target="../media/hdphoto1.wdp"/><Relationship Id="rId5" Type="http://schemas.openxmlformats.org/officeDocument/2006/relationships/image" Target="../media/image8.png"/><Relationship Id="rId4" Type="http://schemas.openxmlformats.org/officeDocument/2006/relationships/image" Target="../media/image7.emf"/><Relationship Id="rId9" Type="http://schemas.openxmlformats.org/officeDocument/2006/relationships/image" Target="../media/image18.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9.xml"/><Relationship Id="rId1" Type="http://schemas.openxmlformats.org/officeDocument/2006/relationships/tags" Target="../tags/tag114.xml"/><Relationship Id="rId5" Type="http://schemas.openxmlformats.org/officeDocument/2006/relationships/image" Target="../media/image7.emf"/><Relationship Id="rId4" Type="http://schemas.openxmlformats.org/officeDocument/2006/relationships/oleObject" Target="../embeddings/oleObject72.bin"/></Relationships>
</file>

<file path=ppt/slides/_rels/slide31.xml.rels><?xml version="1.0" encoding="UTF-8" standalone="yes"?>
<Relationships xmlns="http://schemas.openxmlformats.org/package/2006/relationships"><Relationship Id="rId8" Type="http://schemas.openxmlformats.org/officeDocument/2006/relationships/image" Target="../media/image71.png"/><Relationship Id="rId3" Type="http://schemas.openxmlformats.org/officeDocument/2006/relationships/notesSlide" Target="../notesSlides/notesSlide27.xml"/><Relationship Id="rId7" Type="http://schemas.openxmlformats.org/officeDocument/2006/relationships/image" Target="../media/image70.jpeg"/><Relationship Id="rId2" Type="http://schemas.openxmlformats.org/officeDocument/2006/relationships/slideLayout" Target="../slideLayouts/slideLayout41.xml"/><Relationship Id="rId1" Type="http://schemas.openxmlformats.org/officeDocument/2006/relationships/tags" Target="../tags/tag115.xml"/><Relationship Id="rId6" Type="http://schemas.openxmlformats.org/officeDocument/2006/relationships/image" Target="../media/image18.png"/><Relationship Id="rId11" Type="http://schemas.openxmlformats.org/officeDocument/2006/relationships/image" Target="../media/image74.svg"/><Relationship Id="rId5" Type="http://schemas.openxmlformats.org/officeDocument/2006/relationships/image" Target="../media/image7.emf"/><Relationship Id="rId10" Type="http://schemas.openxmlformats.org/officeDocument/2006/relationships/image" Target="../media/image73.png"/><Relationship Id="rId4" Type="http://schemas.openxmlformats.org/officeDocument/2006/relationships/oleObject" Target="../embeddings/oleObject73.bin"/><Relationship Id="rId9" Type="http://schemas.openxmlformats.org/officeDocument/2006/relationships/image" Target="../media/image72.svg"/></Relationships>
</file>

<file path=ppt/slides/_rels/slide3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notesSlide" Target="../notesSlides/notesSlide28.xml"/><Relationship Id="rId7" Type="http://schemas.openxmlformats.org/officeDocument/2006/relationships/image" Target="../media/image18.png"/><Relationship Id="rId2" Type="http://schemas.openxmlformats.org/officeDocument/2006/relationships/slideLayout" Target="../slideLayouts/slideLayout41.xml"/><Relationship Id="rId1" Type="http://schemas.openxmlformats.org/officeDocument/2006/relationships/tags" Target="../tags/tag116.xml"/><Relationship Id="rId6" Type="http://schemas.openxmlformats.org/officeDocument/2006/relationships/image" Target="../media/image75.jpeg"/><Relationship Id="rId5" Type="http://schemas.openxmlformats.org/officeDocument/2006/relationships/image" Target="../media/image7.emf"/><Relationship Id="rId4" Type="http://schemas.openxmlformats.org/officeDocument/2006/relationships/oleObject" Target="../embeddings/oleObject74.bin"/><Relationship Id="rId9" Type="http://schemas.openxmlformats.org/officeDocument/2006/relationships/image" Target="../media/image77.svg"/></Relationships>
</file>

<file path=ppt/slides/_rels/slide33.xml.rels><?xml version="1.0" encoding="UTF-8" standalone="yes"?>
<Relationships xmlns="http://schemas.openxmlformats.org/package/2006/relationships"><Relationship Id="rId8" Type="http://schemas.openxmlformats.org/officeDocument/2006/relationships/image" Target="../media/image79.jpeg"/><Relationship Id="rId13" Type="http://schemas.openxmlformats.org/officeDocument/2006/relationships/image" Target="../media/image82.png"/><Relationship Id="rId3" Type="http://schemas.openxmlformats.org/officeDocument/2006/relationships/notesSlide" Target="../notesSlides/notesSlide29.xml"/><Relationship Id="rId7" Type="http://schemas.openxmlformats.org/officeDocument/2006/relationships/image" Target="../media/image78.jpeg"/><Relationship Id="rId12" Type="http://schemas.microsoft.com/office/2007/relationships/hdphoto" Target="../media/hdphoto3.wdp"/><Relationship Id="rId17" Type="http://schemas.openxmlformats.org/officeDocument/2006/relationships/image" Target="../media/image40.png"/><Relationship Id="rId2" Type="http://schemas.openxmlformats.org/officeDocument/2006/relationships/slideLayout" Target="../slideLayouts/slideLayout41.xml"/><Relationship Id="rId16" Type="http://schemas.microsoft.com/office/2007/relationships/hdphoto" Target="../media/hdphoto4.wdp"/><Relationship Id="rId1" Type="http://schemas.openxmlformats.org/officeDocument/2006/relationships/tags" Target="../tags/tag117.xml"/><Relationship Id="rId6" Type="http://schemas.openxmlformats.org/officeDocument/2006/relationships/image" Target="../media/image18.png"/><Relationship Id="rId11" Type="http://schemas.openxmlformats.org/officeDocument/2006/relationships/image" Target="../media/image81.png"/><Relationship Id="rId5" Type="http://schemas.openxmlformats.org/officeDocument/2006/relationships/image" Target="../media/image7.emf"/><Relationship Id="rId15" Type="http://schemas.openxmlformats.org/officeDocument/2006/relationships/image" Target="../media/image84.png"/><Relationship Id="rId10" Type="http://schemas.microsoft.com/office/2007/relationships/hdphoto" Target="../media/hdphoto2.wdp"/><Relationship Id="rId4" Type="http://schemas.openxmlformats.org/officeDocument/2006/relationships/oleObject" Target="../embeddings/oleObject75.bin"/><Relationship Id="rId9" Type="http://schemas.openxmlformats.org/officeDocument/2006/relationships/image" Target="../media/image80.png"/><Relationship Id="rId14" Type="http://schemas.openxmlformats.org/officeDocument/2006/relationships/image" Target="../media/image83.jpe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76.bin"/><Relationship Id="rId7" Type="http://schemas.openxmlformats.org/officeDocument/2006/relationships/image" Target="../media/image87.jpeg"/><Relationship Id="rId2" Type="http://schemas.openxmlformats.org/officeDocument/2006/relationships/slideLayout" Target="../slideLayouts/slideLayout41.xml"/><Relationship Id="rId1" Type="http://schemas.openxmlformats.org/officeDocument/2006/relationships/tags" Target="../tags/tag118.xml"/><Relationship Id="rId6" Type="http://schemas.openxmlformats.org/officeDocument/2006/relationships/image" Target="../media/image86.jpeg"/><Relationship Id="rId5" Type="http://schemas.openxmlformats.org/officeDocument/2006/relationships/image" Target="../media/image85.jpeg"/><Relationship Id="rId4" Type="http://schemas.openxmlformats.org/officeDocument/2006/relationships/image" Target="../media/image7.emf"/></Relationships>
</file>

<file path=ppt/slides/_rels/slide35.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svg"/><Relationship Id="rId3" Type="http://schemas.openxmlformats.org/officeDocument/2006/relationships/notesSlide" Target="../notesSlides/notesSlide30.xml"/><Relationship Id="rId7" Type="http://schemas.openxmlformats.org/officeDocument/2006/relationships/image" Target="../media/image18.png"/><Relationship Id="rId12" Type="http://schemas.openxmlformats.org/officeDocument/2006/relationships/image" Target="../media/image93.png"/><Relationship Id="rId2" Type="http://schemas.openxmlformats.org/officeDocument/2006/relationships/slideLayout" Target="../slideLayouts/slideLayout41.xml"/><Relationship Id="rId1" Type="http://schemas.openxmlformats.org/officeDocument/2006/relationships/tags" Target="../tags/tag119.xml"/><Relationship Id="rId6" Type="http://schemas.openxmlformats.org/officeDocument/2006/relationships/image" Target="../media/image88.jpeg"/><Relationship Id="rId11" Type="http://schemas.openxmlformats.org/officeDocument/2006/relationships/image" Target="../media/image92.svg"/><Relationship Id="rId5" Type="http://schemas.openxmlformats.org/officeDocument/2006/relationships/image" Target="../media/image7.emf"/><Relationship Id="rId10" Type="http://schemas.openxmlformats.org/officeDocument/2006/relationships/image" Target="../media/image91.png"/><Relationship Id="rId4" Type="http://schemas.openxmlformats.org/officeDocument/2006/relationships/oleObject" Target="../embeddings/oleObject77.bin"/><Relationship Id="rId9" Type="http://schemas.openxmlformats.org/officeDocument/2006/relationships/image" Target="../media/image90.svg"/></Relationships>
</file>

<file path=ppt/slides/_rels/slide36.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notesSlide" Target="../notesSlides/notesSlide31.xml"/><Relationship Id="rId7" Type="http://schemas.openxmlformats.org/officeDocument/2006/relationships/image" Target="../media/image18.png"/><Relationship Id="rId2" Type="http://schemas.openxmlformats.org/officeDocument/2006/relationships/slideLayout" Target="../slideLayouts/slideLayout41.xml"/><Relationship Id="rId1" Type="http://schemas.openxmlformats.org/officeDocument/2006/relationships/tags" Target="../tags/tag120.xml"/><Relationship Id="rId6" Type="http://schemas.openxmlformats.org/officeDocument/2006/relationships/image" Target="../media/image95.jpg"/><Relationship Id="rId11" Type="http://schemas.openxmlformats.org/officeDocument/2006/relationships/image" Target="../media/image99.svg"/><Relationship Id="rId5" Type="http://schemas.openxmlformats.org/officeDocument/2006/relationships/image" Target="../media/image7.emf"/><Relationship Id="rId10" Type="http://schemas.openxmlformats.org/officeDocument/2006/relationships/image" Target="../media/image98.png"/><Relationship Id="rId4" Type="http://schemas.openxmlformats.org/officeDocument/2006/relationships/oleObject" Target="../embeddings/oleObject78.bin"/><Relationship Id="rId9" Type="http://schemas.openxmlformats.org/officeDocument/2006/relationships/image" Target="../media/image97.svg"/></Relationships>
</file>

<file path=ppt/slides/_rels/slide37.xml.rels><?xml version="1.0" encoding="UTF-8" standalone="yes"?>
<Relationships xmlns="http://schemas.openxmlformats.org/package/2006/relationships"><Relationship Id="rId8" Type="http://schemas.openxmlformats.org/officeDocument/2006/relationships/image" Target="../media/image101.png"/><Relationship Id="rId13" Type="http://schemas.openxmlformats.org/officeDocument/2006/relationships/image" Target="../media/image106.svg"/><Relationship Id="rId3" Type="http://schemas.openxmlformats.org/officeDocument/2006/relationships/notesSlide" Target="../notesSlides/notesSlide32.xml"/><Relationship Id="rId7" Type="http://schemas.openxmlformats.org/officeDocument/2006/relationships/image" Target="../media/image100.jpg"/><Relationship Id="rId12" Type="http://schemas.openxmlformats.org/officeDocument/2006/relationships/image" Target="../media/image105.png"/><Relationship Id="rId2" Type="http://schemas.openxmlformats.org/officeDocument/2006/relationships/slideLayout" Target="../slideLayouts/slideLayout41.xml"/><Relationship Id="rId1" Type="http://schemas.openxmlformats.org/officeDocument/2006/relationships/tags" Target="../tags/tag121.xml"/><Relationship Id="rId6" Type="http://schemas.openxmlformats.org/officeDocument/2006/relationships/image" Target="../media/image18.png"/><Relationship Id="rId11" Type="http://schemas.openxmlformats.org/officeDocument/2006/relationships/image" Target="../media/image104.svg"/><Relationship Id="rId5" Type="http://schemas.openxmlformats.org/officeDocument/2006/relationships/image" Target="../media/image7.emf"/><Relationship Id="rId15" Type="http://schemas.openxmlformats.org/officeDocument/2006/relationships/image" Target="../media/image108.svg"/><Relationship Id="rId10" Type="http://schemas.openxmlformats.org/officeDocument/2006/relationships/image" Target="../media/image103.png"/><Relationship Id="rId4" Type="http://schemas.openxmlformats.org/officeDocument/2006/relationships/oleObject" Target="../embeddings/oleObject79.bin"/><Relationship Id="rId9" Type="http://schemas.openxmlformats.org/officeDocument/2006/relationships/image" Target="../media/image102.svg"/><Relationship Id="rId14" Type="http://schemas.openxmlformats.org/officeDocument/2006/relationships/image" Target="../media/image107.png"/></Relationships>
</file>

<file path=ppt/slides/_rels/slide38.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6.svg"/><Relationship Id="rId18" Type="http://schemas.openxmlformats.org/officeDocument/2006/relationships/image" Target="../media/image113.svg"/><Relationship Id="rId3" Type="http://schemas.openxmlformats.org/officeDocument/2006/relationships/notesSlide" Target="../notesSlides/notesSlide33.xml"/><Relationship Id="rId7" Type="http://schemas.openxmlformats.org/officeDocument/2006/relationships/image" Target="../media/image40.png"/><Relationship Id="rId12" Type="http://schemas.openxmlformats.org/officeDocument/2006/relationships/image" Target="../media/image105.png"/><Relationship Id="rId17" Type="http://schemas.openxmlformats.org/officeDocument/2006/relationships/image" Target="../media/image112.png"/><Relationship Id="rId2" Type="http://schemas.openxmlformats.org/officeDocument/2006/relationships/slideLayout" Target="../slideLayouts/slideLayout41.xml"/><Relationship Id="rId16" Type="http://schemas.openxmlformats.org/officeDocument/2006/relationships/image" Target="../media/image111.jpeg"/><Relationship Id="rId1" Type="http://schemas.openxmlformats.org/officeDocument/2006/relationships/tags" Target="../tags/tag122.xml"/><Relationship Id="rId6" Type="http://schemas.openxmlformats.org/officeDocument/2006/relationships/image" Target="../media/image18.png"/><Relationship Id="rId11" Type="http://schemas.openxmlformats.org/officeDocument/2006/relationships/image" Target="../media/image110.jpeg"/><Relationship Id="rId5" Type="http://schemas.openxmlformats.org/officeDocument/2006/relationships/image" Target="../media/image7.emf"/><Relationship Id="rId15" Type="http://schemas.openxmlformats.org/officeDocument/2006/relationships/image" Target="../media/image102.svg"/><Relationship Id="rId10" Type="http://schemas.openxmlformats.org/officeDocument/2006/relationships/image" Target="../media/image109.jpeg"/><Relationship Id="rId19" Type="http://schemas.openxmlformats.org/officeDocument/2006/relationships/image" Target="../media/image114.jpeg"/><Relationship Id="rId4" Type="http://schemas.openxmlformats.org/officeDocument/2006/relationships/oleObject" Target="../embeddings/oleObject80.bin"/><Relationship Id="rId9" Type="http://schemas.openxmlformats.org/officeDocument/2006/relationships/image" Target="../media/image104.svg"/><Relationship Id="rId14" Type="http://schemas.openxmlformats.org/officeDocument/2006/relationships/image" Target="../media/image101.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40.png"/><Relationship Id="rId2" Type="http://schemas.openxmlformats.org/officeDocument/2006/relationships/slideLayout" Target="../slideLayouts/slideLayout41.xml"/><Relationship Id="rId1" Type="http://schemas.openxmlformats.org/officeDocument/2006/relationships/tags" Target="../tags/tag123.xml"/><Relationship Id="rId6" Type="http://schemas.openxmlformats.org/officeDocument/2006/relationships/image" Target="../media/image18.png"/><Relationship Id="rId5" Type="http://schemas.openxmlformats.org/officeDocument/2006/relationships/image" Target="../media/image7.emf"/><Relationship Id="rId4" Type="http://schemas.openxmlformats.org/officeDocument/2006/relationships/oleObject" Target="../embeddings/oleObject81.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6.png"/><Relationship Id="rId3" Type="http://schemas.openxmlformats.org/officeDocument/2006/relationships/oleObject" Target="../embeddings/oleObject46.bin"/><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slideLayout" Target="../slideLayouts/slideLayout2.xml"/><Relationship Id="rId1" Type="http://schemas.openxmlformats.org/officeDocument/2006/relationships/tags" Target="../tags/tag78.xml"/><Relationship Id="rId6" Type="http://schemas.microsoft.com/office/2007/relationships/hdphoto" Target="../media/hdphoto1.wdp"/><Relationship Id="rId11" Type="http://schemas.openxmlformats.org/officeDocument/2006/relationships/image" Target="../media/image13.png"/><Relationship Id="rId5" Type="http://schemas.openxmlformats.org/officeDocument/2006/relationships/image" Target="../media/image8.png"/><Relationship Id="rId10" Type="http://schemas.openxmlformats.org/officeDocument/2006/relationships/image" Target="../media/image12.png"/><Relationship Id="rId4" Type="http://schemas.openxmlformats.org/officeDocument/2006/relationships/image" Target="../media/image7.emf"/><Relationship Id="rId9" Type="http://schemas.openxmlformats.org/officeDocument/2006/relationships/image" Target="../media/image11.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2.xml"/><Relationship Id="rId7" Type="http://schemas.microsoft.com/office/2007/relationships/hdphoto" Target="../media/hdphoto1.wdp"/><Relationship Id="rId2" Type="http://schemas.openxmlformats.org/officeDocument/2006/relationships/slideLayout" Target="../slideLayouts/slideLayout2.xml"/><Relationship Id="rId1" Type="http://schemas.openxmlformats.org/officeDocument/2006/relationships/tags" Target="../tags/tag79.x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47.bin"/></Relationships>
</file>

<file path=ppt/slides/_rels/slide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oleObject" Target="../embeddings/oleObject48.bin"/><Relationship Id="rId7" Type="http://schemas.openxmlformats.org/officeDocument/2006/relationships/image" Target="../media/image21.png"/><Relationship Id="rId2" Type="http://schemas.openxmlformats.org/officeDocument/2006/relationships/slideLayout" Target="../slideLayouts/slideLayout2.xml"/><Relationship Id="rId1" Type="http://schemas.openxmlformats.org/officeDocument/2006/relationships/tags" Target="../tags/tag80.xml"/><Relationship Id="rId6" Type="http://schemas.microsoft.com/office/2007/relationships/hdphoto" Target="../media/hdphoto1.wdp"/><Relationship Id="rId5" Type="http://schemas.openxmlformats.org/officeDocument/2006/relationships/image" Target="../media/image8.png"/><Relationship Id="rId10" Type="http://schemas.openxmlformats.org/officeDocument/2006/relationships/image" Target="../media/image23.png"/><Relationship Id="rId4" Type="http://schemas.openxmlformats.org/officeDocument/2006/relationships/image" Target="../media/image7.emf"/><Relationship Id="rId9" Type="http://schemas.openxmlformats.org/officeDocument/2006/relationships/image" Target="../media/image1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9.xml"/><Relationship Id="rId1" Type="http://schemas.openxmlformats.org/officeDocument/2006/relationships/tags" Target="../tags/tag81.xml"/><Relationship Id="rId5" Type="http://schemas.openxmlformats.org/officeDocument/2006/relationships/image" Target="../media/image7.emf"/><Relationship Id="rId4" Type="http://schemas.openxmlformats.org/officeDocument/2006/relationships/oleObject" Target="../embeddings/oleObject49.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8.xml"/><Relationship Id="rId1" Type="http://schemas.openxmlformats.org/officeDocument/2006/relationships/tags" Target="../tags/tag82.xml"/><Relationship Id="rId5" Type="http://schemas.openxmlformats.org/officeDocument/2006/relationships/image" Target="../media/image7.emf"/><Relationship Id="rId4" Type="http://schemas.openxmlformats.org/officeDocument/2006/relationships/oleObject" Target="../embeddings/oleObject50.bin"/></Relationships>
</file>

<file path=ppt/slides/_rels/slide9.xml.rels><?xml version="1.0" encoding="UTF-8" standalone="yes"?>
<Relationships xmlns="http://schemas.openxmlformats.org/package/2006/relationships"><Relationship Id="rId8" Type="http://schemas.openxmlformats.org/officeDocument/2006/relationships/slide" Target="slide23.xml"/><Relationship Id="rId13" Type="http://schemas.openxmlformats.org/officeDocument/2006/relationships/image" Target="../media/image27.png"/><Relationship Id="rId3" Type="http://schemas.openxmlformats.org/officeDocument/2006/relationships/notesSlide" Target="../notesSlides/notesSlide5.xml"/><Relationship Id="rId7" Type="http://schemas.openxmlformats.org/officeDocument/2006/relationships/image" Target="../media/image24.png"/><Relationship Id="rId12" Type="http://schemas.openxmlformats.org/officeDocument/2006/relationships/slide" Target="slide30.xml"/><Relationship Id="rId2" Type="http://schemas.openxmlformats.org/officeDocument/2006/relationships/slideLayout" Target="../slideLayouts/slideLayout40.xml"/><Relationship Id="rId1" Type="http://schemas.openxmlformats.org/officeDocument/2006/relationships/tags" Target="../tags/tag83.xml"/><Relationship Id="rId6" Type="http://schemas.openxmlformats.org/officeDocument/2006/relationships/slide" Target="slide12.xml"/><Relationship Id="rId11" Type="http://schemas.openxmlformats.org/officeDocument/2006/relationships/image" Target="../media/image26.png"/><Relationship Id="rId5" Type="http://schemas.openxmlformats.org/officeDocument/2006/relationships/image" Target="../media/image7.emf"/><Relationship Id="rId15" Type="http://schemas.openxmlformats.org/officeDocument/2006/relationships/image" Target="../media/image28.png"/><Relationship Id="rId10" Type="http://schemas.openxmlformats.org/officeDocument/2006/relationships/slide" Target="slide27.xml"/><Relationship Id="rId4" Type="http://schemas.openxmlformats.org/officeDocument/2006/relationships/oleObject" Target="../embeddings/oleObject51.bin"/><Relationship Id="rId9" Type="http://schemas.openxmlformats.org/officeDocument/2006/relationships/image" Target="../media/image25.png"/><Relationship Id="rId14" Type="http://schemas.openxmlformats.org/officeDocument/2006/relationships/hyperlink" Target="http://www.itspublic.nl/materialen"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53"/>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ECAAC64-6B3F-4C79-8643-7753558091BF}"/>
              </a:ext>
            </a:extLst>
          </p:cNvPr>
          <p:cNvGraphicFramePr>
            <a:graphicFrameLocks noChangeAspect="1"/>
          </p:cNvGraphicFramePr>
          <p:nvPr>
            <p:custDataLst>
              <p:tags r:id="rId1"/>
            </p:custDataLst>
            <p:extLst>
              <p:ext uri="{D42A27DB-BD31-4B8C-83A1-F6EECF244321}">
                <p14:modId xmlns:p14="http://schemas.microsoft.com/office/powerpoint/2010/main" val="542440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4" name="Google Shape;454;p1"/>
          <p:cNvSpPr txBox="1">
            <a:spLocks noGrp="1"/>
          </p:cNvSpPr>
          <p:nvPr>
            <p:ph type="body" idx="1"/>
          </p:nvPr>
        </p:nvSpPr>
        <p:spPr>
          <a:xfrm>
            <a:off x="989445" y="4287838"/>
            <a:ext cx="4728967" cy="1752600"/>
          </a:xfrm>
          <a:prstGeom prst="rect">
            <a:avLst/>
          </a:prstGeom>
          <a:noFill/>
          <a:ln>
            <a:noFill/>
          </a:ln>
        </p:spPr>
        <p:txBody>
          <a:bodyPr spcFirstLastPara="1" wrap="square" lIns="0" tIns="0" rIns="0" bIns="0" anchor="t" anchorCtr="0">
            <a:noAutofit/>
          </a:bodyPr>
          <a:lstStyle/>
          <a:p>
            <a:pPr marL="0" lvl="0" indent="0" algn="l">
              <a:lnSpc>
                <a:spcPct val="90000"/>
              </a:lnSpc>
              <a:spcBef>
                <a:spcPts val="0"/>
              </a:spcBef>
              <a:spcAft>
                <a:spcPts val="0"/>
              </a:spcAft>
              <a:buSzPts val="2400"/>
              <a:buNone/>
            </a:pPr>
            <a:r>
              <a:rPr lang="nl-NL" dirty="0">
                <a:sym typeface="Corbel" panose="020B0503020204020204" pitchFamily="34" charset="0"/>
              </a:rPr>
              <a:t>Versie april 2022</a:t>
            </a:r>
          </a:p>
        </p:txBody>
      </p:sp>
      <p:sp>
        <p:nvSpPr>
          <p:cNvPr id="455" name="Google Shape;455;p1"/>
          <p:cNvSpPr txBox="1">
            <a:spLocks noGrp="1"/>
          </p:cNvSpPr>
          <p:nvPr>
            <p:ph type="ctrTitle"/>
          </p:nvPr>
        </p:nvSpPr>
        <p:spPr>
          <a:xfrm>
            <a:off x="989445" y="1758950"/>
            <a:ext cx="4728967" cy="1835150"/>
          </a:xfrm>
          <a:prstGeom prst="rect">
            <a:avLst/>
          </a:prstGeom>
          <a:noFill/>
          <a:ln>
            <a:noFill/>
          </a:ln>
        </p:spPr>
        <p:txBody>
          <a:bodyPr spcFirstLastPara="1" wrap="square" lIns="0" tIns="0" rIns="0" bIns="0" anchor="ctr" anchorCtr="0">
            <a:noAutofit/>
          </a:bodyPr>
          <a:lstStyle/>
          <a:p>
            <a:pPr marL="0" lvl="0" indent="0" algn="l">
              <a:lnSpc>
                <a:spcPct val="90000"/>
              </a:lnSpc>
              <a:spcBef>
                <a:spcPts val="0"/>
              </a:spcBef>
              <a:spcAft>
                <a:spcPts val="0"/>
              </a:spcAft>
              <a:buClr>
                <a:schemeClr val="lt1"/>
              </a:buClr>
              <a:buSzPts val="4000"/>
              <a:buFont typeface="Corbel"/>
              <a:buNone/>
            </a:pPr>
            <a:r>
              <a:rPr lang="nl-NL">
                <a:sym typeface="Corbel" panose="020B0503020204020204" pitchFamily="34" charset="0"/>
              </a:rPr>
              <a:t>LINKEDIN TEMPLATES</a:t>
            </a:r>
            <a:endParaRPr lang="nl-NL" dirty="0">
              <a:sym typeface="Corbel" panose="020B050302020402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5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AC841F-D7D6-420B-924E-18ABFEAB9C28}"/>
              </a:ext>
            </a:extLst>
          </p:cNvPr>
          <p:cNvGraphicFramePr>
            <a:graphicFrameLocks noChangeAspect="1"/>
          </p:cNvGraphicFramePr>
          <p:nvPr>
            <p:custDataLst>
              <p:tags r:id="rId1"/>
            </p:custDataLst>
            <p:extLst>
              <p:ext uri="{D42A27DB-BD31-4B8C-83A1-F6EECF244321}">
                <p14:modId xmlns:p14="http://schemas.microsoft.com/office/powerpoint/2010/main" val="2298832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6"/>
          <p:cNvSpPr txBox="1">
            <a:spLocks noGrp="1"/>
          </p:cNvSpPr>
          <p:nvPr>
            <p:ph type="title"/>
          </p:nvPr>
        </p:nvSpPr>
        <p:spPr>
          <a:xfrm>
            <a:off x="647700" y="266699"/>
            <a:ext cx="10866441" cy="930276"/>
          </a:xfrm>
          <a:prstGeom prst="rect">
            <a:avLst/>
          </a:prstGeom>
          <a:noFill/>
          <a:ln>
            <a:noFill/>
          </a:ln>
        </p:spPr>
        <p:txBody>
          <a:bodyPr spcFirstLastPara="1" wrap="square" lIns="91425" tIns="45700" rIns="91425" bIns="45700" anchor="b" anchorCtr="0">
            <a:noAutofit/>
          </a:bodyPr>
          <a:lstStyle/>
          <a:p>
            <a:pPr marL="0" lvl="0" indent="0" algn="l">
              <a:lnSpc>
                <a:spcPct val="90000"/>
              </a:lnSpc>
              <a:spcBef>
                <a:spcPts val="0"/>
              </a:spcBef>
              <a:spcAft>
                <a:spcPts val="0"/>
              </a:spcAft>
              <a:buClr>
                <a:schemeClr val="dk2"/>
              </a:buClr>
              <a:buSzPts val="2800"/>
              <a:buFont typeface="Corbel"/>
              <a:buNone/>
            </a:pPr>
            <a:r>
              <a:rPr lang="nl-NL" dirty="0">
                <a:sym typeface="Corbel" panose="020B0503020204020204" pitchFamily="34" charset="0"/>
              </a:rPr>
              <a:t>Optie 1: Je kunt templates eenvoudig aanpassen door de huidige foto’s te vervangen en de tekst te veranderen</a:t>
            </a:r>
          </a:p>
        </p:txBody>
      </p:sp>
      <p:sp>
        <p:nvSpPr>
          <p:cNvPr id="508" name="Google Shape;508;p6"/>
          <p:cNvSpPr txBox="1"/>
          <p:nvPr/>
        </p:nvSpPr>
        <p:spPr>
          <a:xfrm>
            <a:off x="647699" y="1296987"/>
            <a:ext cx="2580861" cy="1327719"/>
          </a:xfrm>
          <a:prstGeom prst="rect">
            <a:avLst/>
          </a:prstGeom>
          <a:noFill/>
          <a:ln>
            <a:noFill/>
          </a:ln>
        </p:spPr>
        <p:txBody>
          <a:bodyPr spcFirstLastPara="1" wrap="square" lIns="72000" tIns="72000" rIns="72000" bIns="72000" anchor="ctr" anchorCtr="0">
            <a:noAutofit/>
          </a:bodyPr>
          <a:lstStyle/>
          <a:p>
            <a:pPr marL="0" marR="0" lvl="0" indent="0" algn="l">
              <a:lnSpc>
                <a:spcPct val="90000"/>
              </a:lnSpc>
              <a:spcBef>
                <a:spcPts val="0"/>
              </a:spcBef>
              <a:spcAft>
                <a:spcPts val="0"/>
              </a:spcAft>
              <a:buClr>
                <a:schemeClr val="dk2"/>
              </a:buClr>
              <a:buSzPts val="1400"/>
              <a:buFont typeface="Noto Sans Symbols"/>
              <a:buNone/>
            </a:pPr>
            <a:r>
              <a:rPr lang="nl-NL" sz="1400" b="1" i="0" u="none" strike="noStrike" cap="none" dirty="0">
                <a:solidFill>
                  <a:srgbClr val="000000"/>
                </a:solidFill>
                <a:ea typeface="Corbel"/>
                <a:cs typeface="Corbel"/>
                <a:sym typeface="Corbel" panose="020B0503020204020204" pitchFamily="34" charset="0"/>
              </a:rPr>
              <a:t>Stap 1</a:t>
            </a:r>
            <a:endParaRPr lang="nl-NL" dirty="0">
              <a:sym typeface="Corbel" panose="020B0503020204020204" pitchFamily="34" charset="0"/>
            </a:endParaRPr>
          </a:p>
          <a:p>
            <a:pPr marL="0" marR="0" lvl="0" indent="0" algn="l">
              <a:lnSpc>
                <a:spcPct val="90000"/>
              </a:lnSpc>
              <a:spcBef>
                <a:spcPts val="375"/>
              </a:spcBef>
              <a:spcAft>
                <a:spcPts val="0"/>
              </a:spcAft>
              <a:buClr>
                <a:schemeClr val="dk2"/>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Pas het template aan door de tekst en foto’s te veranderen. De foto’s verander je door rechts op de foto’s te klikken en “change picture” .</a:t>
            </a:r>
            <a:endParaRPr lang="nl-NL" dirty="0">
              <a:sym typeface="Corbel" panose="020B0503020204020204" pitchFamily="34" charset="0"/>
            </a:endParaRPr>
          </a:p>
        </p:txBody>
      </p:sp>
      <p:sp>
        <p:nvSpPr>
          <p:cNvPr id="509" name="Google Shape;509;p6"/>
          <p:cNvSpPr txBox="1"/>
          <p:nvPr/>
        </p:nvSpPr>
        <p:spPr>
          <a:xfrm>
            <a:off x="7792562" y="1357313"/>
            <a:ext cx="2968627" cy="914400"/>
          </a:xfrm>
          <a:prstGeom prst="rect">
            <a:avLst/>
          </a:prstGeom>
          <a:noFill/>
          <a:ln>
            <a:noFill/>
          </a:ln>
        </p:spPr>
        <p:txBody>
          <a:bodyPr spcFirstLastPara="1" wrap="square" lIns="72000" tIns="72000" rIns="72000" bIns="72000" anchor="ctr" anchorCtr="0">
            <a:noAutofit/>
          </a:bodyPr>
          <a:lstStyle/>
          <a:p>
            <a:pPr marL="0" marR="0" lvl="0" indent="0" algn="l">
              <a:lnSpc>
                <a:spcPct val="90000"/>
              </a:lnSpc>
              <a:spcBef>
                <a:spcPts val="0"/>
              </a:spcBef>
              <a:spcAft>
                <a:spcPts val="0"/>
              </a:spcAft>
              <a:buClr>
                <a:schemeClr val="dk2"/>
              </a:buClr>
              <a:buSzPts val="1400"/>
              <a:buFont typeface="Noto Sans Symbols"/>
              <a:buNone/>
            </a:pPr>
            <a:r>
              <a:rPr lang="nl-NL" sz="1400" b="1" i="0" u="none" strike="noStrike" cap="none">
                <a:solidFill>
                  <a:srgbClr val="000000"/>
                </a:solidFill>
                <a:ea typeface="Corbel"/>
                <a:cs typeface="Corbel"/>
                <a:sym typeface="Corbel" panose="020B0503020204020204" pitchFamily="34" charset="0"/>
              </a:rPr>
              <a:t>Stap 3</a:t>
            </a:r>
            <a:endParaRPr lang="nl-NL">
              <a:sym typeface="Corbel" panose="020B0503020204020204" pitchFamily="34" charset="0"/>
            </a:endParaRPr>
          </a:p>
          <a:p>
            <a:pPr marL="0" marR="0" lvl="0" indent="0" algn="l">
              <a:lnSpc>
                <a:spcPct val="90000"/>
              </a:lnSpc>
              <a:spcBef>
                <a:spcPts val="375"/>
              </a:spcBef>
              <a:spcAft>
                <a:spcPts val="0"/>
              </a:spcAft>
              <a:buClr>
                <a:schemeClr val="dk2"/>
              </a:buClr>
              <a:buSzPts val="1400"/>
              <a:buFont typeface="Noto Sans Symbols"/>
              <a:buNone/>
            </a:pPr>
            <a:r>
              <a:rPr lang="nl-NL" sz="1400" b="0" i="0" u="none" strike="noStrike" cap="none">
                <a:solidFill>
                  <a:srgbClr val="000000"/>
                </a:solidFill>
                <a:ea typeface="Corbel"/>
                <a:cs typeface="Corbel"/>
                <a:sym typeface="Corbel" panose="020B0503020204020204" pitchFamily="34" charset="0"/>
              </a:rPr>
              <a:t>Sla </a:t>
            </a:r>
            <a:r>
              <a:rPr lang="nl-NL" sz="1400" b="0" i="0" u="none" strike="noStrike" cap="none" dirty="0">
                <a:solidFill>
                  <a:srgbClr val="000000"/>
                </a:solidFill>
                <a:ea typeface="Corbel"/>
                <a:cs typeface="Corbel"/>
                <a:sym typeface="Corbel" panose="020B0503020204020204" pitchFamily="34" charset="0"/>
              </a:rPr>
              <a:t>je nieuwe post op met behulp van de snipping tool, kopieer de witte rand ook </a:t>
            </a:r>
            <a:r>
              <a:rPr lang="nl-NL" sz="1400" b="0" i="0" u="none" strike="noStrike" cap="none">
                <a:solidFill>
                  <a:srgbClr val="000000"/>
                </a:solidFill>
                <a:ea typeface="Corbel"/>
                <a:cs typeface="Corbel"/>
                <a:sym typeface="Corbel" panose="020B0503020204020204" pitchFamily="34" charset="0"/>
              </a:rPr>
              <a:t>mee.</a:t>
            </a:r>
            <a:endParaRPr lang="nl-NL" dirty="0">
              <a:sym typeface="Corbel" panose="020B0503020204020204" pitchFamily="34" charset="0"/>
            </a:endParaRPr>
          </a:p>
        </p:txBody>
      </p:sp>
      <p:pic>
        <p:nvPicPr>
          <p:cNvPr id="510" name="Google Shape;510;p6"/>
          <p:cNvPicPr preferRelativeResize="0"/>
          <p:nvPr/>
        </p:nvPicPr>
        <p:blipFill rotWithShape="1">
          <a:blip r:embed="rId6">
            <a:alphaModFix/>
            <a:extLst>
              <a:ext uri="{28A0092B-C50C-407E-A947-70E740481C1C}">
                <a14:useLocalDpi xmlns:a14="http://schemas.microsoft.com/office/drawing/2010/main"/>
              </a:ext>
            </a:extLst>
          </a:blip>
          <a:srcRect/>
          <a:stretch/>
        </p:blipFill>
        <p:spPr>
          <a:xfrm>
            <a:off x="663455" y="2793449"/>
            <a:ext cx="2895987" cy="3257986"/>
          </a:xfrm>
          <a:prstGeom prst="rect">
            <a:avLst/>
          </a:prstGeom>
          <a:noFill/>
          <a:ln w="9525" cap="flat" cmpd="sng">
            <a:solidFill>
              <a:schemeClr val="dk1"/>
            </a:solidFill>
            <a:prstDash val="solid"/>
            <a:round/>
            <a:headEnd type="none" w="sm" len="sm"/>
            <a:tailEnd type="none" w="sm" len="sm"/>
          </a:ln>
        </p:spPr>
      </p:pic>
      <p:pic>
        <p:nvPicPr>
          <p:cNvPr id="511" name="Google Shape;511;p6"/>
          <p:cNvPicPr preferRelativeResize="0"/>
          <p:nvPr/>
        </p:nvPicPr>
        <p:blipFill rotWithShape="1">
          <a:blip r:embed="rId7">
            <a:alphaModFix/>
            <a:extLst>
              <a:ext uri="{28A0092B-C50C-407E-A947-70E740481C1C}">
                <a14:useLocalDpi xmlns:a14="http://schemas.microsoft.com/office/drawing/2010/main"/>
              </a:ext>
            </a:extLst>
          </a:blip>
          <a:srcRect/>
          <a:stretch/>
        </p:blipFill>
        <p:spPr>
          <a:xfrm>
            <a:off x="7792562" y="2793449"/>
            <a:ext cx="3751739" cy="2842591"/>
          </a:xfrm>
          <a:prstGeom prst="rect">
            <a:avLst/>
          </a:prstGeom>
          <a:noFill/>
          <a:ln w="9525" cap="flat" cmpd="sng">
            <a:solidFill>
              <a:schemeClr val="dk1"/>
            </a:solidFill>
            <a:prstDash val="solid"/>
            <a:round/>
            <a:headEnd type="none" w="sm" len="sm"/>
            <a:tailEnd type="none" w="sm" len="sm"/>
          </a:ln>
        </p:spPr>
      </p:pic>
      <p:pic>
        <p:nvPicPr>
          <p:cNvPr id="512" name="Google Shape;512;p6"/>
          <p:cNvPicPr preferRelativeResize="0"/>
          <p:nvPr/>
        </p:nvPicPr>
        <p:blipFill rotWithShape="1">
          <a:blip r:embed="rId8" cstate="hqprint">
            <a:alphaModFix/>
            <a:extLst>
              <a:ext uri="{28A0092B-C50C-407E-A947-70E740481C1C}">
                <a14:useLocalDpi xmlns:a14="http://schemas.microsoft.com/office/drawing/2010/main"/>
              </a:ext>
            </a:extLst>
          </a:blip>
          <a:srcRect/>
          <a:stretch/>
        </p:blipFill>
        <p:spPr>
          <a:xfrm>
            <a:off x="3981529" y="2793449"/>
            <a:ext cx="3388946" cy="2177384"/>
          </a:xfrm>
          <a:prstGeom prst="rect">
            <a:avLst/>
          </a:prstGeom>
          <a:noFill/>
          <a:ln>
            <a:noFill/>
          </a:ln>
        </p:spPr>
      </p:pic>
      <p:sp>
        <p:nvSpPr>
          <p:cNvPr id="513" name="Google Shape;513;p6"/>
          <p:cNvSpPr txBox="1"/>
          <p:nvPr/>
        </p:nvSpPr>
        <p:spPr>
          <a:xfrm>
            <a:off x="3981529" y="1366639"/>
            <a:ext cx="2984904" cy="1258068"/>
          </a:xfrm>
          <a:prstGeom prst="rect">
            <a:avLst/>
          </a:prstGeom>
          <a:noFill/>
          <a:ln>
            <a:noFill/>
          </a:ln>
        </p:spPr>
        <p:txBody>
          <a:bodyPr spcFirstLastPara="1" wrap="square" lIns="72000" tIns="72000" rIns="72000" bIns="72000" anchor="t" anchorCtr="0">
            <a:noAutofit/>
          </a:bodyPr>
          <a:lstStyle/>
          <a:p>
            <a:pPr marL="0" marR="0" lvl="0" indent="0" algn="l">
              <a:lnSpc>
                <a:spcPct val="90000"/>
              </a:lnSpc>
              <a:spcBef>
                <a:spcPts val="0"/>
              </a:spcBef>
              <a:spcAft>
                <a:spcPts val="0"/>
              </a:spcAft>
              <a:buClr>
                <a:schemeClr val="dk2"/>
              </a:buClr>
              <a:buSzPts val="1400"/>
              <a:buFont typeface="Noto Sans Symbols"/>
              <a:buNone/>
            </a:pPr>
            <a:r>
              <a:rPr lang="nl-NL" sz="1400" b="1" i="0" u="none" strike="noStrike" cap="none">
                <a:solidFill>
                  <a:srgbClr val="000000"/>
                </a:solidFill>
                <a:ea typeface="Corbel"/>
                <a:cs typeface="Corbel"/>
                <a:sym typeface="Corbel" panose="020B0503020204020204" pitchFamily="34" charset="0"/>
              </a:rPr>
              <a:t>Stap 2</a:t>
            </a:r>
            <a:endParaRPr lang="nl-NL">
              <a:sym typeface="Corbel" panose="020B0503020204020204" pitchFamily="34" charset="0"/>
            </a:endParaRPr>
          </a:p>
          <a:p>
            <a:pPr marL="0" marR="0" lvl="0" indent="0" algn="l">
              <a:lnSpc>
                <a:spcPct val="90000"/>
              </a:lnSpc>
              <a:spcBef>
                <a:spcPts val="375"/>
              </a:spcBef>
              <a:spcAft>
                <a:spcPts val="0"/>
              </a:spcAft>
              <a:buClr>
                <a:schemeClr val="dk2"/>
              </a:buClr>
              <a:buSzPts val="1400"/>
              <a:buFont typeface="Noto Sans Symbols"/>
              <a:buNone/>
            </a:pPr>
            <a:r>
              <a:rPr lang="nl-NL" sz="1400" b="0" i="0" u="none" strike="noStrike" cap="none">
                <a:solidFill>
                  <a:srgbClr val="000000"/>
                </a:solidFill>
                <a:ea typeface="Corbel"/>
                <a:cs typeface="Corbel"/>
                <a:sym typeface="Corbel" panose="020B0503020204020204" pitchFamily="34" charset="0"/>
              </a:rPr>
              <a:t>Zorg </a:t>
            </a:r>
            <a:r>
              <a:rPr lang="nl-NL" sz="1400" b="0" i="0" u="none" strike="noStrike" cap="none" dirty="0">
                <a:solidFill>
                  <a:srgbClr val="000000"/>
                </a:solidFill>
                <a:ea typeface="Corbel"/>
                <a:cs typeface="Corbel"/>
                <a:sym typeface="Corbel" panose="020B0503020204020204" pitchFamily="34" charset="0"/>
              </a:rPr>
              <a:t>ervoor dat het juiste gedeelte van de foto te zien is door naar </a:t>
            </a:r>
            <a:r>
              <a:rPr lang="nl-NL" sz="1400" b="0" i="0" u="none" strike="noStrike" cap="none">
                <a:solidFill>
                  <a:srgbClr val="000000"/>
                </a:solidFill>
                <a:ea typeface="Corbel"/>
                <a:cs typeface="Corbel"/>
                <a:sym typeface="Corbel" panose="020B0503020204020204" pitchFamily="34" charset="0"/>
              </a:rPr>
              <a:t>Shape </a:t>
            </a:r>
            <a:endParaRPr lang="nl-NL">
              <a:sym typeface="Corbel" panose="020B0503020204020204" pitchFamily="34" charset="0"/>
            </a:endParaRPr>
          </a:p>
          <a:p>
            <a:pPr marL="0" marR="0" lvl="0" indent="0" algn="l">
              <a:lnSpc>
                <a:spcPct val="90000"/>
              </a:lnSpc>
              <a:spcBef>
                <a:spcPts val="375"/>
              </a:spcBef>
              <a:spcAft>
                <a:spcPts val="0"/>
              </a:spcAft>
              <a:buClr>
                <a:schemeClr val="dk2"/>
              </a:buClr>
              <a:buSzPts val="1400"/>
              <a:buFont typeface="Noto Sans Symbols"/>
              <a:buNone/>
            </a:pPr>
            <a:r>
              <a:rPr lang="nl-NL" sz="1400" b="0" i="0" u="none" strike="noStrike" cap="none">
                <a:solidFill>
                  <a:srgbClr val="000000"/>
                </a:solidFill>
                <a:ea typeface="Corbel"/>
                <a:cs typeface="Corbel"/>
                <a:sym typeface="Corbel" panose="020B0503020204020204" pitchFamily="34" charset="0"/>
              </a:rPr>
              <a:t>format </a:t>
            </a:r>
            <a:r>
              <a:rPr lang="nl-NL" sz="1400" b="0" i="0" u="none" strike="noStrike" cap="none" dirty="0">
                <a:solidFill>
                  <a:srgbClr val="000000"/>
                </a:solidFill>
                <a:ea typeface="Corbel"/>
                <a:cs typeface="Corbel"/>
                <a:sym typeface="Corbel" panose="020B0503020204020204" pitchFamily="34" charset="0"/>
              </a:rPr>
              <a:t>-&gt; Crop te </a:t>
            </a:r>
            <a:r>
              <a:rPr lang="nl-NL" sz="1400" b="0" i="0" u="none" strike="noStrike" cap="none">
                <a:solidFill>
                  <a:srgbClr val="000000"/>
                </a:solidFill>
                <a:ea typeface="Corbel"/>
                <a:cs typeface="Corbel"/>
                <a:sym typeface="Corbel" panose="020B0503020204020204" pitchFamily="34" charset="0"/>
              </a:rPr>
              <a:t>gaan.</a:t>
            </a:r>
            <a:endParaRPr lang="nl-NL" dirty="0">
              <a:sym typeface="Corbel" panose="020B0503020204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06"/>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AC841F-D7D6-420B-924E-18ABFEAB9C28}"/>
              </a:ext>
            </a:extLst>
          </p:cNvPr>
          <p:cNvGraphicFramePr>
            <a:graphicFrameLocks noChangeAspect="1"/>
          </p:cNvGraphicFramePr>
          <p:nvPr>
            <p:custDataLst>
              <p:tags r:id="rId1"/>
            </p:custDataLst>
            <p:extLst>
              <p:ext uri="{D42A27DB-BD31-4B8C-83A1-F6EECF244321}">
                <p14:modId xmlns:p14="http://schemas.microsoft.com/office/powerpoint/2010/main" val="1838895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8AAC841F-D7D6-420B-924E-18ABFEAB9C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07" name="Google Shape;507;p6"/>
          <p:cNvSpPr txBox="1">
            <a:spLocks noGrp="1"/>
          </p:cNvSpPr>
          <p:nvPr>
            <p:ph type="title"/>
          </p:nvPr>
        </p:nvSpPr>
        <p:spPr>
          <a:xfrm>
            <a:off x="647700" y="266699"/>
            <a:ext cx="10866441" cy="930276"/>
          </a:xfrm>
          <a:prstGeom prst="rect">
            <a:avLst/>
          </a:prstGeom>
          <a:noFill/>
          <a:ln>
            <a:noFill/>
          </a:ln>
        </p:spPr>
        <p:txBody>
          <a:bodyPr spcFirstLastPara="1" wrap="square" lIns="91425" tIns="45700" rIns="91425" bIns="45700" anchor="b" anchorCtr="0">
            <a:noAutofit/>
          </a:bodyPr>
          <a:lstStyle/>
          <a:p>
            <a:pPr marL="0" lvl="0" indent="0" algn="l">
              <a:lnSpc>
                <a:spcPct val="90000"/>
              </a:lnSpc>
              <a:spcBef>
                <a:spcPts val="0"/>
              </a:spcBef>
              <a:spcAft>
                <a:spcPts val="0"/>
              </a:spcAft>
              <a:buClr>
                <a:schemeClr val="dk2"/>
              </a:buClr>
              <a:buSzPts val="2800"/>
              <a:buFont typeface="Corbel"/>
              <a:buNone/>
            </a:pPr>
            <a:r>
              <a:rPr lang="nl-NL" dirty="0">
                <a:sym typeface="Corbel" panose="020B0503020204020204" pitchFamily="34" charset="0"/>
              </a:rPr>
              <a:t>Optie 2: Je kunt zelf eenvoudig visualisaties bij </a:t>
            </a:r>
            <a:r>
              <a:rPr lang="nl-NL" dirty="0" err="1">
                <a:sym typeface="Corbel" panose="020B0503020204020204" pitchFamily="34" charset="0"/>
              </a:rPr>
              <a:t>posts</a:t>
            </a:r>
            <a:r>
              <a:rPr lang="nl-NL" dirty="0">
                <a:sym typeface="Corbel" panose="020B0503020204020204" pitchFamily="34" charset="0"/>
              </a:rPr>
              <a:t> maken door binnen het gele vlak te werken</a:t>
            </a:r>
          </a:p>
        </p:txBody>
      </p:sp>
      <p:sp>
        <p:nvSpPr>
          <p:cNvPr id="508" name="Google Shape;508;p6"/>
          <p:cNvSpPr txBox="1"/>
          <p:nvPr/>
        </p:nvSpPr>
        <p:spPr>
          <a:xfrm>
            <a:off x="647699" y="1601787"/>
            <a:ext cx="2580861" cy="1491933"/>
          </a:xfrm>
          <a:prstGeom prst="rect">
            <a:avLst/>
          </a:prstGeom>
          <a:noFill/>
          <a:ln>
            <a:noFill/>
          </a:ln>
        </p:spPr>
        <p:txBody>
          <a:bodyPr spcFirstLastPara="1" wrap="square" lIns="72000" tIns="72000" rIns="72000" bIns="72000" anchor="ctr" anchorCtr="0">
            <a:noAutofit/>
          </a:bodyPr>
          <a:lstStyle/>
          <a:p>
            <a:pPr marL="0" marR="0" lvl="0" indent="0" algn="l">
              <a:lnSpc>
                <a:spcPct val="90000"/>
              </a:lnSpc>
              <a:spcBef>
                <a:spcPts val="0"/>
              </a:spcBef>
              <a:spcAft>
                <a:spcPts val="0"/>
              </a:spcAft>
              <a:buClr>
                <a:schemeClr val="dk2"/>
              </a:buClr>
              <a:buSzPts val="1400"/>
              <a:buFont typeface="Noto Sans Symbols"/>
              <a:buNone/>
            </a:pPr>
            <a:r>
              <a:rPr lang="nl-NL" sz="1400" b="1" i="0" u="none" strike="noStrike" cap="none" dirty="0">
                <a:solidFill>
                  <a:srgbClr val="000000"/>
                </a:solidFill>
                <a:ea typeface="Corbel"/>
                <a:cs typeface="Corbel"/>
                <a:sym typeface="Corbel" panose="020B0503020204020204" pitchFamily="34" charset="0"/>
              </a:rPr>
              <a:t>Stap 1</a:t>
            </a:r>
            <a:endParaRPr lang="nl-NL" dirty="0">
              <a:sym typeface="Corbel" panose="020B0503020204020204" pitchFamily="34" charset="0"/>
            </a:endParaRPr>
          </a:p>
          <a:p>
            <a:pPr marL="0" marR="0" lvl="0" indent="0" algn="l">
              <a:lnSpc>
                <a:spcPct val="90000"/>
              </a:lnSpc>
              <a:spcBef>
                <a:spcPts val="375"/>
              </a:spcBef>
              <a:spcAft>
                <a:spcPts val="0"/>
              </a:spcAft>
              <a:buClr>
                <a:schemeClr val="dk2"/>
              </a:buClr>
              <a:buSzPts val="1400"/>
              <a:buFont typeface="Noto Sans Symbols"/>
              <a:buNone/>
            </a:pPr>
            <a:r>
              <a:rPr lang="nl-NL" dirty="0">
                <a:sym typeface="Corbel" panose="020B0503020204020204" pitchFamily="34" charset="0"/>
              </a:rPr>
              <a:t>Dupliceer de slide met het lege gele kader en maak de slide op binnen het kader. Maak hierbij zo veel mogelijk gebruik van(lay-outs van) eerdere </a:t>
            </a:r>
            <a:r>
              <a:rPr lang="nl-NL" dirty="0" err="1">
                <a:sym typeface="Corbel" panose="020B0503020204020204" pitchFamily="34" charset="0"/>
              </a:rPr>
              <a:t>posts</a:t>
            </a:r>
            <a:r>
              <a:rPr lang="nl-NL" dirty="0">
                <a:sym typeface="Corbel" panose="020B0503020204020204" pitchFamily="34" charset="0"/>
              </a:rPr>
              <a:t>.</a:t>
            </a:r>
          </a:p>
        </p:txBody>
      </p:sp>
      <p:sp>
        <p:nvSpPr>
          <p:cNvPr id="509" name="Google Shape;509;p6"/>
          <p:cNvSpPr txBox="1"/>
          <p:nvPr/>
        </p:nvSpPr>
        <p:spPr>
          <a:xfrm>
            <a:off x="7792562" y="1662112"/>
            <a:ext cx="3020847" cy="1149667"/>
          </a:xfrm>
          <a:prstGeom prst="rect">
            <a:avLst/>
          </a:prstGeom>
          <a:noFill/>
          <a:ln>
            <a:noFill/>
          </a:ln>
        </p:spPr>
        <p:txBody>
          <a:bodyPr spcFirstLastPara="1" wrap="square" lIns="72000" tIns="72000" rIns="72000" bIns="72000" anchor="ctr" anchorCtr="0">
            <a:noAutofit/>
          </a:bodyPr>
          <a:lstStyle/>
          <a:p>
            <a:pPr marL="0" marR="0" lvl="0" indent="0" algn="l">
              <a:lnSpc>
                <a:spcPct val="90000"/>
              </a:lnSpc>
              <a:spcBef>
                <a:spcPts val="0"/>
              </a:spcBef>
              <a:spcAft>
                <a:spcPts val="0"/>
              </a:spcAft>
              <a:buClr>
                <a:schemeClr val="dk2"/>
              </a:buClr>
              <a:buSzPts val="1400"/>
              <a:buFont typeface="Noto Sans Symbols"/>
              <a:buNone/>
            </a:pPr>
            <a:r>
              <a:rPr lang="nl-NL" sz="1400" b="1" i="0" u="none" strike="noStrike" cap="none" dirty="0">
                <a:solidFill>
                  <a:srgbClr val="000000"/>
                </a:solidFill>
                <a:ea typeface="Corbel"/>
                <a:cs typeface="Corbel"/>
                <a:sym typeface="Corbel" panose="020B0503020204020204" pitchFamily="34" charset="0"/>
              </a:rPr>
              <a:t>Stap 3</a:t>
            </a:r>
            <a:endParaRPr lang="nl-NL" dirty="0">
              <a:sym typeface="Corbel" panose="020B0503020204020204" pitchFamily="34" charset="0"/>
            </a:endParaRPr>
          </a:p>
          <a:p>
            <a:pPr marL="0" marR="0" lvl="0" indent="0" algn="l">
              <a:lnSpc>
                <a:spcPct val="90000"/>
              </a:lnSpc>
              <a:spcBef>
                <a:spcPts val="375"/>
              </a:spcBef>
              <a:spcAft>
                <a:spcPts val="0"/>
              </a:spcAft>
              <a:buClr>
                <a:schemeClr val="dk2"/>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Sla </a:t>
            </a:r>
            <a:r>
              <a:rPr lang="nl-NL" dirty="0">
                <a:ea typeface="Corbel"/>
                <a:cs typeface="Corbel"/>
                <a:sym typeface="Corbel" panose="020B0503020204020204" pitchFamily="34" charset="0"/>
              </a:rPr>
              <a:t>de selectie door als PNG bestand (rechtermuisknop -&gt; Save as a Picture). Het bestand heeft nu de goede afmeting (1200 x 627)</a:t>
            </a:r>
            <a:endParaRPr lang="nl-NL" dirty="0">
              <a:sym typeface="Corbel" panose="020B0503020204020204" pitchFamily="34" charset="0"/>
            </a:endParaRPr>
          </a:p>
        </p:txBody>
      </p:sp>
      <p:sp>
        <p:nvSpPr>
          <p:cNvPr id="513" name="Google Shape;513;p6"/>
          <p:cNvSpPr txBox="1"/>
          <p:nvPr/>
        </p:nvSpPr>
        <p:spPr>
          <a:xfrm>
            <a:off x="3981529" y="1671439"/>
            <a:ext cx="2984904" cy="1514674"/>
          </a:xfrm>
          <a:prstGeom prst="rect">
            <a:avLst/>
          </a:prstGeom>
          <a:noFill/>
          <a:ln>
            <a:noFill/>
          </a:ln>
        </p:spPr>
        <p:txBody>
          <a:bodyPr spcFirstLastPara="1" wrap="square" lIns="72000" tIns="72000" rIns="72000" bIns="72000" anchor="t" anchorCtr="0">
            <a:noAutofit/>
          </a:bodyPr>
          <a:lstStyle/>
          <a:p>
            <a:pPr marL="0" marR="0" lvl="0" indent="0" algn="l">
              <a:lnSpc>
                <a:spcPct val="90000"/>
              </a:lnSpc>
              <a:spcBef>
                <a:spcPts val="0"/>
              </a:spcBef>
              <a:spcAft>
                <a:spcPts val="0"/>
              </a:spcAft>
              <a:buClr>
                <a:schemeClr val="dk2"/>
              </a:buClr>
              <a:buSzPts val="1400"/>
              <a:buFont typeface="Noto Sans Symbols"/>
              <a:buNone/>
            </a:pPr>
            <a:r>
              <a:rPr lang="nl-NL" sz="1400" b="1" i="0" u="none" strike="noStrike" cap="none" dirty="0">
                <a:solidFill>
                  <a:srgbClr val="000000"/>
                </a:solidFill>
                <a:ea typeface="Corbel"/>
                <a:cs typeface="Corbel"/>
                <a:sym typeface="Corbel" panose="020B0503020204020204" pitchFamily="34" charset="0"/>
              </a:rPr>
              <a:t>Stap 2</a:t>
            </a:r>
            <a:endParaRPr lang="nl-NL" dirty="0">
              <a:sym typeface="Corbel" panose="020B0503020204020204" pitchFamily="34" charset="0"/>
            </a:endParaRPr>
          </a:p>
          <a:p>
            <a:pPr marL="0" marR="0" lvl="0" indent="0" algn="l">
              <a:lnSpc>
                <a:spcPct val="90000"/>
              </a:lnSpc>
              <a:spcBef>
                <a:spcPts val="375"/>
              </a:spcBef>
              <a:spcAft>
                <a:spcPts val="0"/>
              </a:spcAft>
              <a:buClr>
                <a:schemeClr val="dk2"/>
              </a:buClr>
              <a:buSzPts val="1400"/>
              <a:buFont typeface="Noto Sans Symbols"/>
              <a:buNone/>
            </a:pPr>
            <a:r>
              <a:rPr lang="nl-NL" dirty="0">
                <a:sym typeface="Corbel" panose="020B0503020204020204" pitchFamily="34" charset="0"/>
              </a:rPr>
              <a:t>Selecteer alle elementen binnen (en inclusief) het figuur. Doe dit door de cursor over het hele vlak te slepen.</a:t>
            </a:r>
          </a:p>
        </p:txBody>
      </p:sp>
      <p:pic>
        <p:nvPicPr>
          <p:cNvPr id="4" name="Picture 3">
            <a:extLst>
              <a:ext uri="{FF2B5EF4-FFF2-40B4-BE49-F238E27FC236}">
                <a16:creationId xmlns:a16="http://schemas.microsoft.com/office/drawing/2014/main" id="{CA1046CB-E5F6-3121-0E13-2266AD4FBDBE}"/>
              </a:ext>
            </a:extLst>
          </p:cNvPr>
          <p:cNvPicPr>
            <a:picLocks noChangeAspect="1"/>
          </p:cNvPicPr>
          <p:nvPr/>
        </p:nvPicPr>
        <p:blipFill>
          <a:blip r:embed="rId6"/>
          <a:stretch>
            <a:fillRect/>
          </a:stretch>
        </p:blipFill>
        <p:spPr>
          <a:xfrm>
            <a:off x="658813" y="3186113"/>
            <a:ext cx="2554817" cy="1738312"/>
          </a:xfrm>
          <a:prstGeom prst="rect">
            <a:avLst/>
          </a:prstGeom>
        </p:spPr>
      </p:pic>
      <p:pic>
        <p:nvPicPr>
          <p:cNvPr id="6" name="Picture 5">
            <a:extLst>
              <a:ext uri="{FF2B5EF4-FFF2-40B4-BE49-F238E27FC236}">
                <a16:creationId xmlns:a16="http://schemas.microsoft.com/office/drawing/2014/main" id="{860EABB0-F657-7615-B300-6FF890C3DFC8}"/>
              </a:ext>
            </a:extLst>
          </p:cNvPr>
          <p:cNvPicPr>
            <a:picLocks noChangeAspect="1"/>
          </p:cNvPicPr>
          <p:nvPr/>
        </p:nvPicPr>
        <p:blipFill>
          <a:blip r:embed="rId7"/>
          <a:stretch>
            <a:fillRect/>
          </a:stretch>
        </p:blipFill>
        <p:spPr>
          <a:xfrm>
            <a:off x="4055745" y="3186113"/>
            <a:ext cx="2992756" cy="1738312"/>
          </a:xfrm>
          <a:prstGeom prst="rect">
            <a:avLst/>
          </a:prstGeom>
        </p:spPr>
      </p:pic>
      <p:pic>
        <p:nvPicPr>
          <p:cNvPr id="8" name="Picture 7">
            <a:extLst>
              <a:ext uri="{FF2B5EF4-FFF2-40B4-BE49-F238E27FC236}">
                <a16:creationId xmlns:a16="http://schemas.microsoft.com/office/drawing/2014/main" id="{579061C4-DF42-7308-58EF-B201085FDCA3}"/>
              </a:ext>
            </a:extLst>
          </p:cNvPr>
          <p:cNvPicPr>
            <a:picLocks noChangeAspect="1"/>
          </p:cNvPicPr>
          <p:nvPr/>
        </p:nvPicPr>
        <p:blipFill>
          <a:blip r:embed="rId8"/>
          <a:stretch>
            <a:fillRect/>
          </a:stretch>
        </p:blipFill>
        <p:spPr>
          <a:xfrm>
            <a:off x="7854791" y="3186113"/>
            <a:ext cx="2851309" cy="1912803"/>
          </a:xfrm>
          <a:prstGeom prst="rect">
            <a:avLst/>
          </a:prstGeom>
        </p:spPr>
      </p:pic>
    </p:spTree>
    <p:extLst>
      <p:ext uri="{BB962C8B-B14F-4D97-AF65-F5344CB8AC3E}">
        <p14:creationId xmlns:p14="http://schemas.microsoft.com/office/powerpoint/2010/main" val="36322570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0802A4-28CF-4CD0-BDAF-092CC7C15CDC}"/>
              </a:ext>
            </a:extLst>
          </p:cNvPr>
          <p:cNvGraphicFramePr>
            <a:graphicFrameLocks noChangeAspect="1"/>
          </p:cNvGraphicFramePr>
          <p:nvPr>
            <p:custDataLst>
              <p:tags r:id="rId1"/>
            </p:custDataLst>
            <p:extLst>
              <p:ext uri="{D42A27DB-BD31-4B8C-83A1-F6EECF244321}">
                <p14:modId xmlns:p14="http://schemas.microsoft.com/office/powerpoint/2010/main" val="3901838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3" name="Google Shape;533;p8"/>
          <p:cNvSpPr txBox="1">
            <a:spLocks noGrp="1"/>
          </p:cNvSpPr>
          <p:nvPr>
            <p:ph type="ftr" idx="4294967295"/>
          </p:nvPr>
        </p:nvSpPr>
        <p:spPr>
          <a:xfrm>
            <a:off x="658813" y="6619875"/>
            <a:ext cx="9753023" cy="163512"/>
          </a:xfrm>
          <a:prstGeom prst="rect">
            <a:avLst/>
          </a:prstGeom>
          <a:noFill/>
          <a:ln>
            <a:noFill/>
          </a:ln>
        </p:spPr>
        <p:txBody>
          <a:bodyPr spcFirstLastPara="1" wrap="square" lIns="91425" tIns="45700" rIns="91425" bIns="45700" anchor="ctr" anchorCtr="0">
            <a:noAutofit/>
          </a:bodyPr>
          <a:lstStyle/>
          <a:p>
            <a:pPr marL="180000" marR="0" lvl="0" indent="-129200" algn="l">
              <a:lnSpc>
                <a:spcPct val="90000"/>
              </a:lnSpc>
              <a:spcBef>
                <a:spcPts val="0"/>
              </a:spcBef>
              <a:spcAft>
                <a:spcPts val="0"/>
              </a:spcAft>
              <a:buClr>
                <a:schemeClr val="dk2"/>
              </a:buClr>
              <a:buSzPts val="800"/>
              <a:buFont typeface="Noto Sans Symbols"/>
              <a:buNone/>
            </a:pPr>
            <a:endParaRPr lang="nl-NL" sz="800" b="0" i="0" u="none" strike="noStrike" cap="none" dirty="0">
              <a:solidFill>
                <a:srgbClr val="000000"/>
              </a:solidFill>
              <a:ea typeface="Corbel"/>
              <a:cs typeface="Corbel"/>
              <a:sym typeface="Corbel" panose="020B0503020204020204" pitchFamily="34" charset="0"/>
            </a:endParaRPr>
          </a:p>
        </p:txBody>
      </p:sp>
      <p:sp>
        <p:nvSpPr>
          <p:cNvPr id="534" name="Google Shape;534;p8"/>
          <p:cNvSpPr txBox="1">
            <a:spLocks noGrp="1"/>
          </p:cNvSpPr>
          <p:nvPr>
            <p:ph type="sldNum" idx="12"/>
          </p:nvPr>
        </p:nvSpPr>
        <p:spPr>
          <a:xfrm>
            <a:off x="10510048" y="6578762"/>
            <a:ext cx="1023140" cy="168275"/>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2</a:t>
            </a:fld>
            <a:endParaRPr lang="nl-NL" dirty="0">
              <a:sym typeface="Corbel" panose="020B0503020204020204" pitchFamily="34" charset="0"/>
            </a:endParaRPr>
          </a:p>
        </p:txBody>
      </p:sp>
      <p:sp>
        <p:nvSpPr>
          <p:cNvPr id="535" name="Google Shape;535;p8"/>
          <p:cNvSpPr txBox="1">
            <a:spLocks noGrp="1"/>
          </p:cNvSpPr>
          <p:nvPr>
            <p:ph type="body" idx="1"/>
          </p:nvPr>
        </p:nvSpPr>
        <p:spPr>
          <a:xfrm>
            <a:off x="658814" y="2019300"/>
            <a:ext cx="10874374" cy="4953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4000"/>
              <a:buNone/>
            </a:pPr>
            <a:r>
              <a:rPr lang="nl-NL">
                <a:sym typeface="Corbel" panose="020B0503020204020204" pitchFamily="34" charset="0"/>
              </a:rPr>
              <a:t>Templates</a:t>
            </a:r>
            <a:endParaRPr lang="nl-NL" dirty="0">
              <a:sym typeface="Corbel" panose="020B0503020204020204" pitchFamily="34" charset="0"/>
            </a:endParaRPr>
          </a:p>
        </p:txBody>
      </p:sp>
      <p:sp>
        <p:nvSpPr>
          <p:cNvPr id="536" name="Google Shape;536;p8"/>
          <p:cNvSpPr txBox="1">
            <a:spLocks noGrp="1"/>
          </p:cNvSpPr>
          <p:nvPr>
            <p:ph type="body" idx="2"/>
          </p:nvPr>
        </p:nvSpPr>
        <p:spPr>
          <a:xfrm>
            <a:off x="658813" y="2514600"/>
            <a:ext cx="10874374" cy="9144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5400"/>
              <a:buNone/>
            </a:pPr>
            <a:r>
              <a:rPr lang="nl-NL" dirty="0">
                <a:sym typeface="Corbel" panose="020B0503020204020204" pitchFamily="34" charset="0"/>
              </a:rPr>
              <a:t>1. Post voor publicatie – met foto &amp; statement</a:t>
            </a:r>
          </a:p>
        </p:txBody>
      </p:sp>
    </p:spTree>
    <p:extLst>
      <p:ext uri="{BB962C8B-B14F-4D97-AF65-F5344CB8AC3E}">
        <p14:creationId xmlns:p14="http://schemas.microsoft.com/office/powerpoint/2010/main" val="150511515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594274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1501007" y="732526"/>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sp>
        <p:nvSpPr>
          <p:cNvPr id="542" name="Google Shape;542;p9"/>
          <p:cNvSpPr/>
          <p:nvPr/>
        </p:nvSpPr>
        <p:spPr>
          <a:xfrm>
            <a:off x="2349230"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chemeClr val="accent1"/>
              </a:gs>
              <a:gs pos="100000">
                <a:schemeClr val="accent4">
                  <a:lumMod val="20000"/>
                  <a:lumOff val="80000"/>
                </a:schemeClr>
              </a:gs>
            </a:gsLst>
            <a:path path="circle">
              <a:fillToRect l="50000" t="50000" r="50000" b="50000"/>
            </a:path>
            <a:tileRect/>
          </a:gradFill>
          <a:ln w="114300" cap="flat" cmpd="sng">
            <a:noFill/>
            <a:prstDash val="solid"/>
            <a:round/>
            <a:headEnd type="none" w="sm" len="sm"/>
            <a:tailEnd type="none" w="sm" len="sm"/>
          </a:ln>
          <a:extLst>
            <a:ext uri="{91240B29-F687-4F45-9708-019B960494DF}">
              <a14:hiddenLine xmlns:a14="http://schemas.microsoft.com/office/drawing/2010/main" w="114300" cap="flat" cmpd="sng">
                <a:solidFill>
                  <a:schemeClr val="lt1"/>
                </a:solidFill>
                <a:prstDash val="solid"/>
                <a:round/>
                <a:headEnd type="none" w="sm" len="sm"/>
                <a:tailEnd type="none" w="sm" len="sm"/>
              </a14:hiddenLine>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3</a:t>
            </a:fld>
            <a:endParaRPr lang="nl-NL" dirty="0">
              <a:sym typeface="Corbel" panose="020B0503020204020204" pitchFamily="34" charset="0"/>
            </a:endParaRPr>
          </a:p>
        </p:txBody>
      </p:sp>
      <p:pic>
        <p:nvPicPr>
          <p:cNvPr id="14" name="Picture 13" descr="A picture containing building, outdoor, track, city&#10;&#10;Description automatically generated">
            <a:extLst>
              <a:ext uri="{FF2B5EF4-FFF2-40B4-BE49-F238E27FC236}">
                <a16:creationId xmlns:a16="http://schemas.microsoft.com/office/drawing/2014/main" id="{61B1B884-CFDC-48D8-A87E-6AEB37B9F098}"/>
              </a:ext>
            </a:extLst>
          </p:cNvPr>
          <p:cNvPicPr>
            <a:picLocks noChangeAspect="1"/>
          </p:cNvPicPr>
          <p:nvPr/>
        </p:nvPicPr>
        <p:blipFill>
          <a:blip r:embed="rId6" cstate="hqprint">
            <a:alphaModFix amt="90000"/>
            <a:extLst>
              <a:ext uri="{28A0092B-C50C-407E-A947-70E740481C1C}">
                <a14:useLocalDpi xmlns:a14="http://schemas.microsoft.com/office/drawing/2010/main"/>
              </a:ext>
            </a:extLst>
          </a:blip>
          <a:stretch>
            <a:fillRect/>
          </a:stretch>
        </p:blipFill>
        <p:spPr>
          <a:xfrm>
            <a:off x="2796247" y="2240494"/>
            <a:ext cx="6590130" cy="3420000"/>
          </a:xfrm>
          <a:prstGeom prst="rect">
            <a:avLst/>
          </a:prstGeom>
          <a:ln w="76200">
            <a:solidFill>
              <a:schemeClr val="bg1"/>
            </a:solidFill>
          </a:ln>
        </p:spPr>
      </p:pic>
      <p:sp>
        <p:nvSpPr>
          <p:cNvPr id="16" name="Google Shape;545;p9">
            <a:extLst>
              <a:ext uri="{FF2B5EF4-FFF2-40B4-BE49-F238E27FC236}">
                <a16:creationId xmlns:a16="http://schemas.microsoft.com/office/drawing/2014/main" id="{8CC42EBB-39C7-4CE3-A015-939676939AC8}"/>
              </a:ext>
            </a:extLst>
          </p:cNvPr>
          <p:cNvSpPr/>
          <p:nvPr/>
        </p:nvSpPr>
        <p:spPr>
          <a:xfrm>
            <a:off x="3751312" y="2906254"/>
            <a:ext cx="4680000" cy="2037248"/>
          </a:xfrm>
          <a:prstGeom prst="rect">
            <a:avLst/>
          </a:prstGeom>
          <a:noFill/>
          <a:ln w="38100">
            <a:noFill/>
          </a:ln>
          <a:extLst>
            <a:ext uri="{909E8E84-426E-40DD-AFC4-6F175D3DCCD1}">
              <a14:hiddenFill xmlns:a14="http://schemas.microsoft.com/office/drawing/2010/main">
                <a:solidFill>
                  <a:srgbClr val="95C5C9">
                    <a:alpha val="80000"/>
                  </a:srgbClr>
                </a:solidFill>
              </a14:hiddenFill>
            </a:ext>
            <a:ext uri="{91240B29-F687-4F45-9708-019B960494DF}">
              <a14:hiddenLine xmlns:a14="http://schemas.microsoft.com/office/drawing/2010/main" w="38100">
                <a:solidFill>
                  <a:schemeClr val="bg1"/>
                </a:solidFill>
              </a14:hiddenLine>
            </a:ext>
          </a:extLst>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600" dirty="0">
                <a:solidFill>
                  <a:srgbClr val="FFFFFF"/>
                </a:solidFill>
                <a:ea typeface="Verdana" panose="020B0604030504040204" pitchFamily="34" charset="0"/>
                <a:cs typeface="Arial" panose="020B0604020202020204" pitchFamily="34" charset="0"/>
                <a:sym typeface="Corbel" panose="020B0503020204020204" pitchFamily="34" charset="0"/>
              </a:rPr>
              <a:t>Publieke </a:t>
            </a:r>
            <a:r>
              <a:rPr lang="nl-NL" sz="1600" i="0" u="none" cap="none" dirty="0">
                <a:solidFill>
                  <a:srgbClr val="FFFFFF"/>
                </a:solidFill>
                <a:ea typeface="Verdana" panose="020B0604030504040204" pitchFamily="34" charset="0"/>
                <a:cs typeface="Arial" panose="020B0604020202020204" pitchFamily="34" charset="0"/>
                <a:sym typeface="Corbel" panose="020B0503020204020204" pitchFamily="34" charset="0"/>
              </a:rPr>
              <a:t>business case</a:t>
            </a:r>
          </a:p>
          <a:p>
            <a:pPr marL="0" marR="0" lvl="0" indent="0" algn="ctr">
              <a:lnSpc>
                <a:spcPct val="90000"/>
              </a:lnSpc>
              <a:spcBef>
                <a:spcPts val="0"/>
              </a:spcBef>
              <a:spcAft>
                <a:spcPts val="0"/>
              </a:spcAft>
              <a:buClr>
                <a:srgbClr val="FF0000"/>
              </a:buClr>
              <a:buSzPts val="1400"/>
              <a:buFont typeface="Noto Sans Symbols"/>
              <a:buNone/>
            </a:pPr>
            <a:r>
              <a:rPr lang="nl-NL" sz="3200" b="1" i="0" u="none" strike="noStrike" cap="none"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 </a:t>
            </a:r>
            <a:r>
              <a:rPr lang="nl-NL" sz="28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Wat zijn de maatschappelijke baten en kosten van jouw project?</a:t>
            </a:r>
            <a:endParaRPr lang="nl-NL" sz="2000" b="1" i="0" u="none" strike="noStrike" cap="none"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7" cstate="hqprint">
            <a:biLevel thresh="25000"/>
            <a:extLst>
              <a:ext uri="{28A0092B-C50C-407E-A947-70E740481C1C}">
                <a14:useLocalDpi xmlns:a14="http://schemas.microsoft.com/office/drawing/2010/main"/>
              </a:ext>
            </a:extLst>
          </a:blip>
          <a:stretch>
            <a:fillRect/>
          </a:stretch>
        </p:blipFill>
        <p:spPr>
          <a:xfrm>
            <a:off x="8981318" y="2344098"/>
            <a:ext cx="287720" cy="287720"/>
          </a:xfrm>
          <a:prstGeom prst="rect">
            <a:avLst/>
          </a:prstGeom>
        </p:spPr>
      </p:pic>
      <p:cxnSp>
        <p:nvCxnSpPr>
          <p:cNvPr id="5" name="Straight Connector 4">
            <a:extLst>
              <a:ext uri="{FF2B5EF4-FFF2-40B4-BE49-F238E27FC236}">
                <a16:creationId xmlns:a16="http://schemas.microsoft.com/office/drawing/2014/main" id="{81373B42-CFDE-48AE-B817-74934195C16F}"/>
              </a:ext>
            </a:extLst>
          </p:cNvPr>
          <p:cNvCxnSpPr>
            <a:cxnSpLocks/>
          </p:cNvCxnSpPr>
          <p:nvPr/>
        </p:nvCxnSpPr>
        <p:spPr>
          <a:xfrm flipV="1">
            <a:off x="3751312" y="4676775"/>
            <a:ext cx="4680000" cy="1"/>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135837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37281812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392853" y="-1785635"/>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2" name="Google Shape;542;p9"/>
          <p:cNvSpPr/>
          <p:nvPr/>
        </p:nvSpPr>
        <p:spPr>
          <a:xfrm>
            <a:off x="2349230"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38000">
                <a:srgbClr val="22777B"/>
              </a:gs>
              <a:gs pos="100000">
                <a:schemeClr val="accent4">
                  <a:lumMod val="20000"/>
                  <a:lumOff val="80000"/>
                </a:schemeClr>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3" name="Rectangle 2">
            <a:extLst>
              <a:ext uri="{FF2B5EF4-FFF2-40B4-BE49-F238E27FC236}">
                <a16:creationId xmlns:a16="http://schemas.microsoft.com/office/drawing/2014/main" id="{0D73B257-8FDB-4365-825B-88614B1A9B95}"/>
              </a:ext>
            </a:extLst>
          </p:cNvPr>
          <p:cNvSpPr/>
          <p:nvPr/>
        </p:nvSpPr>
        <p:spPr>
          <a:xfrm>
            <a:off x="3554846" y="2236282"/>
            <a:ext cx="5072929" cy="34200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dirty="0"/>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4</a:t>
            </a:fld>
            <a:endParaRPr lang="nl-NL" dirty="0">
              <a:sym typeface="Corbel" panose="020B0503020204020204" pitchFamily="34" charset="0"/>
            </a:endParaRPr>
          </a:p>
        </p:txBody>
      </p:sp>
      <p:pic>
        <p:nvPicPr>
          <p:cNvPr id="14" name="Picture 13">
            <a:extLst>
              <a:ext uri="{FF2B5EF4-FFF2-40B4-BE49-F238E27FC236}">
                <a16:creationId xmlns:a16="http://schemas.microsoft.com/office/drawing/2014/main" id="{61B1B884-CFDC-48D8-A87E-6AEB37B9F098}"/>
              </a:ext>
            </a:extLst>
          </p:cNvPr>
          <p:cNvPicPr>
            <a:picLocks noChangeAspect="1"/>
          </p:cNvPicPr>
          <p:nvPr/>
        </p:nvPicPr>
        <p:blipFill>
          <a:blip r:embed="rId6" cstate="hqprint">
            <a:alphaModFix/>
            <a:extLst>
              <a:ext uri="{28A0092B-C50C-407E-A947-70E740481C1C}">
                <a14:useLocalDpi xmlns:a14="http://schemas.microsoft.com/office/drawing/2010/main"/>
              </a:ext>
            </a:extLst>
          </a:blip>
          <a:srcRect/>
          <a:stretch/>
        </p:blipFill>
        <p:spPr>
          <a:xfrm>
            <a:off x="3427312" y="1952494"/>
            <a:ext cx="5328000" cy="3996000"/>
          </a:xfrm>
          <a:prstGeom prst="rect">
            <a:avLst/>
          </a:prstGeom>
          <a:ln w="76200">
            <a:solidFill>
              <a:schemeClr val="bg1"/>
            </a:solidFill>
          </a:ln>
        </p:spPr>
      </p:pic>
      <p:sp>
        <p:nvSpPr>
          <p:cNvPr id="16" name="Google Shape;545;p9">
            <a:extLst>
              <a:ext uri="{FF2B5EF4-FFF2-40B4-BE49-F238E27FC236}">
                <a16:creationId xmlns:a16="http://schemas.microsoft.com/office/drawing/2014/main" id="{8CC42EBB-39C7-4CE3-A015-939676939AC8}"/>
              </a:ext>
            </a:extLst>
          </p:cNvPr>
          <p:cNvSpPr/>
          <p:nvPr/>
        </p:nvSpPr>
        <p:spPr>
          <a:xfrm>
            <a:off x="3751312" y="2906254"/>
            <a:ext cx="4680000" cy="2037248"/>
          </a:xfrm>
          <a:prstGeom prst="rect">
            <a:avLst/>
          </a:prstGeom>
          <a:noFill/>
          <a:ln w="38100">
            <a:noFill/>
          </a:ln>
          <a:extLst>
            <a:ext uri="{909E8E84-426E-40DD-AFC4-6F175D3DCCD1}">
              <a14:hiddenFill xmlns:a14="http://schemas.microsoft.com/office/drawing/2010/main">
                <a:solidFill>
                  <a:srgbClr val="95C5C9">
                    <a:alpha val="80000"/>
                  </a:srgbClr>
                </a:solidFill>
              </a14:hiddenFill>
            </a:ext>
            <a:ext uri="{91240B29-F687-4F45-9708-019B960494DF}">
              <a14:hiddenLine xmlns:a14="http://schemas.microsoft.com/office/drawing/2010/main" w="38100">
                <a:solidFill>
                  <a:schemeClr val="bg1"/>
                </a:solidFill>
              </a14:hiddenLine>
            </a:ext>
          </a:extLst>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b="1" i="0" u="none" strike="noStrike" cap="none" dirty="0">
                <a:solidFill>
                  <a:srgbClr val="FFFFFF"/>
                </a:solidFill>
                <a:ea typeface="Corbel"/>
                <a:cs typeface="Corbel"/>
                <a:sym typeface="Corbel" panose="020B0503020204020204" pitchFamily="34" charset="0"/>
              </a:rPr>
              <a:t>It’s Public update:</a:t>
            </a:r>
          </a:p>
          <a:p>
            <a:pPr marL="0" marR="0" lvl="0" indent="0" algn="ctr">
              <a:lnSpc>
                <a:spcPct val="90000"/>
              </a:lnSpc>
              <a:spcBef>
                <a:spcPts val="0"/>
              </a:spcBef>
              <a:spcAft>
                <a:spcPts val="0"/>
              </a:spcAft>
              <a:buClr>
                <a:srgbClr val="FF0000"/>
              </a:buClr>
              <a:buSzPts val="1400"/>
              <a:buFont typeface="Noto Sans Symbols"/>
              <a:buNone/>
            </a:pPr>
            <a:r>
              <a:rPr lang="nl-NL" sz="2400" b="1" dirty="0">
                <a:solidFill>
                  <a:srgbClr val="FFFFFF"/>
                </a:solidFill>
                <a:latin typeface="Garamond" panose="02020404030301010803" pitchFamily="18" charset="0"/>
                <a:sym typeface="Corbel" panose="020B0503020204020204" pitchFamily="34" charset="0"/>
              </a:rPr>
              <a:t>Benieuwd naar de gevolgen van het woonplaatsbeginsel voor de jeugdzorg in jouw gemeente?</a:t>
            </a:r>
            <a:endParaRPr lang="nl-NL" sz="2400" b="1" dirty="0">
              <a:solidFill>
                <a:srgbClr val="FFFFFF"/>
              </a:solidFill>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7" cstate="hqprint">
            <a:biLevel thresh="25000"/>
            <a:extLst>
              <a:ext uri="{28A0092B-C50C-407E-A947-70E740481C1C}">
                <a14:useLocalDpi xmlns:a14="http://schemas.microsoft.com/office/drawing/2010/main"/>
              </a:ext>
            </a:extLst>
          </a:blip>
          <a:stretch>
            <a:fillRect/>
          </a:stretch>
        </p:blipFill>
        <p:spPr>
          <a:xfrm>
            <a:off x="8387501" y="2037365"/>
            <a:ext cx="287720" cy="287720"/>
          </a:xfrm>
          <a:prstGeom prst="rect">
            <a:avLst/>
          </a:prstGeom>
        </p:spPr>
      </p:pic>
      <p:cxnSp>
        <p:nvCxnSpPr>
          <p:cNvPr id="5" name="Straight Connector 4">
            <a:extLst>
              <a:ext uri="{FF2B5EF4-FFF2-40B4-BE49-F238E27FC236}">
                <a16:creationId xmlns:a16="http://schemas.microsoft.com/office/drawing/2014/main" id="{81373B42-CFDE-48AE-B817-74934195C16F}"/>
              </a:ext>
            </a:extLst>
          </p:cNvPr>
          <p:cNvCxnSpPr>
            <a:cxnSpLocks/>
          </p:cNvCxnSpPr>
          <p:nvPr/>
        </p:nvCxnSpPr>
        <p:spPr>
          <a:xfrm flipV="1">
            <a:off x="3751312" y="4676775"/>
            <a:ext cx="4680000" cy="1"/>
          </a:xfrm>
          <a:prstGeom prst="line">
            <a:avLst/>
          </a:prstGeom>
          <a:ln w="28575">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06358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5</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pic>
        <p:nvPicPr>
          <p:cNvPr id="10" name="Picture 9">
            <a:extLst>
              <a:ext uri="{FF2B5EF4-FFF2-40B4-BE49-F238E27FC236}">
                <a16:creationId xmlns:a16="http://schemas.microsoft.com/office/drawing/2014/main" id="{5AC6E922-DEED-44AD-8A52-A926BD683490}"/>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flipH="1">
            <a:off x="2454098" y="1691582"/>
            <a:ext cx="7452000" cy="5586149"/>
          </a:xfrm>
          <a:prstGeom prst="rect">
            <a:avLst/>
          </a:prstGeom>
        </p:spPr>
      </p:pic>
      <p:sp>
        <p:nvSpPr>
          <p:cNvPr id="18" name="Google Shape;542;p9">
            <a:extLst>
              <a:ext uri="{FF2B5EF4-FFF2-40B4-BE49-F238E27FC236}">
                <a16:creationId xmlns:a16="http://schemas.microsoft.com/office/drawing/2014/main" id="{F74ADEAF-93E3-474A-B70C-80B33C1E93F7}"/>
              </a:ext>
            </a:extLst>
          </p:cNvPr>
          <p:cNvSpPr/>
          <p:nvPr/>
        </p:nvSpPr>
        <p:spPr>
          <a:xfrm flipH="1">
            <a:off x="2286165" y="1691582"/>
            <a:ext cx="7619669" cy="4654796"/>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114300" cap="flat" cmpd="sng">
            <a:noFill/>
            <a:prstDash val="solid"/>
            <a:round/>
            <a:headEnd type="none" w="sm" len="sm"/>
            <a:tailEnd type="none" w="sm" len="sm"/>
          </a:ln>
          <a:extLst>
            <a:ext uri="{909E8E84-426E-40DD-AFC4-6F175D3DCCD1}">
              <a14:hiddenFill xmlns:a14="http://schemas.microsoft.com/office/drawing/2010/main">
                <a:gradFill flip="none" rotWithShape="1">
                  <a:gsLst>
                    <a:gs pos="0">
                      <a:srgbClr val="FFBD42">
                        <a:alpha val="0"/>
                      </a:srgbClr>
                    </a:gs>
                    <a:gs pos="75000">
                      <a:srgbClr val="EC6224">
                        <a:alpha val="53000"/>
                      </a:srgbClr>
                    </a:gs>
                    <a:gs pos="93000">
                      <a:srgbClr val="D64221"/>
                    </a:gs>
                    <a:gs pos="100000">
                      <a:srgbClr val="BF211E"/>
                    </a:gs>
                  </a:gsLst>
                  <a:lin ang="10800000" scaled="1"/>
                  <a:tileRect/>
                </a:gra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1" i="0" u="none" strike="noStrike" cap="none" dirty="0">
              <a:solidFill>
                <a:srgbClr val="000000"/>
              </a:solidFill>
              <a:latin typeface="Garamond" panose="02020404030301010803" pitchFamily="18" charset="0"/>
              <a:ea typeface="Corbel"/>
              <a:cs typeface="Corbel"/>
              <a:sym typeface="Corbel" panose="020B0503020204020204" pitchFamily="34" charset="0"/>
            </a:endParaRPr>
          </a:p>
        </p:txBody>
      </p:sp>
      <p:sp>
        <p:nvSpPr>
          <p:cNvPr id="544" name="Google Shape;544;p9"/>
          <p:cNvSpPr/>
          <p:nvPr/>
        </p:nvSpPr>
        <p:spPr>
          <a:xfrm>
            <a:off x="-1321730" y="-1691533"/>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pic>
        <p:nvPicPr>
          <p:cNvPr id="47" name="Picture 46">
            <a:extLst>
              <a:ext uri="{FF2B5EF4-FFF2-40B4-BE49-F238E27FC236}">
                <a16:creationId xmlns:a16="http://schemas.microsoft.com/office/drawing/2014/main" id="{9901B273-6BD9-4606-B37D-730F13091ED3}"/>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52356" y="1843658"/>
            <a:ext cx="287720" cy="287720"/>
          </a:xfrm>
          <a:prstGeom prst="rect">
            <a:avLst/>
          </a:prstGeom>
        </p:spPr>
      </p:pic>
      <p:sp>
        <p:nvSpPr>
          <p:cNvPr id="27" name="Speech Bubble: Rectangle 26">
            <a:extLst>
              <a:ext uri="{FF2B5EF4-FFF2-40B4-BE49-F238E27FC236}">
                <a16:creationId xmlns:a16="http://schemas.microsoft.com/office/drawing/2014/main" id="{C1CAB148-33A3-46F1-BA8A-8BECE3A15FCB}"/>
              </a:ext>
            </a:extLst>
          </p:cNvPr>
          <p:cNvSpPr/>
          <p:nvPr/>
        </p:nvSpPr>
        <p:spPr>
          <a:xfrm>
            <a:off x="5544273" y="2253190"/>
            <a:ext cx="3854991" cy="1323387"/>
          </a:xfrm>
          <a:prstGeom prst="wedgeRectCallout">
            <a:avLst>
              <a:gd name="adj1" fmla="val -48105"/>
              <a:gd name="adj2" fmla="val 85266"/>
            </a:avLst>
          </a:prstGeom>
          <a:noFill/>
          <a:ln w="19050" cap="flat">
            <a:solidFill>
              <a:srgbClr val="FFFFFF"/>
            </a:solidFill>
            <a:prstDash val="solid"/>
            <a:miter/>
          </a:ln>
          <a:extLst>
            <a:ext uri="{909E8E84-426E-40DD-AFC4-6F175D3DCCD1}">
              <a14:hiddenFill xmlns:a14="http://schemas.microsoft.com/office/drawing/2010/main">
                <a:solidFill>
                  <a:srgbClr val="408E94"/>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600" b="1" dirty="0">
                <a:solidFill>
                  <a:srgbClr val="FFFFFF"/>
                </a:solidFill>
                <a:latin typeface="+mj-lt"/>
                <a:sym typeface="Corbel" panose="020B0503020204020204" pitchFamily="34" charset="0"/>
              </a:rPr>
              <a:t>It’s Public benchmark gemeentefinanciën</a:t>
            </a:r>
            <a:br>
              <a:rPr lang="nl-NL" sz="1800" b="1" dirty="0">
                <a:solidFill>
                  <a:srgbClr val="FFFFFF"/>
                </a:solidFill>
                <a:latin typeface="+mj-lt"/>
                <a:sym typeface="Corbel" panose="020B0503020204020204" pitchFamily="34" charset="0"/>
              </a:rPr>
            </a:br>
            <a:r>
              <a:rPr lang="nl-NL" sz="2000" b="1" dirty="0">
                <a:solidFill>
                  <a:srgbClr val="FFFFFF"/>
                </a:solidFill>
                <a:latin typeface="+mj-lt"/>
                <a:sym typeface="Corbel" panose="020B0503020204020204" pitchFamily="34" charset="0"/>
              </a:rPr>
              <a:t>Hoe wordt het geld verdeeld in jouw gemeente?</a:t>
            </a:r>
            <a:endParaRPr lang="nl-NL" sz="1800" b="1" dirty="0">
              <a:latin typeface="+mj-lt"/>
            </a:endParaRPr>
          </a:p>
        </p:txBody>
      </p:sp>
    </p:spTree>
    <p:extLst>
      <p:ext uri="{BB962C8B-B14F-4D97-AF65-F5344CB8AC3E}">
        <p14:creationId xmlns:p14="http://schemas.microsoft.com/office/powerpoint/2010/main" val="17224850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2583429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6</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pic>
        <p:nvPicPr>
          <p:cNvPr id="10" name="Picture 9">
            <a:extLst>
              <a:ext uri="{FF2B5EF4-FFF2-40B4-BE49-F238E27FC236}">
                <a16:creationId xmlns:a16="http://schemas.microsoft.com/office/drawing/2014/main" id="{5AC6E922-DEED-44AD-8A52-A926BD683490}"/>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flipH="1">
            <a:off x="2454098" y="1801848"/>
            <a:ext cx="7452000" cy="4968520"/>
          </a:xfrm>
          <a:prstGeom prst="rect">
            <a:avLst/>
          </a:prstGeom>
        </p:spPr>
      </p:pic>
      <p:sp>
        <p:nvSpPr>
          <p:cNvPr id="18" name="Google Shape;542;p9">
            <a:extLst>
              <a:ext uri="{FF2B5EF4-FFF2-40B4-BE49-F238E27FC236}">
                <a16:creationId xmlns:a16="http://schemas.microsoft.com/office/drawing/2014/main" id="{F74ADEAF-93E3-474A-B70C-80B33C1E93F7}"/>
              </a:ext>
            </a:extLst>
          </p:cNvPr>
          <p:cNvSpPr/>
          <p:nvPr/>
        </p:nvSpPr>
        <p:spPr>
          <a:xfrm flipH="1">
            <a:off x="2286165" y="1691582"/>
            <a:ext cx="7619669" cy="4654796"/>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114300" cap="flat" cmpd="sng">
            <a:noFill/>
            <a:prstDash val="solid"/>
            <a:round/>
            <a:headEnd type="none" w="sm" len="sm"/>
            <a:tailEnd type="none" w="sm" len="sm"/>
          </a:ln>
          <a:extLst>
            <a:ext uri="{909E8E84-426E-40DD-AFC4-6F175D3DCCD1}">
              <a14:hiddenFill xmlns:a14="http://schemas.microsoft.com/office/drawing/2010/main">
                <a:gradFill flip="none" rotWithShape="1">
                  <a:gsLst>
                    <a:gs pos="0">
                      <a:srgbClr val="FFBD42">
                        <a:alpha val="0"/>
                      </a:srgbClr>
                    </a:gs>
                    <a:gs pos="75000">
                      <a:srgbClr val="EC6224">
                        <a:alpha val="53000"/>
                      </a:srgbClr>
                    </a:gs>
                    <a:gs pos="93000">
                      <a:srgbClr val="D64221"/>
                    </a:gs>
                    <a:gs pos="100000">
                      <a:srgbClr val="BF211E"/>
                    </a:gs>
                  </a:gsLst>
                  <a:lin ang="10800000" scaled="1"/>
                  <a:tileRect/>
                </a:gra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1" i="0" u="none" strike="noStrike" cap="none" dirty="0">
              <a:solidFill>
                <a:srgbClr val="000000"/>
              </a:solidFill>
              <a:latin typeface="Garamond" panose="02020404030301010803" pitchFamily="18" charset="0"/>
              <a:ea typeface="Corbel"/>
              <a:cs typeface="Corbel"/>
              <a:sym typeface="Corbel" panose="020B0503020204020204" pitchFamily="34" charset="0"/>
            </a:endParaRPr>
          </a:p>
        </p:txBody>
      </p:sp>
      <p:sp>
        <p:nvSpPr>
          <p:cNvPr id="544" name="Google Shape;544;p9"/>
          <p:cNvSpPr/>
          <p:nvPr/>
        </p:nvSpPr>
        <p:spPr>
          <a:xfrm>
            <a:off x="-1312205" y="-1691533"/>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sp>
        <p:nvSpPr>
          <p:cNvPr id="27" name="Speech Bubble: Rectangle 26">
            <a:extLst>
              <a:ext uri="{FF2B5EF4-FFF2-40B4-BE49-F238E27FC236}">
                <a16:creationId xmlns:a16="http://schemas.microsoft.com/office/drawing/2014/main" id="{C1CAB148-33A3-46F1-BA8A-8BECE3A15FCB}"/>
              </a:ext>
            </a:extLst>
          </p:cNvPr>
          <p:cNvSpPr/>
          <p:nvPr/>
        </p:nvSpPr>
        <p:spPr>
          <a:xfrm>
            <a:off x="5291080" y="2377410"/>
            <a:ext cx="4305136" cy="1689765"/>
          </a:xfrm>
          <a:prstGeom prst="wedgeRectCallout">
            <a:avLst>
              <a:gd name="adj1" fmla="val -41468"/>
              <a:gd name="adj2" fmla="val 68919"/>
            </a:avLst>
          </a:prstGeom>
          <a:solidFill>
            <a:srgbClr val="408E94">
              <a:alpha val="80000"/>
            </a:srgbClr>
          </a:solidFill>
          <a:ln w="19050" cap="flat">
            <a:solidFill>
              <a:srgbClr val="FFFFFF"/>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sz="1600" b="1" dirty="0">
                <a:solidFill>
                  <a:srgbClr val="FFFFFF"/>
                </a:solidFill>
                <a:latin typeface="+mj-lt"/>
                <a:sym typeface="Corbel" panose="020B0503020204020204" pitchFamily="34" charset="0"/>
              </a:rPr>
              <a:t>It’s Public benchmark OZB in G4-gemeenten</a:t>
            </a:r>
          </a:p>
          <a:p>
            <a:pPr marL="0" indent="0" algn="l">
              <a:buNone/>
            </a:pPr>
            <a:r>
              <a:rPr lang="nl-NL" sz="2400" b="1" dirty="0">
                <a:solidFill>
                  <a:srgbClr val="FFFFFF"/>
                </a:solidFill>
                <a:latin typeface="+mj-lt"/>
                <a:sym typeface="Corbel" panose="020B0503020204020204" pitchFamily="34" charset="0"/>
              </a:rPr>
              <a:t>Hoe kan je de OZB-heffing het best vergelijken? </a:t>
            </a:r>
            <a:endParaRPr lang="nl-NL" sz="2000" b="1" dirty="0">
              <a:latin typeface="+mj-lt"/>
            </a:endParaRPr>
          </a:p>
        </p:txBody>
      </p:sp>
      <p:pic>
        <p:nvPicPr>
          <p:cNvPr id="47" name="Picture 46">
            <a:extLst>
              <a:ext uri="{FF2B5EF4-FFF2-40B4-BE49-F238E27FC236}">
                <a16:creationId xmlns:a16="http://schemas.microsoft.com/office/drawing/2014/main" id="{9901B273-6BD9-4606-B37D-730F13091ED3}"/>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247098" y="2432349"/>
            <a:ext cx="288248" cy="288248"/>
          </a:xfrm>
          <a:prstGeom prst="rect">
            <a:avLst/>
          </a:prstGeom>
        </p:spPr>
      </p:pic>
    </p:spTree>
    <p:extLst>
      <p:ext uri="{BB962C8B-B14F-4D97-AF65-F5344CB8AC3E}">
        <p14:creationId xmlns:p14="http://schemas.microsoft.com/office/powerpoint/2010/main" val="28080471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7</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sp>
        <p:nvSpPr>
          <p:cNvPr id="18" name="Google Shape;542;p9">
            <a:extLst>
              <a:ext uri="{FF2B5EF4-FFF2-40B4-BE49-F238E27FC236}">
                <a16:creationId xmlns:a16="http://schemas.microsoft.com/office/drawing/2014/main" id="{F74ADEAF-93E3-474A-B70C-80B33C1E93F7}"/>
              </a:ext>
            </a:extLst>
          </p:cNvPr>
          <p:cNvSpPr/>
          <p:nvPr/>
        </p:nvSpPr>
        <p:spPr>
          <a:xfrm flipH="1">
            <a:off x="2286165" y="1691582"/>
            <a:ext cx="7619669" cy="4654796"/>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114300" cap="flat" cmpd="sng">
            <a:noFill/>
            <a:prstDash val="solid"/>
            <a:round/>
            <a:headEnd type="none" w="sm" len="sm"/>
            <a:tailEnd type="none" w="sm" len="sm"/>
          </a:ln>
          <a:extLst>
            <a:ext uri="{909E8E84-426E-40DD-AFC4-6F175D3DCCD1}">
              <a14:hiddenFill xmlns:a14="http://schemas.microsoft.com/office/drawing/2010/main">
                <a:gradFill flip="none" rotWithShape="1">
                  <a:gsLst>
                    <a:gs pos="0">
                      <a:srgbClr val="FFBD42">
                        <a:alpha val="0"/>
                      </a:srgbClr>
                    </a:gs>
                    <a:gs pos="75000">
                      <a:srgbClr val="EC6224">
                        <a:alpha val="53000"/>
                      </a:srgbClr>
                    </a:gs>
                    <a:gs pos="93000">
                      <a:srgbClr val="D64221"/>
                    </a:gs>
                    <a:gs pos="100000">
                      <a:srgbClr val="BF211E"/>
                    </a:gs>
                  </a:gsLst>
                  <a:lin ang="10800000" scaled="1"/>
                  <a:tileRect/>
                </a:gra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1" i="0" u="none" strike="noStrike" cap="none" dirty="0">
              <a:solidFill>
                <a:srgbClr val="000000"/>
              </a:solidFill>
              <a:latin typeface="Garamond" panose="02020404030301010803" pitchFamily="18" charset="0"/>
              <a:ea typeface="Corbel"/>
              <a:cs typeface="Corbel"/>
              <a:sym typeface="Corbel" panose="020B0503020204020204" pitchFamily="34" charset="0"/>
            </a:endParaRPr>
          </a:p>
        </p:txBody>
      </p:sp>
      <p:sp>
        <p:nvSpPr>
          <p:cNvPr id="544" name="Google Shape;544;p9"/>
          <p:cNvSpPr/>
          <p:nvPr/>
        </p:nvSpPr>
        <p:spPr>
          <a:xfrm>
            <a:off x="-1312205" y="-1691533"/>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pic>
        <p:nvPicPr>
          <p:cNvPr id="47" name="Picture 46">
            <a:extLst>
              <a:ext uri="{FF2B5EF4-FFF2-40B4-BE49-F238E27FC236}">
                <a16:creationId xmlns:a16="http://schemas.microsoft.com/office/drawing/2014/main" id="{9901B273-6BD9-4606-B37D-730F13091ED3}"/>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247098" y="2432349"/>
            <a:ext cx="288248" cy="288248"/>
          </a:xfrm>
          <a:prstGeom prst="rect">
            <a:avLst/>
          </a:prstGeom>
        </p:spPr>
      </p:pic>
      <p:pic>
        <p:nvPicPr>
          <p:cNvPr id="11" name="Picture 10">
            <a:extLst>
              <a:ext uri="{FF2B5EF4-FFF2-40B4-BE49-F238E27FC236}">
                <a16:creationId xmlns:a16="http://schemas.microsoft.com/office/drawing/2014/main" id="{E6D82234-F47A-3DBE-BF3B-7447D8FBD72C}"/>
              </a:ext>
            </a:extLst>
          </p:cNvPr>
          <p:cNvPicPr>
            <a:picLocks noChangeAspect="1"/>
          </p:cNvPicPr>
          <p:nvPr/>
        </p:nvPicPr>
        <p:blipFill rotWithShape="1">
          <a:blip r:embed="rId7"/>
          <a:srcRect t="17264" r="5803" b="3252"/>
          <a:stretch/>
        </p:blipFill>
        <p:spPr>
          <a:xfrm>
            <a:off x="2427261" y="1676589"/>
            <a:ext cx="7478573" cy="4679216"/>
          </a:xfrm>
          <a:prstGeom prst="rect">
            <a:avLst/>
          </a:prstGeom>
        </p:spPr>
      </p:pic>
      <p:pic>
        <p:nvPicPr>
          <p:cNvPr id="12" name="Picture 11">
            <a:extLst>
              <a:ext uri="{FF2B5EF4-FFF2-40B4-BE49-F238E27FC236}">
                <a16:creationId xmlns:a16="http://schemas.microsoft.com/office/drawing/2014/main" id="{B7B0C8D0-0E52-8264-67D7-C6FC15016E97}"/>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2645211" y="2004278"/>
            <a:ext cx="287720" cy="287720"/>
          </a:xfrm>
          <a:prstGeom prst="rect">
            <a:avLst/>
          </a:prstGeom>
        </p:spPr>
      </p:pic>
      <p:pic>
        <p:nvPicPr>
          <p:cNvPr id="13" name="Picture 12" descr="Logo&#10;&#10;Description automatically generated">
            <a:extLst>
              <a:ext uri="{FF2B5EF4-FFF2-40B4-BE49-F238E27FC236}">
                <a16:creationId xmlns:a16="http://schemas.microsoft.com/office/drawing/2014/main" id="{74E60D23-E76C-0EFE-893D-97BE54C83B4D}"/>
              </a:ext>
            </a:extLst>
          </p:cNvPr>
          <p:cNvPicPr>
            <a:picLocks noChangeAspect="1"/>
          </p:cNvPicPr>
          <p:nvPr/>
        </p:nvPicPr>
        <p:blipFill>
          <a:blip r:embed="rId8"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2515183" y="1815700"/>
            <a:ext cx="585485" cy="153711"/>
          </a:xfrm>
          <a:prstGeom prst="rect">
            <a:avLst/>
          </a:prstGeom>
        </p:spPr>
      </p:pic>
      <p:sp>
        <p:nvSpPr>
          <p:cNvPr id="14" name="TextBox 13">
            <a:extLst>
              <a:ext uri="{FF2B5EF4-FFF2-40B4-BE49-F238E27FC236}">
                <a16:creationId xmlns:a16="http://schemas.microsoft.com/office/drawing/2014/main" id="{680C7C8A-B1B9-FBD3-D8E7-2BD7B6E2383B}"/>
              </a:ext>
            </a:extLst>
          </p:cNvPr>
          <p:cNvSpPr txBox="1"/>
          <p:nvPr/>
        </p:nvSpPr>
        <p:spPr>
          <a:xfrm>
            <a:off x="5354425" y="4540162"/>
            <a:ext cx="4277745" cy="1639423"/>
          </a:xfrm>
          <a:prstGeom prst="rect">
            <a:avLst/>
          </a:prstGeom>
          <a:noFill/>
        </p:spPr>
        <p:txBody>
          <a:bodyPr wrap="square" rtlCol="0">
            <a:spAutoFit/>
          </a:bodyPr>
          <a:lstStyle/>
          <a:p>
            <a:pPr marL="0" indent="0" algn="r">
              <a:buNone/>
            </a:pPr>
            <a:r>
              <a:rPr lang="nl-NL" sz="5400" b="1" spc="-150" dirty="0">
                <a:solidFill>
                  <a:srgbClr val="FFFFFF"/>
                </a:solidFill>
                <a:latin typeface="Corbel" panose="020B0503020204020204" pitchFamily="34" charset="0"/>
              </a:rPr>
              <a:t>It’s Public </a:t>
            </a:r>
          </a:p>
          <a:p>
            <a:pPr marL="0" indent="0" algn="r">
              <a:buNone/>
            </a:pPr>
            <a:r>
              <a:rPr lang="nl-NL" sz="5400" b="1" spc="-150" dirty="0">
                <a:solidFill>
                  <a:srgbClr val="FFFFFF"/>
                </a:solidFill>
                <a:latin typeface="Corbel" panose="020B0503020204020204" pitchFamily="34" charset="0"/>
              </a:rPr>
              <a:t>zoekt talent! </a:t>
            </a:r>
          </a:p>
        </p:txBody>
      </p:sp>
    </p:spTree>
    <p:extLst>
      <p:ext uri="{BB962C8B-B14F-4D97-AF65-F5344CB8AC3E}">
        <p14:creationId xmlns:p14="http://schemas.microsoft.com/office/powerpoint/2010/main" val="34655611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Google Shape;542;p9">
            <a:extLst>
              <a:ext uri="{FF2B5EF4-FFF2-40B4-BE49-F238E27FC236}">
                <a16:creationId xmlns:a16="http://schemas.microsoft.com/office/drawing/2014/main" id="{E2047B9D-190E-515F-EC24-4D6C2338011A}"/>
              </a:ext>
            </a:extLst>
          </p:cNvPr>
          <p:cNvSpPr/>
          <p:nvPr/>
        </p:nvSpPr>
        <p:spPr>
          <a:xfrm>
            <a:off x="2329566" y="1655351"/>
            <a:ext cx="7576268" cy="469102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chemeClr val="tx2"/>
              </a:gs>
              <a:gs pos="100000">
                <a:schemeClr val="accent4"/>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8</a:t>
            </a:fld>
            <a:endParaRPr lang="nl-NL" dirty="0">
              <a:sym typeface="Corbel" panose="020B0503020204020204" pitchFamily="34" charset="0"/>
            </a:endParaRPr>
          </a:p>
        </p:txBody>
      </p:sp>
      <p:sp>
        <p:nvSpPr>
          <p:cNvPr id="18" name="Google Shape;542;p9">
            <a:extLst>
              <a:ext uri="{FF2B5EF4-FFF2-40B4-BE49-F238E27FC236}">
                <a16:creationId xmlns:a16="http://schemas.microsoft.com/office/drawing/2014/main" id="{F74ADEAF-93E3-474A-B70C-80B33C1E93F7}"/>
              </a:ext>
            </a:extLst>
          </p:cNvPr>
          <p:cNvSpPr/>
          <p:nvPr/>
        </p:nvSpPr>
        <p:spPr>
          <a:xfrm flipH="1">
            <a:off x="2286165" y="1691582"/>
            <a:ext cx="7619669" cy="4654796"/>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114300" cap="flat" cmpd="sng">
            <a:noFill/>
            <a:prstDash val="solid"/>
            <a:round/>
            <a:headEnd type="none" w="sm" len="sm"/>
            <a:tailEnd type="none" w="sm" len="sm"/>
          </a:ln>
          <a:extLst>
            <a:ext uri="{909E8E84-426E-40DD-AFC4-6F175D3DCCD1}">
              <a14:hiddenFill xmlns:a14="http://schemas.microsoft.com/office/drawing/2010/main">
                <a:gradFill flip="none" rotWithShape="1">
                  <a:gsLst>
                    <a:gs pos="0">
                      <a:srgbClr val="FFBD42">
                        <a:alpha val="0"/>
                      </a:srgbClr>
                    </a:gs>
                    <a:gs pos="75000">
                      <a:srgbClr val="EC6224">
                        <a:alpha val="53000"/>
                      </a:srgbClr>
                    </a:gs>
                    <a:gs pos="93000">
                      <a:srgbClr val="D64221"/>
                    </a:gs>
                    <a:gs pos="100000">
                      <a:srgbClr val="BF211E"/>
                    </a:gs>
                  </a:gsLst>
                  <a:lin ang="10800000" scaled="1"/>
                  <a:tileRect/>
                </a:gra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1" i="0" u="none" strike="noStrike" cap="none" dirty="0">
              <a:solidFill>
                <a:srgbClr val="000000"/>
              </a:solidFill>
              <a:latin typeface="Garamond" panose="02020404030301010803" pitchFamily="18" charset="0"/>
              <a:ea typeface="Corbel"/>
              <a:cs typeface="Corbel"/>
              <a:sym typeface="Corbel" panose="020B0503020204020204" pitchFamily="34" charset="0"/>
            </a:endParaRPr>
          </a:p>
        </p:txBody>
      </p:sp>
      <p:sp>
        <p:nvSpPr>
          <p:cNvPr id="544" name="Google Shape;544;p9"/>
          <p:cNvSpPr/>
          <p:nvPr/>
        </p:nvSpPr>
        <p:spPr>
          <a:xfrm>
            <a:off x="-1312205" y="-1682106"/>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pic>
        <p:nvPicPr>
          <p:cNvPr id="12" name="Picture 11">
            <a:extLst>
              <a:ext uri="{FF2B5EF4-FFF2-40B4-BE49-F238E27FC236}">
                <a16:creationId xmlns:a16="http://schemas.microsoft.com/office/drawing/2014/main" id="{B7B0C8D0-0E52-8264-67D7-C6FC15016E97}"/>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2645211" y="2004278"/>
            <a:ext cx="287720" cy="287720"/>
          </a:xfrm>
          <a:prstGeom prst="rect">
            <a:avLst/>
          </a:prstGeom>
        </p:spPr>
      </p:pic>
      <p:pic>
        <p:nvPicPr>
          <p:cNvPr id="13" name="Picture 12" descr="Logo&#10;&#10;Description automatically generated">
            <a:extLst>
              <a:ext uri="{FF2B5EF4-FFF2-40B4-BE49-F238E27FC236}">
                <a16:creationId xmlns:a16="http://schemas.microsoft.com/office/drawing/2014/main" id="{74E60D23-E76C-0EFE-893D-97BE54C83B4D}"/>
              </a:ext>
            </a:extLst>
          </p:cNvPr>
          <p:cNvPicPr>
            <a:picLocks noChangeAspect="1"/>
          </p:cNvPicPr>
          <p:nvPr/>
        </p:nvPicPr>
        <p:blipFill>
          <a:blip r:embed="rId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2515183" y="1815700"/>
            <a:ext cx="585485" cy="153711"/>
          </a:xfrm>
          <a:prstGeom prst="rect">
            <a:avLst/>
          </a:prstGeom>
        </p:spPr>
      </p:pic>
      <p:grpSp>
        <p:nvGrpSpPr>
          <p:cNvPr id="23" name="Group 22">
            <a:extLst>
              <a:ext uri="{FF2B5EF4-FFF2-40B4-BE49-F238E27FC236}">
                <a16:creationId xmlns:a16="http://schemas.microsoft.com/office/drawing/2014/main" id="{3FE8C08F-311D-D90B-CBAC-073ACDA76B2F}"/>
              </a:ext>
            </a:extLst>
          </p:cNvPr>
          <p:cNvGrpSpPr/>
          <p:nvPr/>
        </p:nvGrpSpPr>
        <p:grpSpPr>
          <a:xfrm>
            <a:off x="6879343" y="2371091"/>
            <a:ext cx="2557968" cy="3295778"/>
            <a:chOff x="6823899" y="2220105"/>
            <a:chExt cx="2960231" cy="3814067"/>
          </a:xfrm>
        </p:grpSpPr>
        <p:pic>
          <p:nvPicPr>
            <p:cNvPr id="10" name="Picture 9">
              <a:extLst>
                <a:ext uri="{FF2B5EF4-FFF2-40B4-BE49-F238E27FC236}">
                  <a16:creationId xmlns:a16="http://schemas.microsoft.com/office/drawing/2014/main" id="{99C7B209-C5AA-E4FB-118D-767FF5E73910}"/>
                </a:ext>
              </a:extLst>
            </p:cNvPr>
            <p:cNvPicPr>
              <a:picLocks noChangeAspect="1"/>
            </p:cNvPicPr>
            <p:nvPr/>
          </p:nvPicPr>
          <p:blipFill>
            <a:blip r:embed="rId8"/>
            <a:stretch>
              <a:fillRect/>
            </a:stretch>
          </p:blipFill>
          <p:spPr>
            <a:xfrm rot="200549">
              <a:off x="6868720" y="2220105"/>
              <a:ext cx="1381460" cy="1800000"/>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9BED5F30-813B-5EAF-3EB2-41943CD6BB8E}"/>
                </a:ext>
              </a:extLst>
            </p:cNvPr>
            <p:cNvPicPr>
              <a:picLocks noChangeAspect="1"/>
            </p:cNvPicPr>
            <p:nvPr/>
          </p:nvPicPr>
          <p:blipFill>
            <a:blip r:embed="rId9"/>
            <a:stretch>
              <a:fillRect/>
            </a:stretch>
          </p:blipFill>
          <p:spPr>
            <a:xfrm rot="200549">
              <a:off x="8404767" y="2220167"/>
              <a:ext cx="1379363" cy="1800000"/>
            </a:xfrm>
            <a:prstGeom prst="rect">
              <a:avLst/>
            </a:prstGeom>
            <a:effectLst>
              <a:outerShdw blurRad="50800" dist="38100" dir="2700000" algn="tl" rotWithShape="0">
                <a:prstClr val="black">
                  <a:alpha val="40000"/>
                </a:prstClr>
              </a:outerShdw>
            </a:effectLst>
          </p:spPr>
        </p:pic>
        <p:pic>
          <p:nvPicPr>
            <p:cNvPr id="8" name="Picture 7">
              <a:extLst>
                <a:ext uri="{FF2B5EF4-FFF2-40B4-BE49-F238E27FC236}">
                  <a16:creationId xmlns:a16="http://schemas.microsoft.com/office/drawing/2014/main" id="{FDF6F2B6-070E-244C-69B3-35BCB0CF990F}"/>
                </a:ext>
              </a:extLst>
            </p:cNvPr>
            <p:cNvPicPr>
              <a:picLocks noChangeAspect="1"/>
            </p:cNvPicPr>
            <p:nvPr/>
          </p:nvPicPr>
          <p:blipFill>
            <a:blip r:embed="rId10"/>
            <a:stretch>
              <a:fillRect/>
            </a:stretch>
          </p:blipFill>
          <p:spPr>
            <a:xfrm rot="200549">
              <a:off x="6823899" y="4234172"/>
              <a:ext cx="1366363" cy="1800000"/>
            </a:xfrm>
            <a:prstGeom prst="rect">
              <a:avLst/>
            </a:prstGeom>
            <a:effectLst>
              <a:outerShdw blurRad="50800" dist="38100" dir="2700000" algn="tl" rotWithShape="0">
                <a:prstClr val="black">
                  <a:alpha val="40000"/>
                </a:prstClr>
              </a:outerShdw>
            </a:effectLst>
          </p:spPr>
        </p:pic>
        <p:pic>
          <p:nvPicPr>
            <p:cNvPr id="22" name="Picture 21">
              <a:extLst>
                <a:ext uri="{FF2B5EF4-FFF2-40B4-BE49-F238E27FC236}">
                  <a16:creationId xmlns:a16="http://schemas.microsoft.com/office/drawing/2014/main" id="{B8434F33-D68E-6CAE-013E-42325761C7D1}"/>
                </a:ext>
              </a:extLst>
            </p:cNvPr>
            <p:cNvPicPr>
              <a:picLocks noChangeAspect="1"/>
            </p:cNvPicPr>
            <p:nvPr/>
          </p:nvPicPr>
          <p:blipFill>
            <a:blip r:embed="rId11"/>
            <a:stretch>
              <a:fillRect/>
            </a:stretch>
          </p:blipFill>
          <p:spPr>
            <a:xfrm rot="200549">
              <a:off x="8292880" y="4206590"/>
              <a:ext cx="1372602" cy="1800000"/>
            </a:xfrm>
            <a:prstGeom prst="rect">
              <a:avLst/>
            </a:prstGeom>
            <a:effectLst>
              <a:outerShdw blurRad="50800" dist="38100" dir="2700000" algn="tl" rotWithShape="0">
                <a:prstClr val="black">
                  <a:alpha val="40000"/>
                </a:prstClr>
              </a:outerShdw>
            </a:effectLst>
          </p:spPr>
        </p:pic>
      </p:grpSp>
      <p:sp>
        <p:nvSpPr>
          <p:cNvPr id="6" name="Arrow: Right 5">
            <a:extLst>
              <a:ext uri="{FF2B5EF4-FFF2-40B4-BE49-F238E27FC236}">
                <a16:creationId xmlns:a16="http://schemas.microsoft.com/office/drawing/2014/main" id="{D4F391F0-AE8B-9BB1-9B11-9A53D9732520}"/>
              </a:ext>
            </a:extLst>
          </p:cNvPr>
          <p:cNvSpPr/>
          <p:nvPr/>
        </p:nvSpPr>
        <p:spPr>
          <a:xfrm>
            <a:off x="4810331" y="3251139"/>
            <a:ext cx="2377819" cy="1737418"/>
          </a:xfrm>
          <a:prstGeom prst="rightArrow">
            <a:avLst/>
          </a:prstGeom>
          <a:solidFill>
            <a:schemeClr val="bg1"/>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pic>
        <p:nvPicPr>
          <p:cNvPr id="5" name="Picture 4">
            <a:extLst>
              <a:ext uri="{FF2B5EF4-FFF2-40B4-BE49-F238E27FC236}">
                <a16:creationId xmlns:a16="http://schemas.microsoft.com/office/drawing/2014/main" id="{4EA0D7DA-80DF-9907-D5DB-C2F1ECC6CEA3}"/>
              </a:ext>
            </a:extLst>
          </p:cNvPr>
          <p:cNvPicPr>
            <a:picLocks noChangeAspect="1"/>
          </p:cNvPicPr>
          <p:nvPr/>
        </p:nvPicPr>
        <p:blipFill>
          <a:blip r:embed="rId12"/>
          <a:stretch>
            <a:fillRect/>
          </a:stretch>
        </p:blipFill>
        <p:spPr>
          <a:xfrm rot="188053">
            <a:off x="3074488" y="2289207"/>
            <a:ext cx="2586577" cy="366128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7485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3245034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430953" y="-1830764"/>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19</a:t>
            </a:fld>
            <a:endParaRPr lang="nl-NL" dirty="0">
              <a:sym typeface="Corbel" panose="020B0503020204020204" pitchFamily="34" charset="0"/>
            </a:endParaRPr>
          </a:p>
        </p:txBody>
      </p:sp>
      <p:grpSp>
        <p:nvGrpSpPr>
          <p:cNvPr id="5" name="Group 4">
            <a:extLst>
              <a:ext uri="{FF2B5EF4-FFF2-40B4-BE49-F238E27FC236}">
                <a16:creationId xmlns:a16="http://schemas.microsoft.com/office/drawing/2014/main" id="{1B3E2C83-E650-4435-A9BB-5F71567BE134}"/>
              </a:ext>
            </a:extLst>
          </p:cNvPr>
          <p:cNvGrpSpPr/>
          <p:nvPr/>
        </p:nvGrpSpPr>
        <p:grpSpPr>
          <a:xfrm>
            <a:off x="2329566" y="1655351"/>
            <a:ext cx="7484164" cy="4590287"/>
            <a:chOff x="2329566" y="1655351"/>
            <a:chExt cx="7484164" cy="4590287"/>
          </a:xfrm>
        </p:grpSpPr>
        <p:sp>
          <p:nvSpPr>
            <p:cNvPr id="542" name="Google Shape;542;p9"/>
            <p:cNvSpPr/>
            <p:nvPr/>
          </p:nvSpPr>
          <p:spPr>
            <a:xfrm>
              <a:off x="2329566"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chemeClr val="tx2"/>
                </a:gs>
                <a:gs pos="100000">
                  <a:schemeClr val="accent4"/>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grpSp>
          <p:nvGrpSpPr>
            <p:cNvPr id="3" name="Group 2">
              <a:extLst>
                <a:ext uri="{FF2B5EF4-FFF2-40B4-BE49-F238E27FC236}">
                  <a16:creationId xmlns:a16="http://schemas.microsoft.com/office/drawing/2014/main" id="{06068A5A-0B61-45CC-A95C-B3847725FBB4}"/>
                </a:ext>
              </a:extLst>
            </p:cNvPr>
            <p:cNvGrpSpPr/>
            <p:nvPr/>
          </p:nvGrpSpPr>
          <p:grpSpPr>
            <a:xfrm>
              <a:off x="2524367" y="2222494"/>
              <a:ext cx="7094562" cy="3456000"/>
              <a:chOff x="2587205" y="2221444"/>
              <a:chExt cx="7094562" cy="3456000"/>
            </a:xfrm>
          </p:grpSpPr>
          <p:sp>
            <p:nvSpPr>
              <p:cNvPr id="16" name="Google Shape;545;p9">
                <a:extLst>
                  <a:ext uri="{FF2B5EF4-FFF2-40B4-BE49-F238E27FC236}">
                    <a16:creationId xmlns:a16="http://schemas.microsoft.com/office/drawing/2014/main" id="{8CC42EBB-39C7-4CE3-A015-939676939AC8}"/>
                  </a:ext>
                </a:extLst>
              </p:cNvPr>
              <p:cNvSpPr/>
              <p:nvPr/>
            </p:nvSpPr>
            <p:spPr>
              <a:xfrm>
                <a:off x="6153767" y="2221444"/>
                <a:ext cx="3528000" cy="3456000"/>
              </a:xfrm>
              <a:prstGeom prst="rect">
                <a:avLst/>
              </a:prstGeom>
              <a:noFill/>
              <a:ln w="38100">
                <a:solidFill>
                  <a:schemeClr val="bg1"/>
                </a:solidFill>
              </a:ln>
              <a:extLst>
                <a:ext uri="{909E8E84-426E-40DD-AFC4-6F175D3DCCD1}">
                  <a14:hiddenFill xmlns:a14="http://schemas.microsoft.com/office/drawing/2010/main">
                    <a:solidFill>
                      <a:schemeClr val="accent4">
                        <a:alpha val="80000"/>
                      </a:schemeClr>
                    </a:solidFill>
                  </a14:hiddenFill>
                </a:ext>
              </a:extLst>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600" dirty="0">
                    <a:solidFill>
                      <a:srgbClr val="FFFFFF"/>
                    </a:solidFill>
                    <a:ea typeface="Corbel"/>
                    <a:cs typeface="Corbel"/>
                    <a:sym typeface="Corbel" panose="020B0503020204020204" pitchFamily="34" charset="0"/>
                  </a:rPr>
                  <a:t>Projectinzichten</a:t>
                </a:r>
                <a:endParaRPr lang="nl-NL" sz="1600" i="0" u="none" strike="noStrike" cap="none" dirty="0">
                  <a:solidFill>
                    <a:srgbClr val="FFFFFF"/>
                  </a:solidFill>
                  <a:ea typeface="Corbel"/>
                  <a:cs typeface="Corbel"/>
                  <a:sym typeface="Corbel" panose="020B0503020204020204" pitchFamily="34" charset="0"/>
                </a:endParaRPr>
              </a:p>
              <a:p>
                <a:pPr marL="0" marR="0" lvl="0" indent="0" algn="ctr">
                  <a:lnSpc>
                    <a:spcPct val="90000"/>
                  </a:lnSpc>
                  <a:spcBef>
                    <a:spcPts val="0"/>
                  </a:spcBef>
                  <a:spcAft>
                    <a:spcPts val="0"/>
                  </a:spcAft>
                  <a:buClr>
                    <a:srgbClr val="FF0000"/>
                  </a:buClr>
                  <a:buSzPts val="1400"/>
                  <a:buFont typeface="Noto Sans Symbols"/>
                  <a:buNone/>
                </a:pPr>
                <a:r>
                  <a:rPr lang="nl-NL" sz="2400" b="1" i="0" u="none" strike="noStrike" cap="none" dirty="0">
                    <a:solidFill>
                      <a:srgbClr val="FFFFFF"/>
                    </a:solidFill>
                    <a:latin typeface="Garamond" panose="02020404030301010803" pitchFamily="18" charset="0"/>
                    <a:ea typeface="Corbel"/>
                    <a:cs typeface="Corbel"/>
                    <a:sym typeface="Corbel" panose="020B0503020204020204" pitchFamily="34" charset="0"/>
                  </a:rPr>
                  <a:t>Hoe kunnen gemeenten warmtenetten inzetten om wijken aardgasvrij te maken?</a:t>
                </a:r>
                <a:endParaRPr lang="nl-NL" sz="2400" b="1" dirty="0">
                  <a:solidFill>
                    <a:srgbClr val="FFFFFF"/>
                  </a:solidFill>
                  <a:latin typeface="Garamond" panose="02020404030301010803" pitchFamily="18" charset="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249972" y="2321868"/>
                <a:ext cx="287720" cy="287720"/>
              </a:xfrm>
              <a:prstGeom prst="rect">
                <a:avLst/>
              </a:prstGeom>
            </p:spPr>
          </p:pic>
          <p:pic>
            <p:nvPicPr>
              <p:cNvPr id="6" name="Picture 5" descr="Logo&#10;&#10;Description automatically generated">
                <a:extLst>
                  <a:ext uri="{FF2B5EF4-FFF2-40B4-BE49-F238E27FC236}">
                    <a16:creationId xmlns:a16="http://schemas.microsoft.com/office/drawing/2014/main" id="{A9E1912C-6B00-40DC-8F07-300F68D7F746}"/>
                  </a:ext>
                </a:extLst>
              </p:cNvPr>
              <p:cNvPicPr>
                <a:picLocks noChangeAspect="1"/>
              </p:cNvPicPr>
              <p:nvPr/>
            </p:nvPicPr>
            <p:blipFill>
              <a:blip r:embed="rId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8729527" y="2347913"/>
                <a:ext cx="585485" cy="153711"/>
              </a:xfrm>
              <a:prstGeom prst="rect">
                <a:avLst/>
              </a:prstGeom>
            </p:spPr>
          </p:pic>
          <p:pic>
            <p:nvPicPr>
              <p:cNvPr id="8" name="Picture 7">
                <a:extLst>
                  <a:ext uri="{FF2B5EF4-FFF2-40B4-BE49-F238E27FC236}">
                    <a16:creationId xmlns:a16="http://schemas.microsoft.com/office/drawing/2014/main" id="{1709DE26-9E84-48A3-886E-F0FF6E971D0D}"/>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2587205" y="2240494"/>
                <a:ext cx="3527845" cy="3420000"/>
              </a:xfrm>
              <a:prstGeom prst="rect">
                <a:avLst/>
              </a:prstGeom>
              <a:ln w="38100">
                <a:solidFill>
                  <a:schemeClr val="bg1"/>
                </a:solidFill>
              </a:ln>
            </p:spPr>
          </p:pic>
        </p:grpSp>
      </p:grpSp>
    </p:spTree>
    <p:extLst>
      <p:ext uri="{BB962C8B-B14F-4D97-AF65-F5344CB8AC3E}">
        <p14:creationId xmlns:p14="http://schemas.microsoft.com/office/powerpoint/2010/main" val="14080869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0CC04F-08D5-0BF7-BAD3-99AD527799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960CC04F-08D5-0BF7-BAD3-99AD527799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F232D2E2-7F6A-64EF-0585-70B3B6AEC85C}"/>
              </a:ext>
            </a:extLst>
          </p:cNvPr>
          <p:cNvSpPr>
            <a:spLocks noGrp="1"/>
          </p:cNvSpPr>
          <p:nvPr>
            <p:ph type="sldNum" sz="quarter" idx="12"/>
          </p:nvPr>
        </p:nvSpPr>
        <p:spPr/>
        <p:txBody>
          <a:bodyPr/>
          <a:lstStyle/>
          <a:p>
            <a:fld id="{992CD0B2-8AB2-4C6C-8876-E15753662C9B}" type="slidenum">
              <a:rPr lang="nl-NL" smtClean="0"/>
              <a:pPr/>
              <a:t>2</a:t>
            </a:fld>
            <a:endParaRPr lang="nl-NL" dirty="0"/>
          </a:p>
        </p:txBody>
      </p:sp>
      <p:pic>
        <p:nvPicPr>
          <p:cNvPr id="3" name="Picture 2" descr="Shape, square&#10;&#10;Description automatically generated">
            <a:extLst>
              <a:ext uri="{FF2B5EF4-FFF2-40B4-BE49-F238E27FC236}">
                <a16:creationId xmlns:a16="http://schemas.microsoft.com/office/drawing/2014/main" id="{6E0CFE43-0528-65B0-98A5-FEED0A14498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4429125" y="2881313"/>
            <a:ext cx="3325123" cy="1737377"/>
          </a:xfrm>
          <a:prstGeom prst="rect">
            <a:avLst/>
          </a:prstGeom>
          <a:solidFill>
            <a:schemeClr val="accent4">
              <a:lumMod val="20000"/>
              <a:lumOff val="80000"/>
            </a:schemeClr>
          </a:solidFill>
        </p:spPr>
      </p:pic>
      <p:pic>
        <p:nvPicPr>
          <p:cNvPr id="26" name="Picture 25">
            <a:extLst>
              <a:ext uri="{FF2B5EF4-FFF2-40B4-BE49-F238E27FC236}">
                <a16:creationId xmlns:a16="http://schemas.microsoft.com/office/drawing/2014/main" id="{4197435F-177D-9AB3-FFC4-A6DD0E1B2C94}"/>
              </a:ext>
            </a:extLst>
          </p:cNvPr>
          <p:cNvPicPr>
            <a:picLocks noChangeAspect="1"/>
          </p:cNvPicPr>
          <p:nvPr/>
        </p:nvPicPr>
        <p:blipFill>
          <a:blip r:embed="rId7"/>
          <a:stretch>
            <a:fillRect/>
          </a:stretch>
        </p:blipFill>
        <p:spPr>
          <a:xfrm>
            <a:off x="6639692" y="3597890"/>
            <a:ext cx="654455" cy="925492"/>
          </a:xfrm>
          <a:prstGeom prst="rect">
            <a:avLst/>
          </a:prstGeom>
          <a:ln w="3175">
            <a:solidFill>
              <a:schemeClr val="bg1">
                <a:lumMod val="50000"/>
              </a:schemeClr>
            </a:solidFill>
          </a:ln>
        </p:spPr>
      </p:pic>
      <p:pic>
        <p:nvPicPr>
          <p:cNvPr id="28" name="Picture 27">
            <a:extLst>
              <a:ext uri="{FF2B5EF4-FFF2-40B4-BE49-F238E27FC236}">
                <a16:creationId xmlns:a16="http://schemas.microsoft.com/office/drawing/2014/main" id="{5360371C-2012-6FFB-A8B2-4037F49A9D83}"/>
              </a:ext>
            </a:extLst>
          </p:cNvPr>
          <p:cNvPicPr>
            <a:picLocks noChangeAspect="1"/>
          </p:cNvPicPr>
          <p:nvPr/>
        </p:nvPicPr>
        <p:blipFill>
          <a:blip r:embed="rId8"/>
          <a:stretch>
            <a:fillRect/>
          </a:stretch>
        </p:blipFill>
        <p:spPr>
          <a:xfrm>
            <a:off x="7091546" y="2891631"/>
            <a:ext cx="651031" cy="924518"/>
          </a:xfrm>
          <a:prstGeom prst="rect">
            <a:avLst/>
          </a:prstGeom>
          <a:ln w="3175">
            <a:solidFill>
              <a:schemeClr val="bg1">
                <a:lumMod val="50000"/>
              </a:schemeClr>
            </a:solidFill>
          </a:ln>
        </p:spPr>
      </p:pic>
      <p:pic>
        <p:nvPicPr>
          <p:cNvPr id="34" name="Picture 33">
            <a:extLst>
              <a:ext uri="{FF2B5EF4-FFF2-40B4-BE49-F238E27FC236}">
                <a16:creationId xmlns:a16="http://schemas.microsoft.com/office/drawing/2014/main" id="{76806765-54CC-5607-A769-822CCF873DEF}"/>
              </a:ext>
            </a:extLst>
          </p:cNvPr>
          <p:cNvPicPr>
            <a:picLocks noChangeAspect="1"/>
          </p:cNvPicPr>
          <p:nvPr/>
        </p:nvPicPr>
        <p:blipFill rotWithShape="1">
          <a:blip r:embed="rId9"/>
          <a:srcRect l="27886" r="-1"/>
          <a:stretch/>
        </p:blipFill>
        <p:spPr>
          <a:xfrm>
            <a:off x="4433888" y="3666085"/>
            <a:ext cx="472113" cy="923176"/>
          </a:xfrm>
          <a:prstGeom prst="rect">
            <a:avLst/>
          </a:prstGeom>
          <a:ln w="3175">
            <a:solidFill>
              <a:schemeClr val="bg1">
                <a:lumMod val="50000"/>
              </a:schemeClr>
            </a:solidFill>
          </a:ln>
        </p:spPr>
      </p:pic>
      <p:pic>
        <p:nvPicPr>
          <p:cNvPr id="18" name="Picture 17">
            <a:extLst>
              <a:ext uri="{FF2B5EF4-FFF2-40B4-BE49-F238E27FC236}">
                <a16:creationId xmlns:a16="http://schemas.microsoft.com/office/drawing/2014/main" id="{4D2491A0-BEB5-7030-57AB-01B2099501A5}"/>
              </a:ext>
            </a:extLst>
          </p:cNvPr>
          <p:cNvPicPr>
            <a:picLocks noChangeAspect="1"/>
          </p:cNvPicPr>
          <p:nvPr/>
        </p:nvPicPr>
        <p:blipFill>
          <a:blip r:embed="rId10"/>
          <a:stretch>
            <a:fillRect/>
          </a:stretch>
        </p:blipFill>
        <p:spPr>
          <a:xfrm>
            <a:off x="4647407" y="2953895"/>
            <a:ext cx="645311" cy="924166"/>
          </a:xfrm>
          <a:prstGeom prst="rect">
            <a:avLst/>
          </a:prstGeom>
          <a:ln w="3175">
            <a:solidFill>
              <a:schemeClr val="bg1">
                <a:lumMod val="50000"/>
              </a:schemeClr>
            </a:solidFill>
          </a:ln>
        </p:spPr>
      </p:pic>
      <p:pic>
        <p:nvPicPr>
          <p:cNvPr id="32" name="Picture 31">
            <a:extLst>
              <a:ext uri="{FF2B5EF4-FFF2-40B4-BE49-F238E27FC236}">
                <a16:creationId xmlns:a16="http://schemas.microsoft.com/office/drawing/2014/main" id="{E5BC173C-6303-D341-7174-3E06E2EC9198}"/>
              </a:ext>
            </a:extLst>
          </p:cNvPr>
          <p:cNvPicPr>
            <a:picLocks noChangeAspect="1"/>
          </p:cNvPicPr>
          <p:nvPr/>
        </p:nvPicPr>
        <p:blipFill>
          <a:blip r:embed="rId11"/>
          <a:stretch>
            <a:fillRect/>
          </a:stretch>
        </p:blipFill>
        <p:spPr>
          <a:xfrm>
            <a:off x="5036241" y="3556277"/>
            <a:ext cx="691929" cy="923445"/>
          </a:xfrm>
          <a:prstGeom prst="rect">
            <a:avLst/>
          </a:prstGeom>
          <a:ln w="3175">
            <a:solidFill>
              <a:schemeClr val="bg1">
                <a:lumMod val="50000"/>
              </a:schemeClr>
            </a:solidFill>
          </a:ln>
        </p:spPr>
      </p:pic>
      <p:pic>
        <p:nvPicPr>
          <p:cNvPr id="20" name="Picture 19">
            <a:extLst>
              <a:ext uri="{FF2B5EF4-FFF2-40B4-BE49-F238E27FC236}">
                <a16:creationId xmlns:a16="http://schemas.microsoft.com/office/drawing/2014/main" id="{52FF6042-FCB7-6BCA-E8A8-620EBFA27062}"/>
              </a:ext>
            </a:extLst>
          </p:cNvPr>
          <p:cNvPicPr>
            <a:picLocks noChangeAspect="1"/>
          </p:cNvPicPr>
          <p:nvPr/>
        </p:nvPicPr>
        <p:blipFill>
          <a:blip r:embed="rId12"/>
          <a:stretch>
            <a:fillRect/>
          </a:stretch>
        </p:blipFill>
        <p:spPr>
          <a:xfrm>
            <a:off x="5456456" y="2898200"/>
            <a:ext cx="652519" cy="924298"/>
          </a:xfrm>
          <a:prstGeom prst="rect">
            <a:avLst/>
          </a:prstGeom>
          <a:ln w="3175">
            <a:solidFill>
              <a:schemeClr val="bg1">
                <a:lumMod val="50000"/>
              </a:schemeClr>
            </a:solidFill>
          </a:ln>
        </p:spPr>
      </p:pic>
      <p:pic>
        <p:nvPicPr>
          <p:cNvPr id="16" name="Picture 15">
            <a:extLst>
              <a:ext uri="{FF2B5EF4-FFF2-40B4-BE49-F238E27FC236}">
                <a16:creationId xmlns:a16="http://schemas.microsoft.com/office/drawing/2014/main" id="{1126C4AB-91EB-2B0D-BA23-E2948AD39B4D}"/>
              </a:ext>
            </a:extLst>
          </p:cNvPr>
          <p:cNvPicPr>
            <a:picLocks noChangeAspect="1"/>
          </p:cNvPicPr>
          <p:nvPr/>
        </p:nvPicPr>
        <p:blipFill>
          <a:blip r:embed="rId13"/>
          <a:stretch>
            <a:fillRect/>
          </a:stretch>
        </p:blipFill>
        <p:spPr>
          <a:xfrm>
            <a:off x="5858410" y="3635253"/>
            <a:ext cx="651043" cy="923845"/>
          </a:xfrm>
          <a:prstGeom prst="rect">
            <a:avLst/>
          </a:prstGeom>
          <a:ln w="3175">
            <a:solidFill>
              <a:schemeClr val="bg1">
                <a:lumMod val="50000"/>
              </a:schemeClr>
            </a:solidFill>
          </a:ln>
        </p:spPr>
      </p:pic>
      <p:pic>
        <p:nvPicPr>
          <p:cNvPr id="22" name="Picture 21">
            <a:extLst>
              <a:ext uri="{FF2B5EF4-FFF2-40B4-BE49-F238E27FC236}">
                <a16:creationId xmlns:a16="http://schemas.microsoft.com/office/drawing/2014/main" id="{15595E8A-2780-00CF-37F0-B8D19E307096}"/>
              </a:ext>
            </a:extLst>
          </p:cNvPr>
          <p:cNvPicPr>
            <a:picLocks noChangeAspect="1"/>
          </p:cNvPicPr>
          <p:nvPr/>
        </p:nvPicPr>
        <p:blipFill>
          <a:blip r:embed="rId14"/>
          <a:stretch>
            <a:fillRect/>
          </a:stretch>
        </p:blipFill>
        <p:spPr>
          <a:xfrm>
            <a:off x="6272713" y="2988148"/>
            <a:ext cx="655096" cy="924841"/>
          </a:xfrm>
          <a:prstGeom prst="rect">
            <a:avLst/>
          </a:prstGeom>
          <a:ln w="3175">
            <a:solidFill>
              <a:schemeClr val="bg1">
                <a:lumMod val="50000"/>
              </a:schemeClr>
            </a:solidFill>
          </a:ln>
        </p:spPr>
      </p:pic>
      <p:pic>
        <p:nvPicPr>
          <p:cNvPr id="24" name="Picture 23">
            <a:extLst>
              <a:ext uri="{FF2B5EF4-FFF2-40B4-BE49-F238E27FC236}">
                <a16:creationId xmlns:a16="http://schemas.microsoft.com/office/drawing/2014/main" id="{F46E0F73-E753-7013-494B-1C9F5E543D8C}"/>
              </a:ext>
            </a:extLst>
          </p:cNvPr>
          <p:cNvPicPr>
            <a:picLocks noChangeAspect="1"/>
          </p:cNvPicPr>
          <p:nvPr/>
        </p:nvPicPr>
        <p:blipFill rotWithShape="1">
          <a:blip r:embed="rId15"/>
          <a:srcRect r="51098"/>
          <a:stretch/>
        </p:blipFill>
        <p:spPr>
          <a:xfrm>
            <a:off x="7424388" y="3659980"/>
            <a:ext cx="319438" cy="924519"/>
          </a:xfrm>
          <a:prstGeom prst="rect">
            <a:avLst/>
          </a:prstGeom>
          <a:ln w="3175">
            <a:solidFill>
              <a:schemeClr val="bg1">
                <a:lumMod val="50000"/>
              </a:schemeClr>
            </a:solidFill>
          </a:ln>
        </p:spPr>
      </p:pic>
      <p:pic>
        <p:nvPicPr>
          <p:cNvPr id="15" name="Picture 14" descr="Shape, square&#10;&#10;Description automatically generated">
            <a:extLst>
              <a:ext uri="{FF2B5EF4-FFF2-40B4-BE49-F238E27FC236}">
                <a16:creationId xmlns:a16="http://schemas.microsoft.com/office/drawing/2014/main" id="{A65F5035-B844-3E81-A150-66C39BAC0265}"/>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4430025" y="2881313"/>
            <a:ext cx="3332850" cy="1737377"/>
          </a:xfrm>
          <a:prstGeom prst="rect">
            <a:avLst/>
          </a:prstGeom>
          <a:gradFill>
            <a:gsLst>
              <a:gs pos="0">
                <a:schemeClr val="accent2">
                  <a:alpha val="66000"/>
                </a:schemeClr>
              </a:gs>
              <a:gs pos="100000">
                <a:schemeClr val="accent4">
                  <a:lumMod val="20000"/>
                  <a:lumOff val="80000"/>
                </a:schemeClr>
              </a:gs>
            </a:gsLst>
            <a:path path="circle">
              <a:fillToRect l="50000" t="50000" r="50000" b="50000"/>
            </a:path>
          </a:gradFill>
        </p:spPr>
      </p:pic>
      <p:sp>
        <p:nvSpPr>
          <p:cNvPr id="17" name="Google Shape;624;p13">
            <a:extLst>
              <a:ext uri="{FF2B5EF4-FFF2-40B4-BE49-F238E27FC236}">
                <a16:creationId xmlns:a16="http://schemas.microsoft.com/office/drawing/2014/main" id="{1A9F3025-E486-65DF-B531-D9AEEC6DF950}"/>
              </a:ext>
            </a:extLst>
          </p:cNvPr>
          <p:cNvSpPr/>
          <p:nvPr/>
        </p:nvSpPr>
        <p:spPr>
          <a:xfrm>
            <a:off x="4428438" y="3514725"/>
            <a:ext cx="3332850" cy="428048"/>
          </a:xfrm>
          <a:prstGeom prst="rect">
            <a:avLst/>
          </a:prstGeom>
          <a:solidFill>
            <a:schemeClr val="bg1"/>
          </a:solidFill>
          <a:ln>
            <a:noFill/>
          </a:ln>
          <a:effectLst>
            <a:outerShdw blurRad="50800" dist="38100" dir="2700000" algn="tl" rotWithShape="0">
              <a:srgbClr val="000000">
                <a:alpha val="40000"/>
              </a:srgbClr>
            </a:outerShdw>
          </a:effectLst>
        </p:spPr>
        <p:txBody>
          <a:bodyPr spcFirstLastPara="1" wrap="square" lIns="54000" tIns="72000" rIns="54000" bIns="720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b="1" i="0" u="none" strike="noStrike" cap="none" dirty="0">
                <a:solidFill>
                  <a:srgbClr val="22777B"/>
                </a:solidFill>
                <a:ea typeface="Corbel"/>
                <a:cs typeface="Corbel"/>
                <a:sym typeface="Corbel" panose="020B0503020204020204" pitchFamily="34" charset="0"/>
              </a:rPr>
              <a:t>Verzamelde Coalitieakkoorden</a:t>
            </a:r>
            <a:br>
              <a:rPr lang="nl-NL" b="1" i="0" u="none" strike="noStrike" cap="none" dirty="0">
                <a:solidFill>
                  <a:srgbClr val="22777B"/>
                </a:solidFill>
                <a:ea typeface="Corbel"/>
                <a:cs typeface="Corbel"/>
                <a:sym typeface="Corbel" panose="020B0503020204020204" pitchFamily="34" charset="0"/>
              </a:rPr>
            </a:br>
            <a:r>
              <a:rPr lang="nl-NL" b="1" i="0" u="none" strike="noStrike" cap="none" dirty="0">
                <a:solidFill>
                  <a:srgbClr val="22777B"/>
                </a:solidFill>
                <a:ea typeface="Corbel"/>
                <a:cs typeface="Corbel"/>
                <a:sym typeface="Corbel" panose="020B0503020204020204" pitchFamily="34" charset="0"/>
              </a:rPr>
              <a:t>2022-2026</a:t>
            </a:r>
          </a:p>
        </p:txBody>
      </p:sp>
      <p:pic>
        <p:nvPicPr>
          <p:cNvPr id="2" name="Picture 1" descr="Icon&#10;&#10;Description automatically generated">
            <a:extLst>
              <a:ext uri="{FF2B5EF4-FFF2-40B4-BE49-F238E27FC236}">
                <a16:creationId xmlns:a16="http://schemas.microsoft.com/office/drawing/2014/main" id="{24BA19E8-3F2D-0FE2-8445-F3B027DF3A73}"/>
              </a:ext>
            </a:extLst>
          </p:cNvPr>
          <p:cNvPicPr>
            <a:picLocks noChangeAspect="1"/>
          </p:cNvPicPr>
          <p:nvPr/>
        </p:nvPicPr>
        <p:blipFill>
          <a:blip r:embed="rId16"/>
          <a:stretch>
            <a:fillRect/>
          </a:stretch>
        </p:blipFill>
        <p:spPr>
          <a:xfrm>
            <a:off x="7603227" y="3537832"/>
            <a:ext cx="122148" cy="122148"/>
          </a:xfrm>
          <a:prstGeom prst="rect">
            <a:avLst/>
          </a:prstGeom>
        </p:spPr>
      </p:pic>
    </p:spTree>
    <p:extLst>
      <p:ext uri="{BB962C8B-B14F-4D97-AF65-F5344CB8AC3E}">
        <p14:creationId xmlns:p14="http://schemas.microsoft.com/office/powerpoint/2010/main" val="14860517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421428" y="-1830764"/>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0</a:t>
            </a:fld>
            <a:endParaRPr lang="nl-NL" dirty="0">
              <a:sym typeface="Corbel" panose="020B0503020204020204" pitchFamily="34" charset="0"/>
            </a:endParaRPr>
          </a:p>
        </p:txBody>
      </p:sp>
      <p:grpSp>
        <p:nvGrpSpPr>
          <p:cNvPr id="5" name="Group 4">
            <a:extLst>
              <a:ext uri="{FF2B5EF4-FFF2-40B4-BE49-F238E27FC236}">
                <a16:creationId xmlns:a16="http://schemas.microsoft.com/office/drawing/2014/main" id="{1B3E2C83-E650-4435-A9BB-5F71567BE134}"/>
              </a:ext>
            </a:extLst>
          </p:cNvPr>
          <p:cNvGrpSpPr/>
          <p:nvPr/>
        </p:nvGrpSpPr>
        <p:grpSpPr>
          <a:xfrm>
            <a:off x="2329566" y="1655351"/>
            <a:ext cx="7484164" cy="4590287"/>
            <a:chOff x="2329566" y="1655351"/>
            <a:chExt cx="7484164" cy="4590287"/>
          </a:xfrm>
        </p:grpSpPr>
        <p:sp>
          <p:nvSpPr>
            <p:cNvPr id="542" name="Google Shape;542;p9"/>
            <p:cNvSpPr/>
            <p:nvPr/>
          </p:nvSpPr>
          <p:spPr>
            <a:xfrm>
              <a:off x="2329566"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chemeClr val="tx2"/>
                </a:gs>
                <a:gs pos="100000">
                  <a:schemeClr val="accent4"/>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grpSp>
          <p:nvGrpSpPr>
            <p:cNvPr id="3" name="Group 2">
              <a:extLst>
                <a:ext uri="{FF2B5EF4-FFF2-40B4-BE49-F238E27FC236}">
                  <a16:creationId xmlns:a16="http://schemas.microsoft.com/office/drawing/2014/main" id="{06068A5A-0B61-45CC-A95C-B3847725FBB4}"/>
                </a:ext>
              </a:extLst>
            </p:cNvPr>
            <p:cNvGrpSpPr/>
            <p:nvPr/>
          </p:nvGrpSpPr>
          <p:grpSpPr>
            <a:xfrm>
              <a:off x="2524367" y="2222494"/>
              <a:ext cx="7094562" cy="3456000"/>
              <a:chOff x="2587205" y="2221444"/>
              <a:chExt cx="7094562" cy="3456000"/>
            </a:xfrm>
          </p:grpSpPr>
          <p:sp>
            <p:nvSpPr>
              <p:cNvPr id="16" name="Google Shape;545;p9">
                <a:extLst>
                  <a:ext uri="{FF2B5EF4-FFF2-40B4-BE49-F238E27FC236}">
                    <a16:creationId xmlns:a16="http://schemas.microsoft.com/office/drawing/2014/main" id="{8CC42EBB-39C7-4CE3-A015-939676939AC8}"/>
                  </a:ext>
                </a:extLst>
              </p:cNvPr>
              <p:cNvSpPr/>
              <p:nvPr/>
            </p:nvSpPr>
            <p:spPr>
              <a:xfrm>
                <a:off x="6153767" y="2221444"/>
                <a:ext cx="3528000" cy="3456000"/>
              </a:xfrm>
              <a:prstGeom prst="rect">
                <a:avLst/>
              </a:prstGeom>
              <a:solidFill>
                <a:srgbClr val="22777B">
                  <a:alpha val="80000"/>
                </a:srgbClr>
              </a:solidFill>
              <a:ln w="38100">
                <a:solidFill>
                  <a:schemeClr val="bg1"/>
                </a:solidFill>
              </a:ln>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600" dirty="0">
                    <a:solidFill>
                      <a:srgbClr val="FFFFFF"/>
                    </a:solidFill>
                    <a:ea typeface="Corbel"/>
                    <a:cs typeface="Corbel"/>
                    <a:sym typeface="Corbel" panose="020B0503020204020204" pitchFamily="34" charset="0"/>
                  </a:rPr>
                  <a:t>Oefencase</a:t>
                </a:r>
                <a:endParaRPr lang="nl-NL" sz="1600" i="0" u="none" strike="noStrike" cap="none" dirty="0">
                  <a:solidFill>
                    <a:srgbClr val="FFFFFF"/>
                  </a:solidFill>
                  <a:ea typeface="Corbel"/>
                  <a:cs typeface="Corbel"/>
                  <a:sym typeface="Corbel" panose="020B0503020204020204" pitchFamily="34" charset="0"/>
                </a:endParaRPr>
              </a:p>
              <a:p>
                <a:pPr marL="0" marR="0" lvl="0" indent="0" algn="ctr">
                  <a:lnSpc>
                    <a:spcPct val="90000"/>
                  </a:lnSpc>
                  <a:spcBef>
                    <a:spcPts val="0"/>
                  </a:spcBef>
                  <a:spcAft>
                    <a:spcPts val="0"/>
                  </a:spcAft>
                  <a:buClr>
                    <a:srgbClr val="FF0000"/>
                  </a:buClr>
                  <a:buSzPts val="1400"/>
                  <a:buFont typeface="Noto Sans Symbols"/>
                  <a:buNone/>
                </a:pPr>
                <a:r>
                  <a:rPr lang="nl-NL" sz="2400" b="1" i="0" u="none" strike="noStrike" cap="none" dirty="0">
                    <a:solidFill>
                      <a:srgbClr val="FFFFFF"/>
                    </a:solidFill>
                    <a:latin typeface="Garamond" panose="02020404030301010803" pitchFamily="18" charset="0"/>
                    <a:ea typeface="Corbel"/>
                    <a:cs typeface="Corbel"/>
                    <a:sym typeface="Corbel" panose="020B0503020204020204" pitchFamily="34" charset="0"/>
                  </a:rPr>
                  <a:t>Het lerarentekort in Amsterdam</a:t>
                </a:r>
                <a:endParaRPr lang="nl-NL" sz="2400" b="1" dirty="0">
                  <a:solidFill>
                    <a:srgbClr val="FFFFFF"/>
                  </a:solidFill>
                  <a:latin typeface="Garamond" panose="02020404030301010803" pitchFamily="18" charset="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249972" y="2321868"/>
                <a:ext cx="287720" cy="287720"/>
              </a:xfrm>
              <a:prstGeom prst="rect">
                <a:avLst/>
              </a:prstGeom>
            </p:spPr>
          </p:pic>
          <p:pic>
            <p:nvPicPr>
              <p:cNvPr id="6" name="Picture 5" descr="Logo&#10;&#10;Description automatically generated">
                <a:extLst>
                  <a:ext uri="{FF2B5EF4-FFF2-40B4-BE49-F238E27FC236}">
                    <a16:creationId xmlns:a16="http://schemas.microsoft.com/office/drawing/2014/main" id="{A9E1912C-6B00-40DC-8F07-300F68D7F746}"/>
                  </a:ext>
                </a:extLst>
              </p:cNvPr>
              <p:cNvPicPr>
                <a:picLocks noChangeAspect="1"/>
              </p:cNvPicPr>
              <p:nvPr/>
            </p:nvPicPr>
            <p:blipFill>
              <a:blip r:embed="rId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8729527" y="2347913"/>
                <a:ext cx="585485" cy="153711"/>
              </a:xfrm>
              <a:prstGeom prst="rect">
                <a:avLst/>
              </a:prstGeom>
            </p:spPr>
          </p:pic>
          <p:pic>
            <p:nvPicPr>
              <p:cNvPr id="8" name="Picture 7">
                <a:extLst>
                  <a:ext uri="{FF2B5EF4-FFF2-40B4-BE49-F238E27FC236}">
                    <a16:creationId xmlns:a16="http://schemas.microsoft.com/office/drawing/2014/main" id="{1709DE26-9E84-48A3-886E-F0FF6E971D0D}"/>
                  </a:ext>
                </a:extLst>
              </p:cNvPr>
              <p:cNvPicPr>
                <a:picLocks noChangeAspect="1"/>
              </p:cNvPicPr>
              <p:nvPr/>
            </p:nvPicPr>
            <p:blipFill>
              <a:blip r:embed="rId8" cstate="hqprint">
                <a:extLst>
                  <a:ext uri="{28A0092B-C50C-407E-A947-70E740481C1C}">
                    <a14:useLocalDpi xmlns:a14="http://schemas.microsoft.com/office/drawing/2010/main"/>
                  </a:ext>
                </a:extLst>
              </a:blip>
              <a:srcRect/>
              <a:stretch/>
            </p:blipFill>
            <p:spPr>
              <a:xfrm>
                <a:off x="2587205" y="2240494"/>
                <a:ext cx="3527845" cy="3420000"/>
              </a:xfrm>
              <a:prstGeom prst="rect">
                <a:avLst/>
              </a:prstGeom>
              <a:ln w="38100">
                <a:solidFill>
                  <a:schemeClr val="bg1"/>
                </a:solidFill>
              </a:ln>
            </p:spPr>
          </p:pic>
        </p:grpSp>
      </p:grpSp>
      <p:pic>
        <p:nvPicPr>
          <p:cNvPr id="9" name="Picture 8" descr="A group of children in a classroom&#10;&#10;Description automatically generated with medium confidence">
            <a:extLst>
              <a:ext uri="{FF2B5EF4-FFF2-40B4-BE49-F238E27FC236}">
                <a16:creationId xmlns:a16="http://schemas.microsoft.com/office/drawing/2014/main" id="{B3E84F67-6E3E-4231-8CDA-25759B4F4223}"/>
              </a:ext>
            </a:extLst>
          </p:cNvPr>
          <p:cNvPicPr>
            <a:picLocks noChangeAspect="1"/>
          </p:cNvPicPr>
          <p:nvPr/>
        </p:nvPicPr>
        <p:blipFill rotWithShape="1">
          <a:blip r:embed="rId9"/>
          <a:srcRect l="-4" t="6006" r="3063"/>
          <a:stretch/>
        </p:blipFill>
        <p:spPr>
          <a:xfrm>
            <a:off x="2524212" y="2240494"/>
            <a:ext cx="3528000" cy="3420000"/>
          </a:xfrm>
          <a:prstGeom prst="rect">
            <a:avLst/>
          </a:prstGeom>
          <a:ln w="38100">
            <a:solidFill>
              <a:schemeClr val="bg1"/>
            </a:solidFill>
          </a:ln>
        </p:spPr>
      </p:pic>
      <p:pic>
        <p:nvPicPr>
          <p:cNvPr id="13" name="Graphic 12" descr="Paper with solid fill">
            <a:extLst>
              <a:ext uri="{FF2B5EF4-FFF2-40B4-BE49-F238E27FC236}">
                <a16:creationId xmlns:a16="http://schemas.microsoft.com/office/drawing/2014/main" id="{7EE1E5EA-3A7F-41F9-A799-9E1084FB1D5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21210876">
            <a:off x="6295572" y="2631565"/>
            <a:ext cx="914400" cy="914400"/>
          </a:xfrm>
          <a:prstGeom prst="rect">
            <a:avLst/>
          </a:prstGeom>
        </p:spPr>
      </p:pic>
      <p:pic>
        <p:nvPicPr>
          <p:cNvPr id="15" name="Graphic 14" descr="Pencil with solid fill">
            <a:extLst>
              <a:ext uri="{FF2B5EF4-FFF2-40B4-BE49-F238E27FC236}">
                <a16:creationId xmlns:a16="http://schemas.microsoft.com/office/drawing/2014/main" id="{7BA7AE87-C722-4F0C-8C25-431B63EF8A7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173878" y="2570916"/>
            <a:ext cx="481474" cy="481474"/>
          </a:xfrm>
          <a:prstGeom prst="rect">
            <a:avLst/>
          </a:prstGeom>
        </p:spPr>
      </p:pic>
    </p:spTree>
    <p:extLst>
      <p:ext uri="{BB962C8B-B14F-4D97-AF65-F5344CB8AC3E}">
        <p14:creationId xmlns:p14="http://schemas.microsoft.com/office/powerpoint/2010/main" val="11984376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430953" y="-1830764"/>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2" name="Google Shape;542;p9"/>
          <p:cNvSpPr/>
          <p:nvPr/>
        </p:nvSpPr>
        <p:spPr>
          <a:xfrm>
            <a:off x="2329566"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rgbClr val="BF211E"/>
              </a:gs>
              <a:gs pos="100000">
                <a:srgbClr val="FFBD42"/>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1</a:t>
            </a:fld>
            <a:endParaRPr lang="nl-NL" dirty="0">
              <a:sym typeface="Corbel" panose="020B0503020204020204" pitchFamily="34" charset="0"/>
            </a:endParaRPr>
          </a:p>
        </p:txBody>
      </p:sp>
      <p:grpSp>
        <p:nvGrpSpPr>
          <p:cNvPr id="3" name="Group 2">
            <a:extLst>
              <a:ext uri="{FF2B5EF4-FFF2-40B4-BE49-F238E27FC236}">
                <a16:creationId xmlns:a16="http://schemas.microsoft.com/office/drawing/2014/main" id="{06068A5A-0B61-45CC-A95C-B3847725FBB4}"/>
              </a:ext>
            </a:extLst>
          </p:cNvPr>
          <p:cNvGrpSpPr/>
          <p:nvPr/>
        </p:nvGrpSpPr>
        <p:grpSpPr>
          <a:xfrm>
            <a:off x="2524367" y="2222494"/>
            <a:ext cx="7094562" cy="3456000"/>
            <a:chOff x="2587205" y="2221444"/>
            <a:chExt cx="7094562" cy="3456000"/>
          </a:xfrm>
        </p:grpSpPr>
        <p:sp>
          <p:nvSpPr>
            <p:cNvPr id="16" name="Google Shape;545;p9">
              <a:extLst>
                <a:ext uri="{FF2B5EF4-FFF2-40B4-BE49-F238E27FC236}">
                  <a16:creationId xmlns:a16="http://schemas.microsoft.com/office/drawing/2014/main" id="{8CC42EBB-39C7-4CE3-A015-939676939AC8}"/>
                </a:ext>
              </a:extLst>
            </p:cNvPr>
            <p:cNvSpPr/>
            <p:nvPr/>
          </p:nvSpPr>
          <p:spPr>
            <a:xfrm>
              <a:off x="6153767" y="2221444"/>
              <a:ext cx="3528000" cy="3456000"/>
            </a:xfrm>
            <a:prstGeom prst="rect">
              <a:avLst/>
            </a:prstGeom>
            <a:noFill/>
            <a:ln w="38100">
              <a:solidFill>
                <a:schemeClr val="bg1"/>
              </a:solidFill>
            </a:ln>
            <a:extLst>
              <a:ext uri="{909E8E84-426E-40DD-AFC4-6F175D3DCCD1}">
                <a14:hiddenFill xmlns:a14="http://schemas.microsoft.com/office/drawing/2010/main">
                  <a:solidFill>
                    <a:schemeClr val="accent4">
                      <a:alpha val="80000"/>
                    </a:schemeClr>
                  </a:solidFill>
                </a14:hiddenFill>
              </a:ext>
            </a:extLst>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600" dirty="0">
                  <a:solidFill>
                    <a:srgbClr val="FFFFFF"/>
                  </a:solidFill>
                  <a:ea typeface="Corbel"/>
                  <a:cs typeface="Corbel"/>
                  <a:sym typeface="Corbel" panose="020B0503020204020204" pitchFamily="34" charset="0"/>
                </a:rPr>
                <a:t>Toekomstbestendig doelgroepenvervoer</a:t>
              </a:r>
              <a:endParaRPr lang="nl-NL" sz="1600" i="0" u="none" strike="noStrike" cap="none" dirty="0">
                <a:solidFill>
                  <a:srgbClr val="FFFFFF"/>
                </a:solidFill>
                <a:ea typeface="Corbel"/>
                <a:cs typeface="Corbel"/>
                <a:sym typeface="Corbel" panose="020B0503020204020204" pitchFamily="34" charset="0"/>
              </a:endParaRPr>
            </a:p>
            <a:p>
              <a:pPr marL="0" marR="0" lvl="0" indent="0" algn="ctr">
                <a:lnSpc>
                  <a:spcPct val="90000"/>
                </a:lnSpc>
                <a:spcBef>
                  <a:spcPts val="0"/>
                </a:spcBef>
                <a:spcAft>
                  <a:spcPts val="0"/>
                </a:spcAft>
                <a:buClr>
                  <a:srgbClr val="FF0000"/>
                </a:buClr>
                <a:buSzPts val="1400"/>
                <a:buFont typeface="Noto Sans Symbols"/>
                <a:buNone/>
              </a:pPr>
              <a:r>
                <a:rPr lang="nl-NL" sz="3200" b="1" i="0" u="none" strike="noStrike" cap="none" dirty="0">
                  <a:solidFill>
                    <a:srgbClr val="FFFFFF"/>
                  </a:solidFill>
                  <a:latin typeface="Garamond" panose="02020404030301010803" pitchFamily="18" charset="0"/>
                  <a:ea typeface="Corbel"/>
                  <a:cs typeface="Corbel"/>
                  <a:sym typeface="Corbel" panose="020B0503020204020204" pitchFamily="34" charset="0"/>
                </a:rPr>
                <a:t> </a:t>
              </a:r>
              <a:r>
                <a:rPr lang="nl-NL" sz="2400" b="1" dirty="0">
                  <a:solidFill>
                    <a:srgbClr val="FFFFFF"/>
                  </a:solidFill>
                  <a:latin typeface="Garamond" panose="02020404030301010803" pitchFamily="18" charset="0"/>
                  <a:sym typeface="Corbel" panose="020B0503020204020204" pitchFamily="34" charset="0"/>
                </a:rPr>
                <a:t>Van A naar B: hoe organiseer je een inclusief en betaalbaar mobiliteitssysteem?</a:t>
              </a:r>
              <a:r>
                <a:rPr lang="nl-NL" sz="2400" b="1" dirty="0">
                  <a:solidFill>
                    <a:srgbClr val="FFFFFF"/>
                  </a:solidFill>
                  <a:sym typeface="Corbel" panose="020B0503020204020204" pitchFamily="34" charset="0"/>
                </a:rPr>
                <a:t> </a:t>
              </a:r>
              <a:endParaRPr lang="nl-NL" sz="2800" b="1" dirty="0">
                <a:solidFill>
                  <a:srgbClr val="FFFFFF"/>
                </a:solidFill>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249972" y="2321868"/>
              <a:ext cx="287720" cy="287720"/>
            </a:xfrm>
            <a:prstGeom prst="rect">
              <a:avLst/>
            </a:prstGeom>
          </p:spPr>
        </p:pic>
        <p:pic>
          <p:nvPicPr>
            <p:cNvPr id="6" name="Picture 5" descr="Logo&#10;&#10;Description automatically generated">
              <a:extLst>
                <a:ext uri="{FF2B5EF4-FFF2-40B4-BE49-F238E27FC236}">
                  <a16:creationId xmlns:a16="http://schemas.microsoft.com/office/drawing/2014/main" id="{A9E1912C-6B00-40DC-8F07-300F68D7F746}"/>
                </a:ext>
              </a:extLst>
            </p:cNvPr>
            <p:cNvPicPr>
              <a:picLocks noChangeAspect="1"/>
            </p:cNvPicPr>
            <p:nvPr/>
          </p:nvPicPr>
          <p:blipFill>
            <a:blip r:embed="rId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8729527" y="2347913"/>
              <a:ext cx="585485" cy="153711"/>
            </a:xfrm>
            <a:prstGeom prst="rect">
              <a:avLst/>
            </a:prstGeom>
          </p:spPr>
        </p:pic>
        <p:pic>
          <p:nvPicPr>
            <p:cNvPr id="8" name="Picture 7" descr="A person standing next to a train&#10;&#10;Description automatically generated with medium confidence">
              <a:extLst>
                <a:ext uri="{FF2B5EF4-FFF2-40B4-BE49-F238E27FC236}">
                  <a16:creationId xmlns:a16="http://schemas.microsoft.com/office/drawing/2014/main" id="{1709DE26-9E84-48A3-886E-F0FF6E971D0D}"/>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a:stretch/>
          </p:blipFill>
          <p:spPr>
            <a:xfrm>
              <a:off x="2587205" y="2240494"/>
              <a:ext cx="3527845" cy="3420000"/>
            </a:xfrm>
            <a:prstGeom prst="rect">
              <a:avLst/>
            </a:prstGeom>
            <a:ln w="38100">
              <a:solidFill>
                <a:schemeClr val="bg1"/>
              </a:solidFill>
            </a:ln>
          </p:spPr>
        </p:pic>
      </p:grpSp>
    </p:spTree>
    <p:extLst>
      <p:ext uri="{BB962C8B-B14F-4D97-AF65-F5344CB8AC3E}">
        <p14:creationId xmlns:p14="http://schemas.microsoft.com/office/powerpoint/2010/main" val="256315236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430953" y="-1830764"/>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2" name="Google Shape;542;p9"/>
          <p:cNvSpPr/>
          <p:nvPr/>
        </p:nvSpPr>
        <p:spPr>
          <a:xfrm>
            <a:off x="2329566"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rgbClr val="BF211E"/>
              </a:gs>
              <a:gs pos="100000">
                <a:srgbClr val="FFBD42"/>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2</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187134" y="1773833"/>
            <a:ext cx="287720" cy="287720"/>
          </a:xfrm>
          <a:prstGeom prst="rect">
            <a:avLst/>
          </a:prstGeom>
        </p:spPr>
      </p:pic>
      <p:pic>
        <p:nvPicPr>
          <p:cNvPr id="6" name="Picture 5" descr="Logo&#10;&#10;Description automatically generated">
            <a:extLst>
              <a:ext uri="{FF2B5EF4-FFF2-40B4-BE49-F238E27FC236}">
                <a16:creationId xmlns:a16="http://schemas.microsoft.com/office/drawing/2014/main" id="{A9E1912C-6B00-40DC-8F07-300F68D7F746}"/>
              </a:ext>
            </a:extLst>
          </p:cNvPr>
          <p:cNvPicPr>
            <a:picLocks noChangeAspect="1"/>
          </p:cNvPicPr>
          <p:nvPr/>
        </p:nvPicPr>
        <p:blipFill>
          <a:blip r:embed="rId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8666689" y="1799878"/>
            <a:ext cx="585485" cy="153711"/>
          </a:xfrm>
          <a:prstGeom prst="rect">
            <a:avLst/>
          </a:prstGeom>
        </p:spPr>
      </p:pic>
      <p:pic>
        <p:nvPicPr>
          <p:cNvPr id="10" name="Picture 9">
            <a:extLst>
              <a:ext uri="{FF2B5EF4-FFF2-40B4-BE49-F238E27FC236}">
                <a16:creationId xmlns:a16="http://schemas.microsoft.com/office/drawing/2014/main" id="{41483924-F20B-4069-AC84-798515AAF6B0}"/>
              </a:ext>
            </a:extLst>
          </p:cNvPr>
          <p:cNvPicPr>
            <a:picLocks noChangeAspect="1"/>
          </p:cNvPicPr>
          <p:nvPr/>
        </p:nvPicPr>
        <p:blipFill>
          <a:blip r:embed="rId8"/>
          <a:stretch>
            <a:fillRect/>
          </a:stretch>
        </p:blipFill>
        <p:spPr>
          <a:xfrm>
            <a:off x="2641980" y="2185378"/>
            <a:ext cx="2771792" cy="2160000"/>
          </a:xfrm>
          <a:prstGeom prst="rect">
            <a:avLst/>
          </a:prstGeom>
          <a:ln w="19050">
            <a:solidFill>
              <a:srgbClr val="FFFFFF"/>
            </a:solidFill>
          </a:ln>
        </p:spPr>
      </p:pic>
      <p:pic>
        <p:nvPicPr>
          <p:cNvPr id="12" name="Picture 11">
            <a:extLst>
              <a:ext uri="{FF2B5EF4-FFF2-40B4-BE49-F238E27FC236}">
                <a16:creationId xmlns:a16="http://schemas.microsoft.com/office/drawing/2014/main" id="{58689EE4-51C1-4471-8083-04BDDAEDC15C}"/>
              </a:ext>
            </a:extLst>
          </p:cNvPr>
          <p:cNvPicPr>
            <a:picLocks noChangeAspect="1"/>
          </p:cNvPicPr>
          <p:nvPr/>
        </p:nvPicPr>
        <p:blipFill>
          <a:blip r:embed="rId9"/>
          <a:stretch>
            <a:fillRect/>
          </a:stretch>
        </p:blipFill>
        <p:spPr>
          <a:xfrm>
            <a:off x="3741909" y="2689147"/>
            <a:ext cx="2674711" cy="2160000"/>
          </a:xfrm>
          <a:prstGeom prst="rect">
            <a:avLst/>
          </a:prstGeom>
          <a:ln w="19050">
            <a:solidFill>
              <a:srgbClr val="FFFFFF"/>
            </a:solidFill>
          </a:ln>
        </p:spPr>
      </p:pic>
      <p:pic>
        <p:nvPicPr>
          <p:cNvPr id="14" name="Picture 13">
            <a:extLst>
              <a:ext uri="{FF2B5EF4-FFF2-40B4-BE49-F238E27FC236}">
                <a16:creationId xmlns:a16="http://schemas.microsoft.com/office/drawing/2014/main" id="{823D45DA-3111-47CC-AC62-9FD10140D91A}"/>
              </a:ext>
            </a:extLst>
          </p:cNvPr>
          <p:cNvPicPr>
            <a:picLocks noChangeAspect="1"/>
          </p:cNvPicPr>
          <p:nvPr/>
        </p:nvPicPr>
        <p:blipFill>
          <a:blip r:embed="rId10"/>
          <a:stretch>
            <a:fillRect/>
          </a:stretch>
        </p:blipFill>
        <p:spPr>
          <a:xfrm>
            <a:off x="4744757" y="3192916"/>
            <a:ext cx="2650518" cy="2160000"/>
          </a:xfrm>
          <a:prstGeom prst="rect">
            <a:avLst/>
          </a:prstGeom>
          <a:ln w="19050">
            <a:solidFill>
              <a:srgbClr val="FFFFFF"/>
            </a:solidFill>
          </a:ln>
        </p:spPr>
      </p:pic>
      <p:pic>
        <p:nvPicPr>
          <p:cNvPr id="17" name="Picture 16">
            <a:extLst>
              <a:ext uri="{FF2B5EF4-FFF2-40B4-BE49-F238E27FC236}">
                <a16:creationId xmlns:a16="http://schemas.microsoft.com/office/drawing/2014/main" id="{561C6751-E927-4215-9F50-3BD528B5289B}"/>
              </a:ext>
            </a:extLst>
          </p:cNvPr>
          <p:cNvPicPr>
            <a:picLocks noChangeAspect="1"/>
          </p:cNvPicPr>
          <p:nvPr/>
        </p:nvPicPr>
        <p:blipFill>
          <a:blip r:embed="rId11"/>
          <a:stretch>
            <a:fillRect/>
          </a:stretch>
        </p:blipFill>
        <p:spPr>
          <a:xfrm>
            <a:off x="5723411" y="3696685"/>
            <a:ext cx="2784816" cy="2160000"/>
          </a:xfrm>
          <a:prstGeom prst="rect">
            <a:avLst/>
          </a:prstGeom>
          <a:ln w="19050">
            <a:solidFill>
              <a:srgbClr val="FFFFFF"/>
            </a:solidFill>
          </a:ln>
        </p:spPr>
      </p:pic>
      <p:sp>
        <p:nvSpPr>
          <p:cNvPr id="18" name="Speech Bubble: Rectangle 17">
            <a:extLst>
              <a:ext uri="{FF2B5EF4-FFF2-40B4-BE49-F238E27FC236}">
                <a16:creationId xmlns:a16="http://schemas.microsoft.com/office/drawing/2014/main" id="{B2A0B9C6-F085-4249-BFB7-B668061E1658}"/>
              </a:ext>
            </a:extLst>
          </p:cNvPr>
          <p:cNvSpPr/>
          <p:nvPr/>
        </p:nvSpPr>
        <p:spPr>
          <a:xfrm>
            <a:off x="7567484" y="2253190"/>
            <a:ext cx="1831780" cy="923925"/>
          </a:xfrm>
          <a:prstGeom prst="wedgeRectCallout">
            <a:avLst>
              <a:gd name="adj1" fmla="val -45272"/>
              <a:gd name="adj2" fmla="val 72810"/>
            </a:avLst>
          </a:prstGeom>
          <a:noFill/>
          <a:ln w="19050" cap="flat">
            <a:solidFill>
              <a:srgbClr val="FFFFFF"/>
            </a:solid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FFFFFF"/>
                </a:solidFill>
                <a:latin typeface="Garamond" panose="02020404030301010803" pitchFamily="18" charset="0"/>
                <a:sym typeface="Corbel" panose="020B0503020204020204" pitchFamily="34" charset="0"/>
              </a:rPr>
              <a:t>Leer meer over It’s Public projecten op onze </a:t>
            </a:r>
            <a:r>
              <a:rPr lang="nl-NL" sz="1400" b="1" dirty="0">
                <a:solidFill>
                  <a:srgbClr val="FFFFFF"/>
                </a:solidFill>
                <a:latin typeface="Garamond" panose="02020404030301010803" pitchFamily="18" charset="0"/>
                <a:sym typeface="Corbel" panose="020B0503020204020204" pitchFamily="34" charset="0"/>
              </a:rPr>
              <a:t>themapagina’s!</a:t>
            </a:r>
            <a:endParaRPr lang="nl-NL" dirty="0"/>
          </a:p>
        </p:txBody>
      </p:sp>
    </p:spTree>
    <p:extLst>
      <p:ext uri="{BB962C8B-B14F-4D97-AF65-F5344CB8AC3E}">
        <p14:creationId xmlns:p14="http://schemas.microsoft.com/office/powerpoint/2010/main" val="4627896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5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0802A4-28CF-4CD0-BDAF-092CC7C15CDC}"/>
              </a:ext>
            </a:extLst>
          </p:cNvPr>
          <p:cNvGraphicFramePr>
            <a:graphicFrameLocks noChangeAspect="1"/>
          </p:cNvGraphicFramePr>
          <p:nvPr>
            <p:custDataLst>
              <p:tags r:id="rId1"/>
            </p:custDataLst>
            <p:extLst>
              <p:ext uri="{D42A27DB-BD31-4B8C-83A1-F6EECF244321}">
                <p14:modId xmlns:p14="http://schemas.microsoft.com/office/powerpoint/2010/main" val="2255229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0802A4-28CF-4CD0-BDAF-092CC7C15C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4" name="Google Shape;534;p8"/>
          <p:cNvSpPr txBox="1">
            <a:spLocks noGrp="1"/>
          </p:cNvSpPr>
          <p:nvPr>
            <p:ph type="sldNum" idx="12"/>
          </p:nvPr>
        </p:nvSpPr>
        <p:spPr>
          <a:xfrm>
            <a:off x="10510048" y="6578762"/>
            <a:ext cx="1023140" cy="168275"/>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3</a:t>
            </a:fld>
            <a:endParaRPr lang="nl-NL" dirty="0">
              <a:sym typeface="Corbel" panose="020B0503020204020204" pitchFamily="34" charset="0"/>
            </a:endParaRPr>
          </a:p>
        </p:txBody>
      </p:sp>
      <p:sp>
        <p:nvSpPr>
          <p:cNvPr id="535" name="Google Shape;535;p8"/>
          <p:cNvSpPr txBox="1">
            <a:spLocks noGrp="1"/>
          </p:cNvSpPr>
          <p:nvPr>
            <p:ph type="body" idx="1"/>
          </p:nvPr>
        </p:nvSpPr>
        <p:spPr>
          <a:xfrm>
            <a:off x="658814" y="2019300"/>
            <a:ext cx="10874374" cy="4953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4000"/>
              <a:buNone/>
            </a:pPr>
            <a:r>
              <a:rPr lang="nl-NL">
                <a:sym typeface="Corbel" panose="020B0503020204020204" pitchFamily="34" charset="0"/>
              </a:rPr>
              <a:t>Templates</a:t>
            </a:r>
            <a:endParaRPr lang="nl-NL" dirty="0">
              <a:sym typeface="Corbel" panose="020B0503020204020204" pitchFamily="34" charset="0"/>
            </a:endParaRPr>
          </a:p>
        </p:txBody>
      </p:sp>
      <p:sp>
        <p:nvSpPr>
          <p:cNvPr id="536" name="Google Shape;536;p8"/>
          <p:cNvSpPr txBox="1">
            <a:spLocks noGrp="1"/>
          </p:cNvSpPr>
          <p:nvPr>
            <p:ph type="body" idx="2"/>
          </p:nvPr>
        </p:nvSpPr>
        <p:spPr>
          <a:xfrm>
            <a:off x="658813" y="2514600"/>
            <a:ext cx="10874374" cy="9144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5400"/>
              <a:buNone/>
            </a:pPr>
            <a:r>
              <a:rPr lang="nl-NL" dirty="0">
                <a:sym typeface="Corbel" panose="020B0503020204020204" pitchFamily="34" charset="0"/>
              </a:rPr>
              <a:t>2. Post met infographs</a:t>
            </a:r>
          </a:p>
        </p:txBody>
      </p:sp>
    </p:spTree>
    <p:extLst>
      <p:ext uri="{BB962C8B-B14F-4D97-AF65-F5344CB8AC3E}">
        <p14:creationId xmlns:p14="http://schemas.microsoft.com/office/powerpoint/2010/main" val="10480583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490565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4" progId="TCLayout.ActiveDocument.1">
                  <p:embed/>
                </p:oleObj>
              </mc:Choice>
              <mc:Fallback>
                <p:oleObj name="think-cell Slide" r:id="rId1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542" name="Google Shape;542;p9"/>
          <p:cNvSpPr/>
          <p:nvPr/>
        </p:nvSpPr>
        <p:spPr>
          <a:xfrm>
            <a:off x="2349230"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solidFill>
            <a:srgbClr val="FFFFFF"/>
          </a:soli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4</a:t>
            </a:fld>
            <a:endParaRPr lang="nl-NL" dirty="0">
              <a:sym typeface="Corbel" panose="020B0503020204020204" pitchFamily="34" charset="0"/>
            </a:endParaRPr>
          </a:p>
        </p:txBody>
      </p:sp>
      <p:pic>
        <p:nvPicPr>
          <p:cNvPr id="25" name="Picture 2">
            <a:extLst>
              <a:ext uri="{FF2B5EF4-FFF2-40B4-BE49-F238E27FC236}">
                <a16:creationId xmlns:a16="http://schemas.microsoft.com/office/drawing/2014/main" id="{4F0B9FD6-348A-4BB3-BA36-694BB09AB397}"/>
              </a:ext>
            </a:extLst>
          </p:cNvPr>
          <p:cNvPicPr>
            <a:picLocks noChangeAspect="1" noChangeArrowheads="1"/>
          </p:cNvPicPr>
          <p:nvPr/>
        </p:nvPicPr>
        <p:blipFill>
          <a:blip r:embed="rId16" cstate="hqprint">
            <a:alphaModFix amt="30000"/>
            <a:extLst>
              <a:ext uri="{28A0092B-C50C-407E-A947-70E740481C1C}">
                <a14:useLocalDpi xmlns:a14="http://schemas.microsoft.com/office/drawing/2010/main"/>
              </a:ext>
            </a:extLst>
          </a:blip>
          <a:srcRect/>
          <a:stretch/>
        </p:blipFill>
        <p:spPr bwMode="auto">
          <a:xfrm>
            <a:off x="1105958" y="1200251"/>
            <a:ext cx="5500486" cy="5500486"/>
          </a:xfrm>
          <a:prstGeom prst="ellipse">
            <a:avLst/>
          </a:prstGeom>
          <a:noFill/>
          <a:extLst>
            <a:ext uri="{909E8E84-426E-40DD-AFC4-6F175D3DCCD1}">
              <a14:hiddenFill xmlns:a14="http://schemas.microsoft.com/office/drawing/2010/main">
                <a:solidFill>
                  <a:srgbClr val="FFFFFF"/>
                </a:solidFill>
              </a14:hiddenFill>
            </a:ext>
          </a:extLst>
        </p:spPr>
      </p:pic>
      <p:sp>
        <p:nvSpPr>
          <p:cNvPr id="15" name="Google Shape;624;p13">
            <a:extLst>
              <a:ext uri="{FF2B5EF4-FFF2-40B4-BE49-F238E27FC236}">
                <a16:creationId xmlns:a16="http://schemas.microsoft.com/office/drawing/2014/main" id="{889A028B-AE24-4E01-9D76-E4B4C5DDAFD1}"/>
              </a:ext>
            </a:extLst>
          </p:cNvPr>
          <p:cNvSpPr/>
          <p:nvPr/>
        </p:nvSpPr>
        <p:spPr>
          <a:xfrm>
            <a:off x="2339188" y="2032467"/>
            <a:ext cx="2684081" cy="418185"/>
          </a:xfrm>
          <a:prstGeom prst="rect">
            <a:avLst/>
          </a:prstGeom>
          <a:solidFill>
            <a:schemeClr val="accent1"/>
          </a:solidFill>
          <a:ln>
            <a:noFill/>
          </a:ln>
          <a:effectLst>
            <a:outerShdw blurRad="50800" dist="38100" dir="2700000" algn="tl" rotWithShape="0">
              <a:srgbClr val="000000">
                <a:alpha val="40000"/>
              </a:srgbClr>
            </a:outerShdw>
          </a:effectLst>
        </p:spPr>
        <p:txBody>
          <a:bodyPr spcFirstLastPara="1" wrap="square" lIns="72000" tIns="45700" rIns="72000" bIns="45700" anchor="ctr" anchorCtr="0">
            <a:noAutofit/>
          </a:bodyPr>
          <a:lstStyle/>
          <a:p>
            <a:pPr marL="0" marR="0" lvl="0" indent="0" algn="l">
              <a:lnSpc>
                <a:spcPct val="90000"/>
              </a:lnSpc>
              <a:spcBef>
                <a:spcPts val="0"/>
              </a:spcBef>
              <a:spcAft>
                <a:spcPts val="0"/>
              </a:spcAft>
              <a:buClr>
                <a:srgbClr val="FF0000"/>
              </a:buClr>
              <a:buSzPts val="1400"/>
              <a:buFont typeface="Noto Sans Symbols"/>
              <a:buNone/>
            </a:pPr>
            <a:r>
              <a:rPr lang="nl-NL" sz="1800" b="1" i="0" u="none" strike="noStrike" cap="none" dirty="0">
                <a:solidFill>
                  <a:schemeClr val="lt1"/>
                </a:solidFill>
                <a:ea typeface="Corbel"/>
                <a:cs typeface="Corbel"/>
                <a:sym typeface="Corbel" panose="020B0503020204020204" pitchFamily="34" charset="0"/>
              </a:rPr>
              <a:t>Projectinzichten</a:t>
            </a:r>
          </a:p>
        </p:txBody>
      </p:sp>
      <p:graphicFrame>
        <p:nvGraphicFramePr>
          <p:cNvPr id="23" name="Chart 22">
            <a:extLst>
              <a:ext uri="{FF2B5EF4-FFF2-40B4-BE49-F238E27FC236}">
                <a16:creationId xmlns:a16="http://schemas.microsoft.com/office/drawing/2014/main" id="{955EDF49-3EAD-4A0B-9C2B-678BF343B40E}"/>
              </a:ext>
            </a:extLst>
          </p:cNvPr>
          <p:cNvGraphicFramePr/>
          <p:nvPr>
            <p:custDataLst>
              <p:tags r:id="rId2"/>
            </p:custDataLst>
            <p:extLst>
              <p:ext uri="{D42A27DB-BD31-4B8C-83A1-F6EECF244321}">
                <p14:modId xmlns:p14="http://schemas.microsoft.com/office/powerpoint/2010/main" val="2305232720"/>
              </p:ext>
            </p:extLst>
          </p:nvPr>
        </p:nvGraphicFramePr>
        <p:xfrm>
          <a:off x="2266950" y="3140075"/>
          <a:ext cx="7648575" cy="2401888"/>
        </p:xfrm>
        <a:graphic>
          <a:graphicData uri="http://schemas.openxmlformats.org/drawingml/2006/chart">
            <c:chart xmlns:c="http://schemas.openxmlformats.org/drawingml/2006/chart" xmlns:r="http://schemas.openxmlformats.org/officeDocument/2006/relationships" r:id="rId17"/>
          </a:graphicData>
        </a:graphic>
      </p:graphicFrame>
      <p:sp>
        <p:nvSpPr>
          <p:cNvPr id="39" name="Content 1">
            <a:extLst>
              <a:ext uri="{FF2B5EF4-FFF2-40B4-BE49-F238E27FC236}">
                <a16:creationId xmlns:a16="http://schemas.microsoft.com/office/drawing/2014/main" id="{495A4AE4-778F-4D63-BA45-28DF717EC1EC}"/>
              </a:ext>
            </a:extLst>
          </p:cNvPr>
          <p:cNvSpPr>
            <a:spLocks noGrp="1"/>
          </p:cNvSpPr>
          <p:nvPr>
            <p:custDataLst>
              <p:tags r:id="rId3"/>
            </p:custDataLst>
          </p:nvPr>
        </p:nvSpPr>
        <p:spPr bwMode="auto">
          <a:xfrm>
            <a:off x="6022975" y="5502275"/>
            <a:ext cx="136525" cy="5603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6E6BA095-B60D-4469-9BAB-EE3C134C104D}" type="datetime'''''E''''''i''n''''''''''''d''''''''''''h''''ov''''e''''''''n'">
              <a:rPr lang="nl-NL" altLang="en-US" sz="1000" smtClean="0">
                <a:solidFill>
                  <a:schemeClr val="tx1"/>
                </a:solidFill>
                <a:sym typeface="Corbel" panose="020B0503020204020204" pitchFamily="34" charset="0"/>
              </a:rPr>
              <a:pPr marL="0" indent="0">
                <a:spcBef>
                  <a:spcPct val="0"/>
                </a:spcBef>
                <a:spcAft>
                  <a:spcPct val="0"/>
                </a:spcAft>
                <a:buNone/>
              </a:pPr>
              <a:t>Eindhoven</a:t>
            </a:fld>
            <a:endParaRPr lang="nl-NL" sz="1000" noProof="0" dirty="0">
              <a:solidFill>
                <a:schemeClr val="tx1"/>
              </a:solidFill>
              <a:sym typeface="Corbel" panose="020B0503020204020204" pitchFamily="34" charset="0"/>
            </a:endParaRPr>
          </a:p>
        </p:txBody>
      </p:sp>
      <p:sp>
        <p:nvSpPr>
          <p:cNvPr id="13" name="Content 1">
            <a:extLst>
              <a:ext uri="{FF2B5EF4-FFF2-40B4-BE49-F238E27FC236}">
                <a16:creationId xmlns:a16="http://schemas.microsoft.com/office/drawing/2014/main" id="{4B9982FA-94CE-476E-98B9-AED20350F85D}"/>
              </a:ext>
            </a:extLst>
          </p:cNvPr>
          <p:cNvSpPr>
            <a:spLocks noGrp="1"/>
          </p:cNvSpPr>
          <p:nvPr>
            <p:custDataLst>
              <p:tags r:id="rId4"/>
            </p:custDataLst>
          </p:nvPr>
        </p:nvSpPr>
        <p:spPr bwMode="auto">
          <a:xfrm>
            <a:off x="2697163" y="5502275"/>
            <a:ext cx="136525" cy="404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038E90A4-ACF6-4181-9A1A-F1C9D9A7D64B}" type="datetime'''''Utr''''e''''''c''''''''''''''''''''ht'''''''''''''''''''">
              <a:rPr lang="nl-NL" altLang="en-US" sz="1000" smtClean="0">
                <a:solidFill>
                  <a:schemeClr val="tx1"/>
                </a:solidFill>
                <a:sym typeface="Corbel" panose="020B0503020204020204" pitchFamily="34" charset="0"/>
              </a:rPr>
              <a:pPr marL="0" indent="0">
                <a:spcBef>
                  <a:spcPct val="0"/>
                </a:spcBef>
                <a:spcAft>
                  <a:spcPct val="0"/>
                </a:spcAft>
                <a:buNone/>
              </a:pPr>
              <a:t>Utrecht</a:t>
            </a:fld>
            <a:endParaRPr lang="nl-NL" sz="1000" noProof="0" dirty="0">
              <a:solidFill>
                <a:schemeClr val="tx1"/>
              </a:solidFill>
              <a:sym typeface="Corbel" panose="020B0503020204020204" pitchFamily="34" charset="0"/>
            </a:endParaRPr>
          </a:p>
        </p:txBody>
      </p:sp>
      <p:sp>
        <p:nvSpPr>
          <p:cNvPr id="30" name="Content 1">
            <a:extLst>
              <a:ext uri="{FF2B5EF4-FFF2-40B4-BE49-F238E27FC236}">
                <a16:creationId xmlns:a16="http://schemas.microsoft.com/office/drawing/2014/main" id="{B7E695C0-739E-4406-95B3-2DC842568B87}"/>
              </a:ext>
            </a:extLst>
          </p:cNvPr>
          <p:cNvSpPr>
            <a:spLocks noGrp="1"/>
          </p:cNvSpPr>
          <p:nvPr>
            <p:custDataLst>
              <p:tags r:id="rId5"/>
            </p:custDataLst>
          </p:nvPr>
        </p:nvSpPr>
        <p:spPr bwMode="auto">
          <a:xfrm>
            <a:off x="3529013" y="5502275"/>
            <a:ext cx="136525" cy="3444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D48207FB-E61C-4BA7-BF80-8C338227E4CC}" type="datetime'A''''’d''''a''''''''''''''''m'''''''">
              <a:rPr lang="nl-NL" altLang="en-US" sz="1000" smtClean="0">
                <a:solidFill>
                  <a:schemeClr val="tx1"/>
                </a:solidFill>
                <a:sym typeface="Corbel" panose="020B0503020204020204" pitchFamily="34" charset="0"/>
              </a:rPr>
              <a:pPr/>
              <a:t>A’dam</a:t>
            </a:fld>
            <a:endParaRPr lang="nl-NL" sz="1000" noProof="0" dirty="0">
              <a:solidFill>
                <a:schemeClr val="tx1"/>
              </a:solidFill>
              <a:sym typeface="Corbel" panose="020B0503020204020204" pitchFamily="34" charset="0"/>
            </a:endParaRPr>
          </a:p>
        </p:txBody>
      </p:sp>
      <p:sp>
        <p:nvSpPr>
          <p:cNvPr id="45" name="Content 1">
            <a:extLst>
              <a:ext uri="{FF2B5EF4-FFF2-40B4-BE49-F238E27FC236}">
                <a16:creationId xmlns:a16="http://schemas.microsoft.com/office/drawing/2014/main" id="{2642E126-1BFE-4AE5-B873-EA6C8A7CB62D}"/>
              </a:ext>
            </a:extLst>
          </p:cNvPr>
          <p:cNvSpPr>
            <a:spLocks noGrp="1"/>
          </p:cNvSpPr>
          <p:nvPr>
            <p:custDataLst>
              <p:tags r:id="rId6"/>
            </p:custDataLst>
          </p:nvPr>
        </p:nvSpPr>
        <p:spPr bwMode="auto">
          <a:xfrm>
            <a:off x="7685088" y="5502275"/>
            <a:ext cx="136525" cy="3381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1971C825-99D3-4CA7-96DC-57B7A1D81D1C}" type="datetime'''''''''''''''''''''''''R''''''''’d''''''''''a''''m'''''''''">
              <a:rPr lang="nl-NL" altLang="en-US" sz="1000" smtClean="0">
                <a:solidFill>
                  <a:schemeClr val="tx1"/>
                </a:solidFill>
                <a:sym typeface="Corbel" panose="020B0503020204020204" pitchFamily="34" charset="0"/>
              </a:rPr>
              <a:pPr/>
              <a:t>R’dam</a:t>
            </a:fld>
            <a:endParaRPr lang="nl-NL" sz="1000" noProof="0" dirty="0">
              <a:solidFill>
                <a:schemeClr val="tx1"/>
              </a:solidFill>
              <a:sym typeface="Corbel" panose="020B0503020204020204" pitchFamily="34" charset="0"/>
            </a:endParaRPr>
          </a:p>
        </p:txBody>
      </p:sp>
      <p:sp>
        <p:nvSpPr>
          <p:cNvPr id="33" name="Content 1">
            <a:extLst>
              <a:ext uri="{FF2B5EF4-FFF2-40B4-BE49-F238E27FC236}">
                <a16:creationId xmlns:a16="http://schemas.microsoft.com/office/drawing/2014/main" id="{55F75FF8-28D4-46B1-9069-BF09A901C499}"/>
              </a:ext>
            </a:extLst>
          </p:cNvPr>
          <p:cNvSpPr>
            <a:spLocks noGrp="1"/>
          </p:cNvSpPr>
          <p:nvPr>
            <p:custDataLst>
              <p:tags r:id="rId7"/>
            </p:custDataLst>
          </p:nvPr>
        </p:nvSpPr>
        <p:spPr bwMode="auto">
          <a:xfrm>
            <a:off x="4359275" y="5502275"/>
            <a:ext cx="136525" cy="5159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0EA3D04-36CC-4508-847D-4572757236E5}" type="datetime'''''''''De''''''''n'''''''' H''a''''a''''''''''g'''''''''''''">
              <a:rPr lang="nl-NL" altLang="en-US" sz="1000" smtClean="0">
                <a:solidFill>
                  <a:schemeClr val="tx1"/>
                </a:solidFill>
                <a:sym typeface="Corbel" panose="020B0503020204020204" pitchFamily="34" charset="0"/>
              </a:rPr>
              <a:pPr marL="0" indent="0">
                <a:spcBef>
                  <a:spcPct val="0"/>
                </a:spcBef>
                <a:spcAft>
                  <a:spcPct val="0"/>
                </a:spcAft>
                <a:buNone/>
              </a:pPr>
              <a:t>Den Haag</a:t>
            </a:fld>
            <a:endParaRPr lang="nl-NL" sz="1000" noProof="0" dirty="0">
              <a:solidFill>
                <a:schemeClr val="tx1"/>
              </a:solidFill>
              <a:sym typeface="Corbel" panose="020B0503020204020204" pitchFamily="34" charset="0"/>
            </a:endParaRPr>
          </a:p>
        </p:txBody>
      </p:sp>
      <p:sp>
        <p:nvSpPr>
          <p:cNvPr id="42" name="Content 1">
            <a:extLst>
              <a:ext uri="{FF2B5EF4-FFF2-40B4-BE49-F238E27FC236}">
                <a16:creationId xmlns:a16="http://schemas.microsoft.com/office/drawing/2014/main" id="{061B7037-EE53-49FE-8F3D-E5CB8F132A78}"/>
              </a:ext>
            </a:extLst>
          </p:cNvPr>
          <p:cNvSpPr>
            <a:spLocks noGrp="1"/>
          </p:cNvSpPr>
          <p:nvPr>
            <p:custDataLst>
              <p:tags r:id="rId8"/>
            </p:custDataLst>
          </p:nvPr>
        </p:nvSpPr>
        <p:spPr bwMode="auto">
          <a:xfrm>
            <a:off x="6854825" y="5502275"/>
            <a:ext cx="136525" cy="5143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87B2DFC7-09C1-4C6F-B567-F7B749DE7B89}" type="datetime'N''''''''i''''''''''''''j''''''me''''''''gen'">
              <a:rPr lang="nl-NL" altLang="en-US" sz="1000" smtClean="0">
                <a:solidFill>
                  <a:schemeClr val="tx1"/>
                </a:solidFill>
                <a:sym typeface="Corbel" panose="020B0503020204020204" pitchFamily="34" charset="0"/>
              </a:rPr>
              <a:pPr marL="0" indent="0">
                <a:spcBef>
                  <a:spcPct val="0"/>
                </a:spcBef>
                <a:spcAft>
                  <a:spcPct val="0"/>
                </a:spcAft>
                <a:buNone/>
              </a:pPr>
              <a:t>Nijmegen</a:t>
            </a:fld>
            <a:endParaRPr lang="nl-NL" sz="1000" noProof="0" dirty="0">
              <a:solidFill>
                <a:schemeClr val="tx1"/>
              </a:solidFill>
              <a:sym typeface="Corbel" panose="020B0503020204020204" pitchFamily="34" charset="0"/>
            </a:endParaRPr>
          </a:p>
        </p:txBody>
      </p:sp>
      <p:sp>
        <p:nvSpPr>
          <p:cNvPr id="36" name="Content 1">
            <a:extLst>
              <a:ext uri="{FF2B5EF4-FFF2-40B4-BE49-F238E27FC236}">
                <a16:creationId xmlns:a16="http://schemas.microsoft.com/office/drawing/2014/main" id="{9112FEE2-3FB8-44C1-B826-70D30C648B77}"/>
              </a:ext>
            </a:extLst>
          </p:cNvPr>
          <p:cNvSpPr>
            <a:spLocks noGrp="1"/>
          </p:cNvSpPr>
          <p:nvPr>
            <p:custDataLst>
              <p:tags r:id="rId9"/>
            </p:custDataLst>
          </p:nvPr>
        </p:nvSpPr>
        <p:spPr bwMode="auto">
          <a:xfrm>
            <a:off x="5191125" y="5502275"/>
            <a:ext cx="136525" cy="3857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9BC98414-7F2B-40E1-A69A-6D1E64A851AC}" type="datetime'''A''lm''''''''''''''e''''''r''''''''''''''''''''''''e'''''''">
              <a:rPr lang="nl-NL" altLang="en-US" sz="1000" smtClean="0">
                <a:solidFill>
                  <a:schemeClr val="tx1"/>
                </a:solidFill>
                <a:sym typeface="Corbel" panose="020B0503020204020204" pitchFamily="34" charset="0"/>
              </a:rPr>
              <a:pPr marL="0" indent="0">
                <a:spcBef>
                  <a:spcPct val="0"/>
                </a:spcBef>
                <a:spcAft>
                  <a:spcPct val="0"/>
                </a:spcAft>
                <a:buNone/>
              </a:pPr>
              <a:t>Almere</a:t>
            </a:fld>
            <a:endParaRPr lang="nl-NL" sz="1000" noProof="0" dirty="0">
              <a:solidFill>
                <a:schemeClr val="tx1"/>
              </a:solidFill>
              <a:sym typeface="Corbel" panose="020B0503020204020204" pitchFamily="34" charset="0"/>
            </a:endParaRPr>
          </a:p>
        </p:txBody>
      </p:sp>
      <p:sp>
        <p:nvSpPr>
          <p:cNvPr id="48" name="Content 1">
            <a:extLst>
              <a:ext uri="{FF2B5EF4-FFF2-40B4-BE49-F238E27FC236}">
                <a16:creationId xmlns:a16="http://schemas.microsoft.com/office/drawing/2014/main" id="{F7CBF1DF-6A55-4C44-B0BF-F1C017758F3B}"/>
              </a:ext>
            </a:extLst>
          </p:cNvPr>
          <p:cNvSpPr>
            <a:spLocks noGrp="1"/>
          </p:cNvSpPr>
          <p:nvPr>
            <p:custDataLst>
              <p:tags r:id="rId10"/>
            </p:custDataLst>
          </p:nvPr>
        </p:nvSpPr>
        <p:spPr bwMode="auto">
          <a:xfrm>
            <a:off x="8516938" y="5502275"/>
            <a:ext cx="136525" cy="5556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C220D444-3236-47A8-88ED-576EB16D23AE}" type="datetime'''''''''G''r''''''''''''onin''''g''''''e''''''''n'">
              <a:rPr lang="nl-NL" altLang="en-US" sz="1000" smtClean="0">
                <a:solidFill>
                  <a:schemeClr val="tx1"/>
                </a:solidFill>
                <a:sym typeface="Corbel" panose="020B0503020204020204" pitchFamily="34" charset="0"/>
              </a:rPr>
              <a:pPr marL="0" indent="0">
                <a:spcBef>
                  <a:spcPct val="0"/>
                </a:spcBef>
                <a:spcAft>
                  <a:spcPct val="0"/>
                </a:spcAft>
                <a:buNone/>
              </a:pPr>
              <a:t>Groningen</a:t>
            </a:fld>
            <a:endParaRPr lang="nl-NL" sz="1000" noProof="0" dirty="0">
              <a:solidFill>
                <a:schemeClr val="tx1"/>
              </a:solidFill>
              <a:sym typeface="Corbel" panose="020B0503020204020204" pitchFamily="34" charset="0"/>
            </a:endParaRPr>
          </a:p>
        </p:txBody>
      </p:sp>
      <p:sp>
        <p:nvSpPr>
          <p:cNvPr id="51" name="Content 1">
            <a:extLst>
              <a:ext uri="{FF2B5EF4-FFF2-40B4-BE49-F238E27FC236}">
                <a16:creationId xmlns:a16="http://schemas.microsoft.com/office/drawing/2014/main" id="{90825371-D2D4-4458-B8BF-506150C7A32D}"/>
              </a:ext>
            </a:extLst>
          </p:cNvPr>
          <p:cNvSpPr>
            <a:spLocks noGrp="1"/>
          </p:cNvSpPr>
          <p:nvPr>
            <p:custDataLst>
              <p:tags r:id="rId11"/>
            </p:custDataLst>
          </p:nvPr>
        </p:nvSpPr>
        <p:spPr bwMode="auto">
          <a:xfrm>
            <a:off x="9348788" y="5502275"/>
            <a:ext cx="136525" cy="37306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ctr" anchorCtr="0">
            <a:noAutofit/>
          </a:bodyPr>
          <a:lst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spcBef>
                <a:spcPct val="0"/>
              </a:spcBef>
              <a:spcAft>
                <a:spcPct val="0"/>
              </a:spcAft>
              <a:buNone/>
            </a:pPr>
            <a:fld id="{5A6CF2EE-E387-44E3-A385-9C3A22BE6AE7}" type="datetime'T''''''''''il''b''''''ur''''''''g'''''">
              <a:rPr lang="nl-NL" altLang="en-US" sz="1000" smtClean="0">
                <a:solidFill>
                  <a:schemeClr val="tx1"/>
                </a:solidFill>
                <a:sym typeface="Corbel" panose="020B0503020204020204" pitchFamily="34" charset="0"/>
              </a:rPr>
              <a:pPr marL="0" indent="0">
                <a:spcBef>
                  <a:spcPct val="0"/>
                </a:spcBef>
                <a:spcAft>
                  <a:spcPct val="0"/>
                </a:spcAft>
                <a:buNone/>
              </a:pPr>
              <a:t>Tilburg</a:t>
            </a:fld>
            <a:endParaRPr lang="nl-NL" sz="1000" noProof="0" dirty="0">
              <a:solidFill>
                <a:schemeClr val="tx1"/>
              </a:solidFill>
              <a:sym typeface="Corbel" panose="020B0503020204020204" pitchFamily="34" charset="0"/>
            </a:endParaRPr>
          </a:p>
        </p:txBody>
      </p:sp>
      <p:sp>
        <p:nvSpPr>
          <p:cNvPr id="544" name="Google Shape;544;p9"/>
          <p:cNvSpPr/>
          <p:nvPr/>
        </p:nvSpPr>
        <p:spPr>
          <a:xfrm>
            <a:off x="-1367193" y="-1760019"/>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3" name="Rectangle 2">
            <a:extLst>
              <a:ext uri="{FF2B5EF4-FFF2-40B4-BE49-F238E27FC236}">
                <a16:creationId xmlns:a16="http://schemas.microsoft.com/office/drawing/2014/main" id="{599E7D2B-0B55-43E8-9A30-7D5294782247}"/>
              </a:ext>
            </a:extLst>
          </p:cNvPr>
          <p:cNvSpPr/>
          <p:nvPr/>
        </p:nvSpPr>
        <p:spPr>
          <a:xfrm>
            <a:off x="6682563" y="2450652"/>
            <a:ext cx="2929750" cy="1145633"/>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000" b="1" dirty="0">
                <a:sym typeface="Corbel" panose="020B0503020204020204" pitchFamily="34" charset="0"/>
              </a:rPr>
              <a:t>Utrecht</a:t>
            </a:r>
            <a:r>
              <a:rPr lang="nl-NL" sz="1600" b="1" dirty="0">
                <a:sym typeface="Corbel" panose="020B0503020204020204" pitchFamily="34" charset="0"/>
              </a:rPr>
              <a:t> </a:t>
            </a:r>
            <a:r>
              <a:rPr lang="nl-NL" sz="1600" dirty="0">
                <a:sym typeface="Corbel" panose="020B0503020204020204" pitchFamily="34" charset="0"/>
              </a:rPr>
              <a:t>heeft in vergelijking met andere G10-gemeenten relatief veel rijke inwoners: </a:t>
            </a:r>
            <a:r>
              <a:rPr lang="nl-NL" sz="2000" b="1" dirty="0">
                <a:sym typeface="Corbel" panose="020B0503020204020204" pitchFamily="34" charset="0"/>
              </a:rPr>
              <a:t>25% </a:t>
            </a:r>
            <a:r>
              <a:rPr lang="nl-NL" sz="1600" dirty="0">
                <a:sym typeface="Corbel" panose="020B0503020204020204" pitchFamily="34" charset="0"/>
              </a:rPr>
              <a:t>van de huishoudens valt onder de rijkste 20% van Nederland</a:t>
            </a:r>
            <a:endParaRPr lang="nl-NL" sz="1600" b="1" dirty="0">
              <a:sym typeface="Corbel" panose="020B0503020204020204" pitchFamily="34" charset="0"/>
            </a:endParaRPr>
          </a:p>
        </p:txBody>
      </p:sp>
      <p:sp>
        <p:nvSpPr>
          <p:cNvPr id="24" name="Rectangle 23">
            <a:extLst>
              <a:ext uri="{FF2B5EF4-FFF2-40B4-BE49-F238E27FC236}">
                <a16:creationId xmlns:a16="http://schemas.microsoft.com/office/drawing/2014/main" id="{63EA5F70-7BCB-4BBE-8571-3E4E6324433E}"/>
              </a:ext>
            </a:extLst>
          </p:cNvPr>
          <p:cNvSpPr/>
          <p:nvPr/>
        </p:nvSpPr>
        <p:spPr>
          <a:xfrm>
            <a:off x="2339188" y="6130486"/>
            <a:ext cx="3575475" cy="115152"/>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000" i="1" dirty="0"/>
              <a:t>% inwoners dat tot de rijkste 20% van Nederland behoort, 2019</a:t>
            </a:r>
          </a:p>
        </p:txBody>
      </p:sp>
    </p:spTree>
    <p:extLst>
      <p:ext uri="{BB962C8B-B14F-4D97-AF65-F5344CB8AC3E}">
        <p14:creationId xmlns:p14="http://schemas.microsoft.com/office/powerpoint/2010/main" val="328326519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85334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5</a:t>
            </a:fld>
            <a:endParaRPr lang="nl-NL" dirty="0">
              <a:sym typeface="Corbel" panose="020B0503020204020204" pitchFamily="34" charset="0"/>
            </a:endParaRPr>
          </a:p>
        </p:txBody>
      </p:sp>
      <p:pic>
        <p:nvPicPr>
          <p:cNvPr id="25" name="Picture 2">
            <a:extLst>
              <a:ext uri="{FF2B5EF4-FFF2-40B4-BE49-F238E27FC236}">
                <a16:creationId xmlns:a16="http://schemas.microsoft.com/office/drawing/2014/main" id="{4F0B9FD6-348A-4BB3-BA36-694BB09AB397}"/>
              </a:ext>
            </a:extLst>
          </p:cNvPr>
          <p:cNvPicPr>
            <a:picLocks noChangeAspect="1" noChangeArrowheads="1"/>
          </p:cNvPicPr>
          <p:nvPr/>
        </p:nvPicPr>
        <p:blipFill>
          <a:blip r:embed="rId6" cstate="hqprint">
            <a:alphaModFix amt="70000"/>
            <a:extLst>
              <a:ext uri="{28A0092B-C50C-407E-A947-70E740481C1C}">
                <a14:useLocalDpi xmlns:a14="http://schemas.microsoft.com/office/drawing/2010/main"/>
              </a:ext>
            </a:extLst>
          </a:blip>
          <a:srcRect/>
          <a:stretch/>
        </p:blipFill>
        <p:spPr bwMode="auto">
          <a:xfrm>
            <a:off x="1029757" y="1196974"/>
            <a:ext cx="6246713" cy="6246713"/>
          </a:xfrm>
          <a:prstGeom prst="ellipse">
            <a:avLst/>
          </a:prstGeom>
          <a:solidFill>
            <a:srgbClr val="FFFFFF"/>
          </a:solidFill>
        </p:spPr>
      </p:pic>
      <p:sp>
        <p:nvSpPr>
          <p:cNvPr id="544" name="Google Shape;544;p9"/>
          <p:cNvSpPr/>
          <p:nvPr/>
        </p:nvSpPr>
        <p:spPr>
          <a:xfrm>
            <a:off x="-1357766" y="-1760019"/>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29" name="Arrow: Pentagon 28">
            <a:extLst>
              <a:ext uri="{FF2B5EF4-FFF2-40B4-BE49-F238E27FC236}">
                <a16:creationId xmlns:a16="http://schemas.microsoft.com/office/drawing/2014/main" id="{8205A5B5-96B6-4C72-947D-11D2F80C45A5}"/>
              </a:ext>
            </a:extLst>
          </p:cNvPr>
          <p:cNvSpPr/>
          <p:nvPr/>
        </p:nvSpPr>
        <p:spPr>
          <a:xfrm rot="16200000" flipV="1">
            <a:off x="3799768" y="3261799"/>
            <a:ext cx="4261749" cy="1872000"/>
          </a:xfrm>
          <a:prstGeom prst="homePlate">
            <a:avLst/>
          </a:prstGeom>
          <a:gradFill flip="none" rotWithShape="1">
            <a:gsLst>
              <a:gs pos="42500">
                <a:srgbClr val="77ACAE"/>
              </a:gs>
              <a:gs pos="0">
                <a:schemeClr val="tx2"/>
              </a:gs>
              <a:gs pos="100000">
                <a:schemeClr val="accent4">
                  <a:lumMod val="20000"/>
                  <a:lumOff val="80000"/>
                  <a:alpha val="40000"/>
                </a:schemeClr>
              </a:gs>
            </a:gsLst>
            <a:lin ang="0" scaled="1"/>
            <a:tileRect/>
          </a:gra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dirty="0">
              <a:sym typeface="Corbel" panose="020B0503020204020204" pitchFamily="34" charset="0"/>
            </a:endParaRPr>
          </a:p>
        </p:txBody>
      </p:sp>
      <p:sp>
        <p:nvSpPr>
          <p:cNvPr id="30" name="Rectangle 29">
            <a:extLst>
              <a:ext uri="{FF2B5EF4-FFF2-40B4-BE49-F238E27FC236}">
                <a16:creationId xmlns:a16="http://schemas.microsoft.com/office/drawing/2014/main" id="{76DA53C9-B25B-4C80-A200-870A48888241}"/>
              </a:ext>
            </a:extLst>
          </p:cNvPr>
          <p:cNvSpPr/>
          <p:nvPr/>
        </p:nvSpPr>
        <p:spPr>
          <a:xfrm>
            <a:off x="4994642" y="4188619"/>
            <a:ext cx="1856472" cy="662658"/>
          </a:xfrm>
          <a:prstGeom prst="rect">
            <a:avLst/>
          </a:prstGeom>
          <a:noFill/>
          <a:ln w="4266" cap="flat">
            <a:noFill/>
            <a:prstDash val="solid"/>
            <a:miter/>
          </a:ln>
          <a:extLst>
            <a:ext uri="{909E8E84-426E-40DD-AFC4-6F175D3DCCD1}">
              <a14:hiddenFill xmlns:a14="http://schemas.microsoft.com/office/drawing/2010/main">
                <a:solidFill>
                  <a:srgbClr val="408E94"/>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dirty="0">
                <a:solidFill>
                  <a:srgbClr val="FFFFFF"/>
                </a:solidFill>
                <a:sym typeface="Corbel" panose="020B0503020204020204" pitchFamily="34" charset="0"/>
              </a:rPr>
              <a:t>+</a:t>
            </a:r>
            <a:r>
              <a:rPr lang="nl-NL" sz="2800" b="1" dirty="0">
                <a:solidFill>
                  <a:srgbClr val="FFFFFF"/>
                </a:solidFill>
                <a:sym typeface="Corbel" panose="020B0503020204020204" pitchFamily="34" charset="0"/>
              </a:rPr>
              <a:t> 14 </a:t>
            </a:r>
            <a:r>
              <a:rPr lang="nl-NL" sz="1600" dirty="0">
                <a:solidFill>
                  <a:srgbClr val="FFFFFF"/>
                </a:solidFill>
                <a:sym typeface="Corbel" panose="020B0503020204020204" pitchFamily="34" charset="0"/>
              </a:rPr>
              <a:t>%</a:t>
            </a:r>
            <a:endParaRPr lang="nl-NL" sz="1800" b="1" dirty="0">
              <a:solidFill>
                <a:srgbClr val="FFFFFF"/>
              </a:solidFill>
              <a:sym typeface="Corbel" panose="020B0503020204020204" pitchFamily="34" charset="0"/>
            </a:endParaRPr>
          </a:p>
        </p:txBody>
      </p:sp>
      <p:sp>
        <p:nvSpPr>
          <p:cNvPr id="32" name="Rectangle 31">
            <a:extLst>
              <a:ext uri="{FF2B5EF4-FFF2-40B4-BE49-F238E27FC236}">
                <a16:creationId xmlns:a16="http://schemas.microsoft.com/office/drawing/2014/main" id="{84FFAA81-2933-47E7-AE00-5FE415D44C09}"/>
              </a:ext>
            </a:extLst>
          </p:cNvPr>
          <p:cNvSpPr/>
          <p:nvPr/>
        </p:nvSpPr>
        <p:spPr>
          <a:xfrm>
            <a:off x="4979114" y="5446048"/>
            <a:ext cx="1872000" cy="532538"/>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1200" dirty="0">
                <a:solidFill>
                  <a:srgbClr val="FFFFFF"/>
                </a:solidFill>
                <a:sym typeface="Corbel" panose="020B0503020204020204" pitchFamily="34" charset="0"/>
              </a:rPr>
              <a:t>Ontwikkeling</a:t>
            </a:r>
            <a:r>
              <a:rPr lang="nl-NL" sz="1200" b="1" dirty="0">
                <a:solidFill>
                  <a:srgbClr val="FFFFFF"/>
                </a:solidFill>
                <a:sym typeface="Corbel" panose="020B0503020204020204" pitchFamily="34" charset="0"/>
              </a:rPr>
              <a:t> </a:t>
            </a:r>
            <a:br>
              <a:rPr lang="nl-NL" sz="1200" b="1" dirty="0">
                <a:solidFill>
                  <a:srgbClr val="FFFFFF"/>
                </a:solidFill>
                <a:sym typeface="Corbel" panose="020B0503020204020204" pitchFamily="34" charset="0"/>
              </a:rPr>
            </a:br>
            <a:r>
              <a:rPr lang="nl-NL" sz="1600" b="1" dirty="0">
                <a:solidFill>
                  <a:srgbClr val="FFFFFF"/>
                </a:solidFill>
                <a:sym typeface="Corbel" panose="020B0503020204020204" pitchFamily="34" charset="0"/>
              </a:rPr>
              <a:t>werklast gemeenten</a:t>
            </a:r>
            <a:endParaRPr lang="nl-NL" sz="1200" b="1" dirty="0">
              <a:solidFill>
                <a:srgbClr val="FFFFFF"/>
              </a:solidFill>
              <a:sym typeface="Corbel" panose="020B0503020204020204" pitchFamily="34" charset="0"/>
            </a:endParaRPr>
          </a:p>
        </p:txBody>
      </p:sp>
      <p:pic>
        <p:nvPicPr>
          <p:cNvPr id="33" name="Graphic 32" descr="Schoolhouse with solid fill">
            <a:extLst>
              <a:ext uri="{FF2B5EF4-FFF2-40B4-BE49-F238E27FC236}">
                <a16:creationId xmlns:a16="http://schemas.microsoft.com/office/drawing/2014/main" id="{54962A4D-5353-4D35-8341-AA7E8E9EC93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474032" y="4652402"/>
            <a:ext cx="914400" cy="914400"/>
          </a:xfrm>
          <a:prstGeom prst="rect">
            <a:avLst/>
          </a:prstGeom>
        </p:spPr>
      </p:pic>
      <p:sp>
        <p:nvSpPr>
          <p:cNvPr id="35" name="Arrow: Pentagon 34">
            <a:extLst>
              <a:ext uri="{FF2B5EF4-FFF2-40B4-BE49-F238E27FC236}">
                <a16:creationId xmlns:a16="http://schemas.microsoft.com/office/drawing/2014/main" id="{40405209-81F0-4186-AC73-E6A4BF35D0D5}"/>
              </a:ext>
            </a:extLst>
          </p:cNvPr>
          <p:cNvSpPr/>
          <p:nvPr/>
        </p:nvSpPr>
        <p:spPr>
          <a:xfrm rot="16200000" flipV="1">
            <a:off x="6642339" y="4140348"/>
            <a:ext cx="2504652" cy="1872000"/>
          </a:xfrm>
          <a:prstGeom prst="homePlate">
            <a:avLst/>
          </a:prstGeom>
          <a:gradFill flip="none" rotWithShape="1">
            <a:gsLst>
              <a:gs pos="62800">
                <a:srgbClr val="A0C5C7"/>
              </a:gs>
              <a:gs pos="0">
                <a:schemeClr val="tx2"/>
              </a:gs>
              <a:gs pos="100000">
                <a:schemeClr val="accent4">
                  <a:lumMod val="20000"/>
                  <a:lumOff val="80000"/>
                  <a:alpha val="40000"/>
                </a:schemeClr>
              </a:gs>
            </a:gsLst>
            <a:lin ang="0" scaled="1"/>
            <a:tileRect/>
          </a:gra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dirty="0">
              <a:sym typeface="Corbel" panose="020B0503020204020204" pitchFamily="34" charset="0"/>
            </a:endParaRPr>
          </a:p>
        </p:txBody>
      </p:sp>
      <p:sp>
        <p:nvSpPr>
          <p:cNvPr id="36" name="Rectangle 35">
            <a:extLst>
              <a:ext uri="{FF2B5EF4-FFF2-40B4-BE49-F238E27FC236}">
                <a16:creationId xmlns:a16="http://schemas.microsoft.com/office/drawing/2014/main" id="{4CC25675-5F4A-4E4D-B179-B1B14C2EE583}"/>
              </a:ext>
            </a:extLst>
          </p:cNvPr>
          <p:cNvSpPr/>
          <p:nvPr/>
        </p:nvSpPr>
        <p:spPr>
          <a:xfrm>
            <a:off x="6958664" y="4188619"/>
            <a:ext cx="1872000" cy="662658"/>
          </a:xfrm>
          <a:prstGeom prst="rect">
            <a:avLst/>
          </a:prstGeom>
          <a:noFill/>
          <a:ln w="4266" cap="flat">
            <a:noFill/>
            <a:prstDash val="solid"/>
            <a:miter/>
          </a:ln>
          <a:extLst>
            <a:ext uri="{909E8E84-426E-40DD-AFC4-6F175D3DCCD1}">
              <a14:hiddenFill xmlns:a14="http://schemas.microsoft.com/office/drawing/2010/main">
                <a:solidFill>
                  <a:srgbClr val="408E94"/>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dirty="0">
                <a:solidFill>
                  <a:srgbClr val="FFFFFF"/>
                </a:solidFill>
                <a:sym typeface="Corbel" panose="020B0503020204020204" pitchFamily="34" charset="0"/>
              </a:rPr>
              <a:t>+</a:t>
            </a:r>
            <a:r>
              <a:rPr lang="nl-NL" sz="2800" b="1" dirty="0">
                <a:solidFill>
                  <a:srgbClr val="FFFFFF"/>
                </a:solidFill>
                <a:sym typeface="Corbel" panose="020B0503020204020204" pitchFamily="34" charset="0"/>
              </a:rPr>
              <a:t> 6 </a:t>
            </a:r>
            <a:r>
              <a:rPr lang="nl-NL" sz="1600" dirty="0">
                <a:solidFill>
                  <a:srgbClr val="FFFFFF"/>
                </a:solidFill>
                <a:sym typeface="Corbel" panose="020B0503020204020204" pitchFamily="34" charset="0"/>
              </a:rPr>
              <a:t>%</a:t>
            </a:r>
            <a:endParaRPr lang="nl-NL" sz="1800" b="1" dirty="0">
              <a:solidFill>
                <a:srgbClr val="FFFFFF"/>
              </a:solidFill>
              <a:sym typeface="Corbel" panose="020B0503020204020204" pitchFamily="34" charset="0"/>
            </a:endParaRPr>
          </a:p>
        </p:txBody>
      </p:sp>
      <p:sp>
        <p:nvSpPr>
          <p:cNvPr id="38" name="Rectangle 37">
            <a:extLst>
              <a:ext uri="{FF2B5EF4-FFF2-40B4-BE49-F238E27FC236}">
                <a16:creationId xmlns:a16="http://schemas.microsoft.com/office/drawing/2014/main" id="{64C21FAA-624B-4EDE-B6C9-5B1179ED500A}"/>
              </a:ext>
            </a:extLst>
          </p:cNvPr>
          <p:cNvSpPr/>
          <p:nvPr/>
        </p:nvSpPr>
        <p:spPr>
          <a:xfrm>
            <a:off x="6958664" y="5446048"/>
            <a:ext cx="1872000" cy="479857"/>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None/>
            </a:pPr>
            <a:r>
              <a:rPr lang="nl-NL" sz="1200" dirty="0">
                <a:solidFill>
                  <a:srgbClr val="FFFFFF"/>
                </a:solidFill>
                <a:sym typeface="Corbel" panose="020B0503020204020204" pitchFamily="34" charset="0"/>
              </a:rPr>
              <a:t>Ontwikkeling</a:t>
            </a:r>
            <a:r>
              <a:rPr lang="nl-NL" sz="1200" b="1" dirty="0">
                <a:solidFill>
                  <a:srgbClr val="FFFFFF"/>
                </a:solidFill>
                <a:sym typeface="Corbel" panose="020B0503020204020204" pitchFamily="34" charset="0"/>
              </a:rPr>
              <a:t> </a:t>
            </a:r>
            <a:br>
              <a:rPr lang="nl-NL" sz="1200" b="1" dirty="0">
                <a:solidFill>
                  <a:srgbClr val="FFFFFF"/>
                </a:solidFill>
                <a:sym typeface="Corbel" panose="020B0503020204020204" pitchFamily="34" charset="0"/>
              </a:rPr>
            </a:br>
            <a:r>
              <a:rPr lang="nl-NL" sz="1600" b="1" dirty="0">
                <a:solidFill>
                  <a:srgbClr val="FFFFFF"/>
                </a:solidFill>
                <a:sym typeface="Corbel" panose="020B0503020204020204" pitchFamily="34" charset="0"/>
              </a:rPr>
              <a:t>uitkering Rijk</a:t>
            </a:r>
          </a:p>
        </p:txBody>
      </p:sp>
      <p:pic>
        <p:nvPicPr>
          <p:cNvPr id="39" name="Picture 38" descr="Graphical user interface, application&#10;&#10;Description automatically generated">
            <a:extLst>
              <a:ext uri="{FF2B5EF4-FFF2-40B4-BE49-F238E27FC236}">
                <a16:creationId xmlns:a16="http://schemas.microsoft.com/office/drawing/2014/main" id="{0D190C8A-FC9E-4A83-BA08-C70F223283B5}"/>
              </a:ext>
            </a:extLst>
          </p:cNvPr>
          <p:cNvPicPr>
            <a:picLocks noChangeAspect="1"/>
          </p:cNvPicPr>
          <p:nvPr/>
        </p:nvPicPr>
        <p:blipFill rotWithShape="1">
          <a:blip r:embed="rId9" cstate="hqprint">
            <a:clrChange>
              <a:clrFrom>
                <a:srgbClr val="154273"/>
              </a:clrFrom>
              <a:clrTo>
                <a:srgbClr val="154273">
                  <a:alpha val="0"/>
                </a:srgbClr>
              </a:clrTo>
            </a:clrChange>
            <a:extLst>
              <a:ext uri="{28A0092B-C50C-407E-A947-70E740481C1C}">
                <a14:useLocalDpi xmlns:a14="http://schemas.microsoft.com/office/drawing/2010/main"/>
              </a:ext>
            </a:extLst>
          </a:blip>
          <a:srcRect/>
          <a:stretch/>
        </p:blipFill>
        <p:spPr>
          <a:xfrm>
            <a:off x="7434757" y="4618243"/>
            <a:ext cx="922270" cy="982718"/>
          </a:xfrm>
          <a:prstGeom prst="rect">
            <a:avLst/>
          </a:prstGeom>
        </p:spPr>
      </p:pic>
      <p:sp>
        <p:nvSpPr>
          <p:cNvPr id="43" name="Google Shape;542;p9">
            <a:extLst>
              <a:ext uri="{FF2B5EF4-FFF2-40B4-BE49-F238E27FC236}">
                <a16:creationId xmlns:a16="http://schemas.microsoft.com/office/drawing/2014/main" id="{5C1F56D0-A1FF-4BEB-BAD3-B855365D47E6}"/>
              </a:ext>
            </a:extLst>
          </p:cNvPr>
          <p:cNvSpPr/>
          <p:nvPr/>
        </p:nvSpPr>
        <p:spPr>
          <a:xfrm>
            <a:off x="2498581" y="1810977"/>
            <a:ext cx="7185463" cy="4350059"/>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38100" cap="flat" cmpd="sng">
            <a:solidFill>
              <a:srgbClr val="FFFFFF"/>
            </a:solidFill>
            <a:prstDash val="solid"/>
            <a:round/>
            <a:headEnd type="none" w="sm" len="sm"/>
            <a:tailEnd type="none" w="sm" len="sm"/>
          </a:ln>
          <a:extLst>
            <a:ext uri="{909E8E84-426E-40DD-AFC4-6F175D3DCCD1}">
              <a14:hiddenFill xmlns:a14="http://schemas.microsoft.com/office/drawing/2010/main">
                <a:solidFill>
                  <a:schemeClr val="bg1"/>
                </a:soli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pic>
        <p:nvPicPr>
          <p:cNvPr id="44" name="Picture 43">
            <a:extLst>
              <a:ext uri="{FF2B5EF4-FFF2-40B4-BE49-F238E27FC236}">
                <a16:creationId xmlns:a16="http://schemas.microsoft.com/office/drawing/2014/main" id="{644ADB52-12DF-468A-8D82-22D1F7352791}"/>
              </a:ext>
            </a:extLst>
          </p:cNvPr>
          <p:cNvPicPr>
            <a:picLocks noChangeAspect="1"/>
          </p:cNvPicPr>
          <p:nvPr/>
        </p:nvPicPr>
        <p:blipFill>
          <a:blip r:embed="rId10" cstate="hqprint">
            <a:extLst>
              <a:ext uri="{28A0092B-C50C-407E-A947-70E740481C1C}">
                <a14:useLocalDpi xmlns:a14="http://schemas.microsoft.com/office/drawing/2010/main"/>
              </a:ext>
            </a:extLst>
          </a:blip>
          <a:stretch>
            <a:fillRect/>
          </a:stretch>
        </p:blipFill>
        <p:spPr>
          <a:xfrm>
            <a:off x="9589068" y="5834726"/>
            <a:ext cx="287720" cy="287720"/>
          </a:xfrm>
          <a:prstGeom prst="rect">
            <a:avLst/>
          </a:prstGeom>
          <a:ln w="9525">
            <a:noFill/>
          </a:ln>
          <a:extLst>
            <a:ext uri="{91240B29-F687-4F45-9708-019B960494DF}">
              <a14:hiddenLine xmlns:a14="http://schemas.microsoft.com/office/drawing/2010/main" w="9525">
                <a:solidFill>
                  <a:srgbClr val="22777B"/>
                </a:solidFill>
              </a14:hiddenLine>
            </a:ext>
          </a:extLst>
        </p:spPr>
      </p:pic>
      <p:sp>
        <p:nvSpPr>
          <p:cNvPr id="45" name="Rectangle: Rounded Corners 44">
            <a:extLst>
              <a:ext uri="{FF2B5EF4-FFF2-40B4-BE49-F238E27FC236}">
                <a16:creationId xmlns:a16="http://schemas.microsoft.com/office/drawing/2014/main" id="{DF3905C8-36B5-44D8-B534-7403F831D004}"/>
              </a:ext>
            </a:extLst>
          </p:cNvPr>
          <p:cNvSpPr/>
          <p:nvPr/>
        </p:nvSpPr>
        <p:spPr>
          <a:xfrm>
            <a:off x="8758270" y="5740461"/>
            <a:ext cx="960128" cy="436511"/>
          </a:xfrm>
          <a:prstGeom prst="roundRect">
            <a:avLst>
              <a:gd name="adj" fmla="val 4781"/>
            </a:avLst>
          </a:prstGeom>
          <a:noFill/>
          <a:ln w="9525" cap="flat">
            <a:noFill/>
            <a:prstDash val="solid"/>
            <a:miter/>
          </a:ln>
          <a:effectLst>
            <a:softEdge rad="0"/>
          </a:effectLst>
          <a:extLst>
            <a:ext uri="{909E8E84-426E-40DD-AFC4-6F175D3DCCD1}">
              <a14:hiddenFill xmlns:a14="http://schemas.microsoft.com/office/drawing/2010/main">
                <a:solidFill>
                  <a:srgbClr val="95C5C9">
                    <a:alpha val="20000"/>
                  </a:srgbClr>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200" i="1" dirty="0"/>
              <a:t>It’s Public open source</a:t>
            </a:r>
            <a:endParaRPr lang="nl-NL" sz="2400" i="1" dirty="0"/>
          </a:p>
        </p:txBody>
      </p:sp>
      <p:sp>
        <p:nvSpPr>
          <p:cNvPr id="4" name="Speech Bubble: Rectangle 3">
            <a:extLst>
              <a:ext uri="{FF2B5EF4-FFF2-40B4-BE49-F238E27FC236}">
                <a16:creationId xmlns:a16="http://schemas.microsoft.com/office/drawing/2014/main" id="{0ED506F8-B743-48C0-9ECF-98E0A904744A}"/>
              </a:ext>
            </a:extLst>
          </p:cNvPr>
          <p:cNvSpPr/>
          <p:nvPr/>
        </p:nvSpPr>
        <p:spPr>
          <a:xfrm>
            <a:off x="7456285" y="2261775"/>
            <a:ext cx="2174324" cy="1237302"/>
          </a:xfrm>
          <a:prstGeom prst="wedgeRectCallout">
            <a:avLst>
              <a:gd name="adj1" fmla="val -66813"/>
              <a:gd name="adj2" fmla="val 30681"/>
            </a:avLst>
          </a:prstGeom>
          <a:solidFill>
            <a:schemeClr val="accent4">
              <a:lumMod val="20000"/>
              <a:lumOff val="80000"/>
            </a:schemeClr>
          </a:solidFill>
          <a:ln w="12700" cap="flat">
            <a:solidFill>
              <a:srgbClr val="22777B"/>
            </a:solid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dirty="0"/>
              <a:t>Gemeenten zijn er</a:t>
            </a:r>
            <a:br>
              <a:rPr lang="nl-NL" dirty="0">
                <a:solidFill>
                  <a:srgbClr val="22777B"/>
                </a:solidFill>
              </a:rPr>
            </a:br>
            <a:r>
              <a:rPr lang="nl-NL" sz="1600" b="1" dirty="0">
                <a:solidFill>
                  <a:srgbClr val="22777B"/>
                </a:solidFill>
              </a:rPr>
              <a:t>-</a:t>
            </a:r>
            <a:r>
              <a:rPr lang="nl-NL" sz="2400" b="1" dirty="0">
                <a:solidFill>
                  <a:srgbClr val="22777B"/>
                </a:solidFill>
              </a:rPr>
              <a:t> 7,5 </a:t>
            </a:r>
            <a:r>
              <a:rPr lang="nl-NL" sz="1600" b="1" dirty="0">
                <a:solidFill>
                  <a:srgbClr val="22777B"/>
                </a:solidFill>
              </a:rPr>
              <a:t>%</a:t>
            </a:r>
            <a:br>
              <a:rPr lang="nl-NL" sz="1400" b="1" dirty="0">
                <a:solidFill>
                  <a:srgbClr val="22777B"/>
                </a:solidFill>
              </a:rPr>
            </a:br>
            <a:r>
              <a:rPr lang="nl-NL" sz="1600" dirty="0"/>
              <a:t>op achteruitgegaan van 2010 tot 2020</a:t>
            </a:r>
            <a:endParaRPr lang="nl-NL" sz="2400" dirty="0"/>
          </a:p>
        </p:txBody>
      </p:sp>
    </p:spTree>
    <p:extLst>
      <p:ext uri="{BB962C8B-B14F-4D97-AF65-F5344CB8AC3E}">
        <p14:creationId xmlns:p14="http://schemas.microsoft.com/office/powerpoint/2010/main" val="23349969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797298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6</a:t>
            </a:fld>
            <a:endParaRPr lang="nl-NL" dirty="0">
              <a:sym typeface="Corbel" panose="020B0503020204020204" pitchFamily="34" charset="0"/>
            </a:endParaRPr>
          </a:p>
        </p:txBody>
      </p:sp>
      <p:sp>
        <p:nvSpPr>
          <p:cNvPr id="20" name="Rectangle 19">
            <a:extLst>
              <a:ext uri="{FF2B5EF4-FFF2-40B4-BE49-F238E27FC236}">
                <a16:creationId xmlns:a16="http://schemas.microsoft.com/office/drawing/2014/main" id="{45ED9573-A4B9-498F-9DEE-98AC32AA821C}"/>
              </a:ext>
            </a:extLst>
          </p:cNvPr>
          <p:cNvSpPr>
            <a:spLocks noChangeAspect="1"/>
          </p:cNvSpPr>
          <p:nvPr/>
        </p:nvSpPr>
        <p:spPr>
          <a:xfrm rot="5400000">
            <a:off x="2871744" y="1485916"/>
            <a:ext cx="6485164" cy="4068000"/>
          </a:xfrm>
          <a:prstGeom prst="rect">
            <a:avLst/>
          </a:prstGeom>
          <a:gradFill flip="none" rotWithShape="1">
            <a:gsLst>
              <a:gs pos="0">
                <a:schemeClr val="tx2"/>
              </a:gs>
              <a:gs pos="100000">
                <a:schemeClr val="accent5">
                  <a:alpha val="80000"/>
                </a:schemeClr>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indent="0">
              <a:spcBef>
                <a:spcPts val="0"/>
              </a:spcBef>
              <a:buClr>
                <a:srgbClr val="FF0000"/>
              </a:buClr>
              <a:buSzPts val="1400"/>
              <a:buNone/>
            </a:pPr>
            <a:endParaRPr lang="nl-NL" dirty="0">
              <a:sym typeface="Corbel" panose="020B0503020204020204" pitchFamily="34" charset="0"/>
            </a:endParaRPr>
          </a:p>
        </p:txBody>
      </p:sp>
      <p:sp>
        <p:nvSpPr>
          <p:cNvPr id="33" name="Google Shape;624;p13">
            <a:extLst>
              <a:ext uri="{FF2B5EF4-FFF2-40B4-BE49-F238E27FC236}">
                <a16:creationId xmlns:a16="http://schemas.microsoft.com/office/drawing/2014/main" id="{84878E93-FFC3-4D41-B9A3-5A7E34E6E437}"/>
              </a:ext>
            </a:extLst>
          </p:cNvPr>
          <p:cNvSpPr/>
          <p:nvPr/>
        </p:nvSpPr>
        <p:spPr>
          <a:xfrm>
            <a:off x="4869566" y="831759"/>
            <a:ext cx="2489521" cy="1237081"/>
          </a:xfrm>
          <a:prstGeom prst="rect">
            <a:avLst/>
          </a:prstGeom>
          <a:noFill/>
          <a:ln w="9525">
            <a:noFill/>
          </a:ln>
          <a:effectLst/>
          <a:extLst>
            <a:ext uri="{909E8E84-426E-40DD-AFC4-6F175D3DCCD1}">
              <a14:hiddenFill xmlns:a14="http://schemas.microsoft.com/office/drawing/2010/main">
                <a:solidFill>
                  <a:srgbClr val="22777B"/>
                </a:solidFill>
              </a14:hiddenFill>
            </a:ext>
            <a:ext uri="{91240B29-F687-4F45-9708-019B960494DF}">
              <a14:hiddenLine xmlns:a14="http://schemas.microsoft.com/office/drawing/2010/main" w="9525">
                <a:solidFill>
                  <a:srgbClr val="95C5C9"/>
                </a:solidFill>
              </a14:hiddenLine>
            </a:ext>
          </a:extLst>
        </p:spPr>
        <p:txBody>
          <a:bodyPr spcFirstLastPara="1" wrap="square" lIns="0" tIns="0" rIns="0" bIns="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800" dirty="0">
                <a:solidFill>
                  <a:srgbClr val="FFFFFF"/>
                </a:solidFill>
                <a:latin typeface="Corbel"/>
                <a:ea typeface="Corbel"/>
                <a:cs typeface="Corbel"/>
                <a:sym typeface="Corbel" panose="020B0503020204020204" pitchFamily="34" charset="0"/>
              </a:rPr>
              <a:t>In</a:t>
            </a:r>
            <a:r>
              <a:rPr lang="nl-NL" sz="2400" b="1" dirty="0">
                <a:solidFill>
                  <a:srgbClr val="FFFFFF"/>
                </a:solidFill>
                <a:latin typeface="Corbel"/>
                <a:ea typeface="Corbel"/>
                <a:cs typeface="Corbel"/>
                <a:sym typeface="Corbel" panose="020B0503020204020204" pitchFamily="34" charset="0"/>
              </a:rPr>
              <a:t> Tilburg </a:t>
            </a:r>
            <a:r>
              <a:rPr lang="nl-NL" sz="1800" dirty="0">
                <a:solidFill>
                  <a:srgbClr val="FFFFFF"/>
                </a:solidFill>
                <a:latin typeface="Corbel"/>
                <a:ea typeface="Corbel"/>
                <a:cs typeface="Corbel"/>
                <a:sym typeface="Corbel" panose="020B0503020204020204" pitchFamily="34" charset="0"/>
              </a:rPr>
              <a:t>bedragen de kapitaallasten </a:t>
            </a:r>
            <a:r>
              <a:rPr lang="nl-NL" sz="2400" b="1" dirty="0">
                <a:solidFill>
                  <a:srgbClr val="FFFFFF"/>
                </a:solidFill>
                <a:latin typeface="Corbel"/>
                <a:ea typeface="Corbel"/>
                <a:cs typeface="Corbel"/>
                <a:sym typeface="Corbel" panose="020B0503020204020204" pitchFamily="34" charset="0"/>
              </a:rPr>
              <a:t>€ 284 </a:t>
            </a:r>
            <a:r>
              <a:rPr lang="nl-NL" sz="1800" dirty="0">
                <a:solidFill>
                  <a:srgbClr val="FFFFFF"/>
                </a:solidFill>
                <a:latin typeface="Corbel"/>
                <a:ea typeface="Corbel"/>
                <a:cs typeface="Corbel"/>
                <a:sym typeface="Corbel" panose="020B0503020204020204" pitchFamily="34" charset="0"/>
              </a:rPr>
              <a:t>per inwoner, onder andere:</a:t>
            </a:r>
            <a:endParaRPr lang="nl-NL" sz="2400" u="none" strike="noStrike" cap="none" dirty="0">
              <a:solidFill>
                <a:srgbClr val="22777B"/>
              </a:solidFill>
              <a:latin typeface="Corbel"/>
              <a:ea typeface="Corbel"/>
              <a:cs typeface="Corbel"/>
              <a:sym typeface="Corbel"/>
            </a:endParaRPr>
          </a:p>
        </p:txBody>
      </p:sp>
      <p:pic>
        <p:nvPicPr>
          <p:cNvPr id="44" name="Picture 43">
            <a:extLst>
              <a:ext uri="{FF2B5EF4-FFF2-40B4-BE49-F238E27FC236}">
                <a16:creationId xmlns:a16="http://schemas.microsoft.com/office/drawing/2014/main" id="{987E4E9C-14EF-4707-AD44-2E3B4B4D4395}"/>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4080280" y="6369745"/>
            <a:ext cx="287720" cy="287720"/>
          </a:xfrm>
          <a:prstGeom prst="rect">
            <a:avLst/>
          </a:prstGeom>
          <a:ln w="9525">
            <a:noFill/>
          </a:ln>
          <a:extLst>
            <a:ext uri="{91240B29-F687-4F45-9708-019B960494DF}">
              <a14:hiddenLine xmlns:a14="http://schemas.microsoft.com/office/drawing/2010/main" w="9525">
                <a:solidFill>
                  <a:srgbClr val="22777B"/>
                </a:solidFill>
              </a14:hiddenLine>
            </a:ext>
          </a:extLst>
        </p:spPr>
      </p:pic>
      <p:sp>
        <p:nvSpPr>
          <p:cNvPr id="47" name="Google Shape;624;p13">
            <a:extLst>
              <a:ext uri="{FF2B5EF4-FFF2-40B4-BE49-F238E27FC236}">
                <a16:creationId xmlns:a16="http://schemas.microsoft.com/office/drawing/2014/main" id="{DCC5F8C6-DA5D-4E6B-9A96-DC316F9843D6}"/>
              </a:ext>
            </a:extLst>
          </p:cNvPr>
          <p:cNvSpPr/>
          <p:nvPr/>
        </p:nvSpPr>
        <p:spPr>
          <a:xfrm>
            <a:off x="4070995" y="419030"/>
            <a:ext cx="1728001" cy="375845"/>
          </a:xfrm>
          <a:prstGeom prst="rect">
            <a:avLst/>
          </a:prstGeom>
          <a:solidFill>
            <a:srgbClr val="FFBD42"/>
          </a:solidFill>
          <a:ln>
            <a:noFill/>
          </a:ln>
          <a:effectLst>
            <a:outerShdw blurRad="50800" dist="38100" dir="2700000" algn="tl" rotWithShape="0">
              <a:srgbClr val="000000">
                <a:alpha val="40000"/>
              </a:srgbClr>
            </a:outerShdw>
          </a:effectLst>
        </p:spPr>
        <p:txBody>
          <a:bodyPr spcFirstLastPara="1" wrap="square" lIns="72000" tIns="45700" rIns="72000" bIns="45700" anchor="ctr" anchorCtr="0">
            <a:noAutofit/>
          </a:bodyPr>
          <a:lstStyle/>
          <a:p>
            <a:pPr marL="0" marR="0" lvl="0" indent="0" algn="l">
              <a:lnSpc>
                <a:spcPct val="90000"/>
              </a:lnSpc>
              <a:spcBef>
                <a:spcPts val="0"/>
              </a:spcBef>
              <a:spcAft>
                <a:spcPts val="0"/>
              </a:spcAft>
              <a:buClr>
                <a:srgbClr val="FF0000"/>
              </a:buClr>
              <a:buSzPts val="1400"/>
              <a:buFont typeface="Noto Sans Symbols"/>
              <a:buNone/>
            </a:pPr>
            <a:r>
              <a:rPr lang="nl-NL" b="1" i="0" u="none" strike="noStrike" cap="none" dirty="0">
                <a:solidFill>
                  <a:schemeClr val="lt1"/>
                </a:solidFill>
                <a:ea typeface="Corbel"/>
                <a:cs typeface="Corbel"/>
                <a:sym typeface="Corbel" panose="020B0503020204020204" pitchFamily="34" charset="0"/>
              </a:rPr>
              <a:t>Projectinzichten</a:t>
            </a:r>
          </a:p>
        </p:txBody>
      </p:sp>
      <p:grpSp>
        <p:nvGrpSpPr>
          <p:cNvPr id="7" name="Group 6">
            <a:extLst>
              <a:ext uri="{FF2B5EF4-FFF2-40B4-BE49-F238E27FC236}">
                <a16:creationId xmlns:a16="http://schemas.microsoft.com/office/drawing/2014/main" id="{A085CC4E-82D3-461C-8FA6-170F983BF042}"/>
              </a:ext>
            </a:extLst>
          </p:cNvPr>
          <p:cNvGrpSpPr/>
          <p:nvPr/>
        </p:nvGrpSpPr>
        <p:grpSpPr>
          <a:xfrm>
            <a:off x="4368000" y="4335125"/>
            <a:ext cx="1728000" cy="1772814"/>
            <a:chOff x="4368000" y="4335125"/>
            <a:chExt cx="1728000" cy="1772814"/>
          </a:xfrm>
        </p:grpSpPr>
        <p:sp>
          <p:nvSpPr>
            <p:cNvPr id="23" name="Oval 22">
              <a:extLst>
                <a:ext uri="{FF2B5EF4-FFF2-40B4-BE49-F238E27FC236}">
                  <a16:creationId xmlns:a16="http://schemas.microsoft.com/office/drawing/2014/main" id="{D0F7B246-B0DA-4B5F-A592-A8359EE6E4F9}"/>
                </a:ext>
              </a:extLst>
            </p:cNvPr>
            <p:cNvSpPr/>
            <p:nvPr/>
          </p:nvSpPr>
          <p:spPr>
            <a:xfrm>
              <a:off x="4368000" y="4335125"/>
              <a:ext cx="1728000" cy="1728000"/>
            </a:xfrm>
            <a:prstGeom prst="ellipse">
              <a:avLst/>
            </a:prstGeom>
            <a:solidFill>
              <a:srgbClr val="408E94"/>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ym typeface="Corbel" panose="020B0503020204020204" pitchFamily="34" charset="0"/>
              </a:endParaRPr>
            </a:p>
          </p:txBody>
        </p:sp>
        <p:sp>
          <p:nvSpPr>
            <p:cNvPr id="36" name="Oval 35">
              <a:extLst>
                <a:ext uri="{FF2B5EF4-FFF2-40B4-BE49-F238E27FC236}">
                  <a16:creationId xmlns:a16="http://schemas.microsoft.com/office/drawing/2014/main" id="{9837BD2C-9EF1-47A5-BD4E-D0842B3F85FD}"/>
                </a:ext>
              </a:extLst>
            </p:cNvPr>
            <p:cNvSpPr/>
            <p:nvPr/>
          </p:nvSpPr>
          <p:spPr>
            <a:xfrm>
              <a:off x="4887012" y="5387939"/>
              <a:ext cx="720000" cy="720000"/>
            </a:xfrm>
            <a:prstGeom prst="ellipse">
              <a:avLst/>
            </a:prstGeom>
            <a:solidFill>
              <a:schemeClr val="accent6"/>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22777B"/>
                  </a:solidFill>
                  <a:sym typeface="Corbel" panose="020B0503020204020204" pitchFamily="34" charset="0"/>
                </a:rPr>
                <a:t>€ 31</a:t>
              </a:r>
            </a:p>
          </p:txBody>
        </p:sp>
        <p:sp>
          <p:nvSpPr>
            <p:cNvPr id="42" name="Rectangle 41">
              <a:extLst>
                <a:ext uri="{FF2B5EF4-FFF2-40B4-BE49-F238E27FC236}">
                  <a16:creationId xmlns:a16="http://schemas.microsoft.com/office/drawing/2014/main" id="{D5E8AD32-8D98-40EA-86FA-75BA019DFED1}"/>
                </a:ext>
              </a:extLst>
            </p:cNvPr>
            <p:cNvSpPr/>
            <p:nvPr/>
          </p:nvSpPr>
          <p:spPr>
            <a:xfrm>
              <a:off x="4486990" y="4880461"/>
              <a:ext cx="1538935" cy="565021"/>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rgbClr val="FFFFFF"/>
                  </a:solidFill>
                  <a:sym typeface="Corbel" panose="020B0503020204020204" pitchFamily="34" charset="0"/>
                </a:rPr>
                <a:t>Sport-accommodaties</a:t>
              </a:r>
              <a:endParaRPr lang="nl-NL" sz="1600" dirty="0">
                <a:solidFill>
                  <a:srgbClr val="FFFFFF"/>
                </a:solidFill>
                <a:sym typeface="Corbel" panose="020B0503020204020204" pitchFamily="34" charset="0"/>
              </a:endParaRPr>
            </a:p>
          </p:txBody>
        </p:sp>
        <p:pic>
          <p:nvPicPr>
            <p:cNvPr id="8" name="Graphic 7" descr="Stadium with solid fill">
              <a:extLst>
                <a:ext uri="{FF2B5EF4-FFF2-40B4-BE49-F238E27FC236}">
                  <a16:creationId xmlns:a16="http://schemas.microsoft.com/office/drawing/2014/main" id="{762C42FC-7A45-49AC-8B1A-C4695CB8F25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970836" y="4392525"/>
              <a:ext cx="576000" cy="576000"/>
            </a:xfrm>
            <a:prstGeom prst="rect">
              <a:avLst/>
            </a:prstGeom>
          </p:spPr>
        </p:pic>
      </p:grpSp>
      <p:grpSp>
        <p:nvGrpSpPr>
          <p:cNvPr id="9" name="Group 8">
            <a:extLst>
              <a:ext uri="{FF2B5EF4-FFF2-40B4-BE49-F238E27FC236}">
                <a16:creationId xmlns:a16="http://schemas.microsoft.com/office/drawing/2014/main" id="{DB97FCD8-C0FC-4065-8036-23A26C36325B}"/>
              </a:ext>
            </a:extLst>
          </p:cNvPr>
          <p:cNvGrpSpPr/>
          <p:nvPr/>
        </p:nvGrpSpPr>
        <p:grpSpPr>
          <a:xfrm>
            <a:off x="6525429" y="4960612"/>
            <a:ext cx="1728000" cy="1755094"/>
            <a:chOff x="6525429" y="4960612"/>
            <a:chExt cx="1728000" cy="1755094"/>
          </a:xfrm>
        </p:grpSpPr>
        <p:sp>
          <p:nvSpPr>
            <p:cNvPr id="24" name="Oval 23">
              <a:extLst>
                <a:ext uri="{FF2B5EF4-FFF2-40B4-BE49-F238E27FC236}">
                  <a16:creationId xmlns:a16="http://schemas.microsoft.com/office/drawing/2014/main" id="{AF9F47C9-C2AB-4439-8F16-DF50E8FF1ED6}"/>
                </a:ext>
              </a:extLst>
            </p:cNvPr>
            <p:cNvSpPr/>
            <p:nvPr/>
          </p:nvSpPr>
          <p:spPr>
            <a:xfrm>
              <a:off x="6525429" y="4960612"/>
              <a:ext cx="1728000" cy="1728000"/>
            </a:xfrm>
            <a:prstGeom prst="ellipse">
              <a:avLst/>
            </a:prstGeom>
            <a:solidFill>
              <a:srgbClr val="68ABB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ym typeface="Corbel" panose="020B0503020204020204" pitchFamily="34" charset="0"/>
              </a:endParaRPr>
            </a:p>
          </p:txBody>
        </p:sp>
        <p:sp>
          <p:nvSpPr>
            <p:cNvPr id="37" name="Oval 36">
              <a:extLst>
                <a:ext uri="{FF2B5EF4-FFF2-40B4-BE49-F238E27FC236}">
                  <a16:creationId xmlns:a16="http://schemas.microsoft.com/office/drawing/2014/main" id="{CE9BC92E-3A23-4F48-BCA0-868040E00B74}"/>
                </a:ext>
              </a:extLst>
            </p:cNvPr>
            <p:cNvSpPr/>
            <p:nvPr/>
          </p:nvSpPr>
          <p:spPr>
            <a:xfrm>
              <a:off x="7029429" y="5995706"/>
              <a:ext cx="720000" cy="720000"/>
            </a:xfrm>
            <a:prstGeom prst="ellipse">
              <a:avLst/>
            </a:prstGeom>
            <a:solidFill>
              <a:schemeClr val="accent6"/>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22777B"/>
                  </a:solidFill>
                  <a:sym typeface="Corbel" panose="020B0503020204020204" pitchFamily="34" charset="0"/>
                </a:rPr>
                <a:t>€ 21</a:t>
              </a:r>
            </a:p>
          </p:txBody>
        </p:sp>
        <p:sp>
          <p:nvSpPr>
            <p:cNvPr id="41" name="Rectangle 40">
              <a:extLst>
                <a:ext uri="{FF2B5EF4-FFF2-40B4-BE49-F238E27FC236}">
                  <a16:creationId xmlns:a16="http://schemas.microsoft.com/office/drawing/2014/main" id="{20C2E2AD-27A9-4D73-B2FE-3E2485864AF7}"/>
                </a:ext>
              </a:extLst>
            </p:cNvPr>
            <p:cNvSpPr/>
            <p:nvPr/>
          </p:nvSpPr>
          <p:spPr>
            <a:xfrm>
              <a:off x="6619962" y="5591872"/>
              <a:ext cx="1538935" cy="565021"/>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rgbClr val="FFFFFF"/>
                  </a:solidFill>
                  <a:sym typeface="Corbel" panose="020B0503020204020204" pitchFamily="34" charset="0"/>
                </a:rPr>
                <a:t>Riolering</a:t>
              </a:r>
              <a:endParaRPr lang="nl-NL" sz="2000" dirty="0">
                <a:solidFill>
                  <a:srgbClr val="FFFFFF"/>
                </a:solidFill>
                <a:sym typeface="Corbel" panose="020B0503020204020204" pitchFamily="34" charset="0"/>
              </a:endParaRPr>
            </a:p>
          </p:txBody>
        </p:sp>
        <p:pic>
          <p:nvPicPr>
            <p:cNvPr id="11" name="Graphic 10" descr="Blueprint with solid fill">
              <a:extLst>
                <a:ext uri="{FF2B5EF4-FFF2-40B4-BE49-F238E27FC236}">
                  <a16:creationId xmlns:a16="http://schemas.microsoft.com/office/drawing/2014/main" id="{07461934-BB65-4299-9BD5-618A9F50D32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072594" y="5053407"/>
              <a:ext cx="576000" cy="576000"/>
            </a:xfrm>
            <a:prstGeom prst="rect">
              <a:avLst/>
            </a:prstGeom>
          </p:spPr>
        </p:pic>
      </p:grpSp>
      <p:grpSp>
        <p:nvGrpSpPr>
          <p:cNvPr id="3" name="Group 2">
            <a:extLst>
              <a:ext uri="{FF2B5EF4-FFF2-40B4-BE49-F238E27FC236}">
                <a16:creationId xmlns:a16="http://schemas.microsoft.com/office/drawing/2014/main" id="{382AAC90-CFAB-4DCC-BF4D-454D9DD18083}"/>
              </a:ext>
            </a:extLst>
          </p:cNvPr>
          <p:cNvGrpSpPr/>
          <p:nvPr/>
        </p:nvGrpSpPr>
        <p:grpSpPr>
          <a:xfrm>
            <a:off x="4343630" y="2452600"/>
            <a:ext cx="1728000" cy="1729215"/>
            <a:chOff x="4116400" y="1063759"/>
            <a:chExt cx="1728000" cy="1729215"/>
          </a:xfrm>
        </p:grpSpPr>
        <p:sp>
          <p:nvSpPr>
            <p:cNvPr id="27" name="Oval 26">
              <a:extLst>
                <a:ext uri="{FF2B5EF4-FFF2-40B4-BE49-F238E27FC236}">
                  <a16:creationId xmlns:a16="http://schemas.microsoft.com/office/drawing/2014/main" id="{D78BF65B-9ED0-493D-BAFB-709993F7BFA2}"/>
                </a:ext>
              </a:extLst>
            </p:cNvPr>
            <p:cNvSpPr/>
            <p:nvPr/>
          </p:nvSpPr>
          <p:spPr>
            <a:xfrm>
              <a:off x="4116400" y="1063759"/>
              <a:ext cx="1728000" cy="1728000"/>
            </a:xfrm>
            <a:prstGeom prst="ellipse">
              <a:avLst/>
            </a:prstGeom>
            <a:solidFill>
              <a:srgbClr val="68ABB0"/>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ym typeface="Corbel" panose="020B0503020204020204" pitchFamily="34" charset="0"/>
              </a:endParaRPr>
            </a:p>
          </p:txBody>
        </p:sp>
        <p:sp>
          <p:nvSpPr>
            <p:cNvPr id="40" name="Rectangle 39">
              <a:extLst>
                <a:ext uri="{FF2B5EF4-FFF2-40B4-BE49-F238E27FC236}">
                  <a16:creationId xmlns:a16="http://schemas.microsoft.com/office/drawing/2014/main" id="{1DCEECDA-08FD-4A6F-90DA-36FF35778F3C}"/>
                </a:ext>
              </a:extLst>
            </p:cNvPr>
            <p:cNvSpPr/>
            <p:nvPr/>
          </p:nvSpPr>
          <p:spPr>
            <a:xfrm>
              <a:off x="4193282" y="1584741"/>
              <a:ext cx="1538935" cy="565021"/>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600" b="1" dirty="0">
                  <a:solidFill>
                    <a:srgbClr val="FFFFFF"/>
                  </a:solidFill>
                  <a:sym typeface="Corbel" panose="020B0503020204020204" pitchFamily="34" charset="0"/>
                </a:rPr>
                <a:t>Onderwijs-huisvesting</a:t>
              </a:r>
              <a:endParaRPr lang="nl-NL" sz="2000" b="1" dirty="0">
                <a:solidFill>
                  <a:srgbClr val="FFFFFF"/>
                </a:solidFill>
                <a:sym typeface="Corbel" panose="020B0503020204020204" pitchFamily="34" charset="0"/>
              </a:endParaRPr>
            </a:p>
          </p:txBody>
        </p:sp>
        <p:pic>
          <p:nvPicPr>
            <p:cNvPr id="4" name="Graphic 3" descr="Schoolhouse with solid fill">
              <a:extLst>
                <a:ext uri="{FF2B5EF4-FFF2-40B4-BE49-F238E27FC236}">
                  <a16:creationId xmlns:a16="http://schemas.microsoft.com/office/drawing/2014/main" id="{AE4B7330-964E-4105-B152-D459B4DF223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692400" y="1110288"/>
              <a:ext cx="576000" cy="576000"/>
            </a:xfrm>
            <a:prstGeom prst="rect">
              <a:avLst/>
            </a:prstGeom>
          </p:spPr>
        </p:pic>
        <p:sp>
          <p:nvSpPr>
            <p:cNvPr id="29" name="Oval 28">
              <a:extLst>
                <a:ext uri="{FF2B5EF4-FFF2-40B4-BE49-F238E27FC236}">
                  <a16:creationId xmlns:a16="http://schemas.microsoft.com/office/drawing/2014/main" id="{BA2F3A29-1416-4047-9951-789966FA111C}"/>
                </a:ext>
              </a:extLst>
            </p:cNvPr>
            <p:cNvSpPr/>
            <p:nvPr/>
          </p:nvSpPr>
          <p:spPr>
            <a:xfrm>
              <a:off x="4620400" y="2072974"/>
              <a:ext cx="720000" cy="720000"/>
            </a:xfrm>
            <a:prstGeom prst="ellipse">
              <a:avLst/>
            </a:prstGeom>
            <a:solidFill>
              <a:schemeClr val="accent6"/>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22777B"/>
                  </a:solidFill>
                  <a:sym typeface="Corbel" panose="020B0503020204020204" pitchFamily="34" charset="0"/>
                </a:rPr>
                <a:t>€ 36</a:t>
              </a:r>
            </a:p>
          </p:txBody>
        </p:sp>
      </p:grpSp>
      <p:grpSp>
        <p:nvGrpSpPr>
          <p:cNvPr id="5" name="Group 4">
            <a:extLst>
              <a:ext uri="{FF2B5EF4-FFF2-40B4-BE49-F238E27FC236}">
                <a16:creationId xmlns:a16="http://schemas.microsoft.com/office/drawing/2014/main" id="{E7D1806F-3356-4B91-8956-44C3ED13758A}"/>
              </a:ext>
            </a:extLst>
          </p:cNvPr>
          <p:cNvGrpSpPr/>
          <p:nvPr/>
        </p:nvGrpSpPr>
        <p:grpSpPr>
          <a:xfrm>
            <a:off x="6334934" y="2032159"/>
            <a:ext cx="1728000" cy="1772814"/>
            <a:chOff x="6471571" y="469823"/>
            <a:chExt cx="1728000" cy="1772814"/>
          </a:xfrm>
        </p:grpSpPr>
        <p:sp>
          <p:nvSpPr>
            <p:cNvPr id="10" name="Oval 9">
              <a:extLst>
                <a:ext uri="{FF2B5EF4-FFF2-40B4-BE49-F238E27FC236}">
                  <a16:creationId xmlns:a16="http://schemas.microsoft.com/office/drawing/2014/main" id="{64533293-4313-4715-B0B3-54FFF257DEB1}"/>
                </a:ext>
              </a:extLst>
            </p:cNvPr>
            <p:cNvSpPr/>
            <p:nvPr/>
          </p:nvSpPr>
          <p:spPr>
            <a:xfrm>
              <a:off x="6471571" y="469823"/>
              <a:ext cx="1728000" cy="1728000"/>
            </a:xfrm>
            <a:prstGeom prst="ellipse">
              <a:avLst/>
            </a:prstGeom>
            <a:solidFill>
              <a:srgbClr val="95C5C9"/>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sym typeface="Corbel" panose="020B0503020204020204" pitchFamily="34" charset="0"/>
              </a:endParaRPr>
            </a:p>
          </p:txBody>
        </p:sp>
        <p:sp>
          <p:nvSpPr>
            <p:cNvPr id="34" name="Rectangle 33">
              <a:extLst>
                <a:ext uri="{FF2B5EF4-FFF2-40B4-BE49-F238E27FC236}">
                  <a16:creationId xmlns:a16="http://schemas.microsoft.com/office/drawing/2014/main" id="{31FF3F6C-0A22-42C3-9353-762CE85773FD}"/>
                </a:ext>
              </a:extLst>
            </p:cNvPr>
            <p:cNvSpPr/>
            <p:nvPr/>
          </p:nvSpPr>
          <p:spPr>
            <a:xfrm>
              <a:off x="6566104" y="1016823"/>
              <a:ext cx="1574237" cy="565021"/>
            </a:xfrm>
            <a:prstGeom prst="rect">
              <a:avLst/>
            </a:prstGeom>
            <a:noFill/>
            <a:ln w="4266" cap="flat">
              <a:noFill/>
              <a:prstDash val="solid"/>
              <a:miter/>
            </a:ln>
            <a:extLst>
              <a:ext uri="{909E8E84-426E-40DD-AFC4-6F175D3DCCD1}">
                <a14:hiddenFill xmlns:a14="http://schemas.microsoft.com/office/drawing/2010/main">
                  <a:solidFill>
                    <a:srgbClr val="FFFF00"/>
                  </a:solidFill>
                </a14:hiddenFill>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buNone/>
              </a:pPr>
              <a:r>
                <a:rPr lang="nl-NL" sz="1600" b="1" dirty="0">
                  <a:solidFill>
                    <a:srgbClr val="FFFFFF"/>
                  </a:solidFill>
                  <a:sym typeface="Corbel" panose="020B0503020204020204" pitchFamily="34" charset="0"/>
                </a:rPr>
                <a:t>Verkeer &amp; vervoer</a:t>
              </a:r>
              <a:endParaRPr lang="nl-NL" sz="2000" dirty="0">
                <a:solidFill>
                  <a:srgbClr val="FFFFFF"/>
                </a:solidFill>
                <a:sym typeface="Corbel" panose="020B0503020204020204" pitchFamily="34" charset="0"/>
              </a:endParaRPr>
            </a:p>
          </p:txBody>
        </p:sp>
        <p:pic>
          <p:nvPicPr>
            <p:cNvPr id="6" name="Graphic 5" descr="Car with solid fill">
              <a:extLst>
                <a:ext uri="{FF2B5EF4-FFF2-40B4-BE49-F238E27FC236}">
                  <a16:creationId xmlns:a16="http://schemas.microsoft.com/office/drawing/2014/main" id="{33AE7274-C1CC-4C0F-BF0C-E7A13C4BBEB9}"/>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47571" y="530974"/>
              <a:ext cx="576000" cy="576000"/>
            </a:xfrm>
            <a:prstGeom prst="rect">
              <a:avLst/>
            </a:prstGeom>
          </p:spPr>
        </p:pic>
        <p:sp>
          <p:nvSpPr>
            <p:cNvPr id="39" name="Oval 38">
              <a:extLst>
                <a:ext uri="{FF2B5EF4-FFF2-40B4-BE49-F238E27FC236}">
                  <a16:creationId xmlns:a16="http://schemas.microsoft.com/office/drawing/2014/main" id="{1484C20E-1A9A-4791-BB32-0CC816093759}"/>
                </a:ext>
              </a:extLst>
            </p:cNvPr>
            <p:cNvSpPr/>
            <p:nvPr/>
          </p:nvSpPr>
          <p:spPr>
            <a:xfrm>
              <a:off x="6965074" y="1522637"/>
              <a:ext cx="720000" cy="720000"/>
            </a:xfrm>
            <a:prstGeom prst="ellipse">
              <a:avLst/>
            </a:prstGeom>
            <a:solidFill>
              <a:schemeClr val="accent6"/>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None/>
              </a:pPr>
              <a:r>
                <a:rPr lang="nl-NL" b="1" dirty="0">
                  <a:solidFill>
                    <a:srgbClr val="22777B"/>
                  </a:solidFill>
                  <a:sym typeface="Corbel" panose="020B0503020204020204" pitchFamily="34" charset="0"/>
                </a:rPr>
                <a:t>€ 63</a:t>
              </a:r>
            </a:p>
          </p:txBody>
        </p:sp>
      </p:grpSp>
      <p:sp>
        <p:nvSpPr>
          <p:cNvPr id="544" name="Google Shape;544;p9"/>
          <p:cNvSpPr/>
          <p:nvPr/>
        </p:nvSpPr>
        <p:spPr>
          <a:xfrm rot="5400000">
            <a:off x="2675993" y="-2672878"/>
            <a:ext cx="6858003" cy="12192003"/>
          </a:xfrm>
          <a:custGeom>
            <a:avLst/>
            <a:gdLst>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3742083 w 18621241"/>
              <a:gd name="connsiteY5" fmla="*/ 3475176 h 11421026"/>
              <a:gd name="connsiteX6" fmla="*/ 741996 w 18621241"/>
              <a:gd name="connsiteY6" fmla="*/ 7619330 h 11421026"/>
              <a:gd name="connsiteX7" fmla="*/ 11226247 w 18621241"/>
              <a:gd name="connsiteY7" fmla="*/ 8065463 h 11421026"/>
              <a:gd name="connsiteX8" fmla="*/ 11226247 w 18621241"/>
              <a:gd name="connsiteY8" fmla="*/ 3475176 h 11421026"/>
              <a:gd name="connsiteX9" fmla="*/ 3742083 w 18621241"/>
              <a:gd name="connsiteY9" fmla="*/ 3475176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3742083 w 18621241"/>
              <a:gd name="connsiteY5" fmla="*/ 3475176 h 11421026"/>
              <a:gd name="connsiteX6" fmla="*/ 741996 w 18621241"/>
              <a:gd name="connsiteY6" fmla="*/ 7619330 h 11421026"/>
              <a:gd name="connsiteX7" fmla="*/ 18312660 w 18621241"/>
              <a:gd name="connsiteY7" fmla="*/ 7601484 h 11421026"/>
              <a:gd name="connsiteX8" fmla="*/ 11226247 w 18621241"/>
              <a:gd name="connsiteY8" fmla="*/ 3475176 h 11421026"/>
              <a:gd name="connsiteX9" fmla="*/ 3742083 w 18621241"/>
              <a:gd name="connsiteY9" fmla="*/ 3475176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3742083 w 18621241"/>
              <a:gd name="connsiteY5" fmla="*/ 3475176 h 11421026"/>
              <a:gd name="connsiteX6" fmla="*/ 741996 w 18621241"/>
              <a:gd name="connsiteY6" fmla="*/ 7619330 h 11421026"/>
              <a:gd name="connsiteX7" fmla="*/ 18312660 w 18621241"/>
              <a:gd name="connsiteY7" fmla="*/ 7601484 h 11421026"/>
              <a:gd name="connsiteX8" fmla="*/ 18157483 w 18621241"/>
              <a:gd name="connsiteY8" fmla="*/ 3742856 h 11421026"/>
              <a:gd name="connsiteX9" fmla="*/ 3742083 w 18621241"/>
              <a:gd name="connsiteY9" fmla="*/ 3475176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157483 w 18621241"/>
              <a:gd name="connsiteY8" fmla="*/ 3742856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467840 w 18621241"/>
              <a:gd name="connsiteY8" fmla="*/ 3778547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467840 w 18621241"/>
              <a:gd name="connsiteY8" fmla="*/ 3778547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364389 w 18621241"/>
              <a:gd name="connsiteY8" fmla="*/ 3790444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364389 w 18621241"/>
              <a:gd name="connsiteY8" fmla="*/ 3790444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364389 w 18621241"/>
              <a:gd name="connsiteY8" fmla="*/ 3790444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364389 w 18621241"/>
              <a:gd name="connsiteY8" fmla="*/ 3790444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364389 w 18621241"/>
              <a:gd name="connsiteY8" fmla="*/ 3790444 h 11421026"/>
              <a:gd name="connsiteX9" fmla="*/ 793721 w 18621241"/>
              <a:gd name="connsiteY9" fmla="*/ 3796392 h 11421026"/>
              <a:gd name="connsiteX0" fmla="*/ 0 w 18621241"/>
              <a:gd name="connsiteY0" fmla="*/ 0 h 11421026"/>
              <a:gd name="connsiteX1" fmla="*/ 18621241 w 18621241"/>
              <a:gd name="connsiteY1" fmla="*/ 0 h 11421026"/>
              <a:gd name="connsiteX2" fmla="*/ 18621241 w 18621241"/>
              <a:gd name="connsiteY2" fmla="*/ 11421026 h 11421026"/>
              <a:gd name="connsiteX3" fmla="*/ 0 w 18621241"/>
              <a:gd name="connsiteY3" fmla="*/ 11421026 h 11421026"/>
              <a:gd name="connsiteX4" fmla="*/ 0 w 18621241"/>
              <a:gd name="connsiteY4" fmla="*/ 0 h 11421026"/>
              <a:gd name="connsiteX5" fmla="*/ 793721 w 18621241"/>
              <a:gd name="connsiteY5" fmla="*/ 3796392 h 11421026"/>
              <a:gd name="connsiteX6" fmla="*/ 741996 w 18621241"/>
              <a:gd name="connsiteY6" fmla="*/ 7619330 h 11421026"/>
              <a:gd name="connsiteX7" fmla="*/ 18312660 w 18621241"/>
              <a:gd name="connsiteY7" fmla="*/ 7601484 h 11421026"/>
              <a:gd name="connsiteX8" fmla="*/ 18364389 w 18621241"/>
              <a:gd name="connsiteY8" fmla="*/ 3790444 h 11421026"/>
              <a:gd name="connsiteX9" fmla="*/ 793721 w 18621241"/>
              <a:gd name="connsiteY9" fmla="*/ 3796392 h 11421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621241" h="11421026" extrusionOk="0">
                <a:moveTo>
                  <a:pt x="0" y="0"/>
                </a:moveTo>
                <a:lnTo>
                  <a:pt x="18621241" y="0"/>
                </a:lnTo>
                <a:lnTo>
                  <a:pt x="18621241" y="11421026"/>
                </a:lnTo>
                <a:lnTo>
                  <a:pt x="0" y="11421026"/>
                </a:lnTo>
                <a:lnTo>
                  <a:pt x="0" y="0"/>
                </a:lnTo>
                <a:close/>
                <a:moveTo>
                  <a:pt x="793721" y="3796392"/>
                </a:moveTo>
                <a:lnTo>
                  <a:pt x="741996" y="7619330"/>
                </a:lnTo>
                <a:lnTo>
                  <a:pt x="18312660" y="7601484"/>
                </a:lnTo>
                <a:cubicBezTo>
                  <a:pt x="18338524" y="5695964"/>
                  <a:pt x="18373009" y="7563778"/>
                  <a:pt x="18364389" y="3790444"/>
                </a:cubicBezTo>
                <a:lnTo>
                  <a:pt x="793721" y="3796392"/>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Tree>
    <p:extLst>
      <p:ext uri="{BB962C8B-B14F-4D97-AF65-F5344CB8AC3E}">
        <p14:creationId xmlns:p14="http://schemas.microsoft.com/office/powerpoint/2010/main" val="3618963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5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0802A4-28CF-4CD0-BDAF-092CC7C15CDC}"/>
              </a:ext>
            </a:extLst>
          </p:cNvPr>
          <p:cNvGraphicFramePr>
            <a:graphicFrameLocks noChangeAspect="1"/>
          </p:cNvGraphicFramePr>
          <p:nvPr>
            <p:custDataLst>
              <p:tags r:id="rId1"/>
            </p:custDataLst>
            <p:extLst>
              <p:ext uri="{D42A27DB-BD31-4B8C-83A1-F6EECF244321}">
                <p14:modId xmlns:p14="http://schemas.microsoft.com/office/powerpoint/2010/main" val="4251728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0802A4-28CF-4CD0-BDAF-092CC7C15C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3" name="Google Shape;533;p8"/>
          <p:cNvSpPr txBox="1">
            <a:spLocks noGrp="1"/>
          </p:cNvSpPr>
          <p:nvPr>
            <p:ph type="ftr" idx="4294967295"/>
          </p:nvPr>
        </p:nvSpPr>
        <p:spPr>
          <a:xfrm>
            <a:off x="658813" y="6619875"/>
            <a:ext cx="9753023" cy="163512"/>
          </a:xfrm>
          <a:prstGeom prst="rect">
            <a:avLst/>
          </a:prstGeom>
          <a:noFill/>
          <a:ln>
            <a:noFill/>
          </a:ln>
        </p:spPr>
        <p:txBody>
          <a:bodyPr spcFirstLastPara="1" wrap="square" lIns="91425" tIns="45700" rIns="91425" bIns="45700" anchor="ctr" anchorCtr="0">
            <a:noAutofit/>
          </a:bodyPr>
          <a:lstStyle/>
          <a:p>
            <a:pPr marL="180000" marR="0" lvl="0" indent="-129200" algn="l">
              <a:lnSpc>
                <a:spcPct val="90000"/>
              </a:lnSpc>
              <a:spcBef>
                <a:spcPts val="0"/>
              </a:spcBef>
              <a:spcAft>
                <a:spcPts val="0"/>
              </a:spcAft>
              <a:buClr>
                <a:schemeClr val="dk2"/>
              </a:buClr>
              <a:buSzPts val="800"/>
              <a:buFont typeface="Noto Sans Symbols"/>
              <a:buNone/>
            </a:pPr>
            <a:endParaRPr lang="nl-NL" sz="800" b="0" i="0" u="none" strike="noStrike" cap="none" dirty="0">
              <a:solidFill>
                <a:srgbClr val="000000"/>
              </a:solidFill>
              <a:ea typeface="Corbel"/>
              <a:cs typeface="Corbel"/>
              <a:sym typeface="Corbel" panose="020B0503020204020204" pitchFamily="34" charset="0"/>
            </a:endParaRPr>
          </a:p>
        </p:txBody>
      </p:sp>
      <p:sp>
        <p:nvSpPr>
          <p:cNvPr id="534" name="Google Shape;534;p8"/>
          <p:cNvSpPr txBox="1">
            <a:spLocks noGrp="1"/>
          </p:cNvSpPr>
          <p:nvPr>
            <p:ph type="sldNum" idx="12"/>
          </p:nvPr>
        </p:nvSpPr>
        <p:spPr>
          <a:xfrm>
            <a:off x="10510048" y="6578762"/>
            <a:ext cx="1023140" cy="168275"/>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7</a:t>
            </a:fld>
            <a:endParaRPr lang="nl-NL" dirty="0">
              <a:sym typeface="Corbel" panose="020B0503020204020204" pitchFamily="34" charset="0"/>
            </a:endParaRPr>
          </a:p>
        </p:txBody>
      </p:sp>
      <p:sp>
        <p:nvSpPr>
          <p:cNvPr id="535" name="Google Shape;535;p8"/>
          <p:cNvSpPr txBox="1">
            <a:spLocks noGrp="1"/>
          </p:cNvSpPr>
          <p:nvPr>
            <p:ph type="body" idx="1"/>
          </p:nvPr>
        </p:nvSpPr>
        <p:spPr>
          <a:xfrm>
            <a:off x="658814" y="2019300"/>
            <a:ext cx="10874374" cy="4953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4000"/>
              <a:buNone/>
            </a:pPr>
            <a:r>
              <a:rPr lang="nl-NL">
                <a:sym typeface="Corbel" panose="020B0503020204020204" pitchFamily="34" charset="0"/>
              </a:rPr>
              <a:t>Templates</a:t>
            </a:r>
            <a:endParaRPr lang="nl-NL" dirty="0">
              <a:sym typeface="Corbel" panose="020B0503020204020204" pitchFamily="34" charset="0"/>
            </a:endParaRPr>
          </a:p>
        </p:txBody>
      </p:sp>
      <p:sp>
        <p:nvSpPr>
          <p:cNvPr id="536" name="Google Shape;536;p8"/>
          <p:cNvSpPr txBox="1">
            <a:spLocks noGrp="1"/>
          </p:cNvSpPr>
          <p:nvPr>
            <p:ph type="body" idx="2"/>
          </p:nvPr>
        </p:nvSpPr>
        <p:spPr>
          <a:xfrm>
            <a:off x="658813" y="2514600"/>
            <a:ext cx="10874374" cy="9144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5400"/>
              <a:buNone/>
            </a:pPr>
            <a:r>
              <a:rPr lang="nl-NL" dirty="0">
                <a:sym typeface="Corbel" panose="020B0503020204020204" pitchFamily="34" charset="0"/>
              </a:rPr>
              <a:t>3. Post voor nieuwe medewerker</a:t>
            </a:r>
          </a:p>
        </p:txBody>
      </p:sp>
    </p:spTree>
    <p:extLst>
      <p:ext uri="{BB962C8B-B14F-4D97-AF65-F5344CB8AC3E}">
        <p14:creationId xmlns:p14="http://schemas.microsoft.com/office/powerpoint/2010/main" val="16589452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3820043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2" name="Google Shape;542;p9"/>
          <p:cNvSpPr/>
          <p:nvPr/>
        </p:nvSpPr>
        <p:spPr>
          <a:xfrm>
            <a:off x="2065060"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solidFill>
            <a:schemeClr val="bg1"/>
          </a:soli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grpSp>
        <p:nvGrpSpPr>
          <p:cNvPr id="6" name="Group 5">
            <a:extLst>
              <a:ext uri="{FF2B5EF4-FFF2-40B4-BE49-F238E27FC236}">
                <a16:creationId xmlns:a16="http://schemas.microsoft.com/office/drawing/2014/main" id="{FDCC4B89-1326-44C3-A26C-6185DE2E8AF9}"/>
              </a:ext>
            </a:extLst>
          </p:cNvPr>
          <p:cNvGrpSpPr/>
          <p:nvPr/>
        </p:nvGrpSpPr>
        <p:grpSpPr>
          <a:xfrm>
            <a:off x="2124816" y="1779112"/>
            <a:ext cx="333710" cy="4494191"/>
            <a:chOff x="2124816" y="1779112"/>
            <a:chExt cx="333710" cy="4494191"/>
          </a:xfrm>
        </p:grpSpPr>
        <p:grpSp>
          <p:nvGrpSpPr>
            <p:cNvPr id="5" name="Group 4">
              <a:extLst>
                <a:ext uri="{FF2B5EF4-FFF2-40B4-BE49-F238E27FC236}">
                  <a16:creationId xmlns:a16="http://schemas.microsoft.com/office/drawing/2014/main" id="{51E37340-7C76-4ED7-956D-C7F9CB053478}"/>
                </a:ext>
              </a:extLst>
            </p:cNvPr>
            <p:cNvGrpSpPr/>
            <p:nvPr/>
          </p:nvGrpSpPr>
          <p:grpSpPr>
            <a:xfrm>
              <a:off x="2124816" y="1779112"/>
              <a:ext cx="333710" cy="4174156"/>
              <a:chOff x="2124816" y="1779112"/>
              <a:chExt cx="333710" cy="4174156"/>
            </a:xfrm>
          </p:grpSpPr>
          <p:pic>
            <p:nvPicPr>
              <p:cNvPr id="22" name="Picture 21">
                <a:extLst>
                  <a:ext uri="{FF2B5EF4-FFF2-40B4-BE49-F238E27FC236}">
                    <a16:creationId xmlns:a16="http://schemas.microsoft.com/office/drawing/2014/main" id="{EC8D3828-CF2F-40A4-85C6-99860E00CC7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35" name="Picture 34">
                <a:extLst>
                  <a:ext uri="{FF2B5EF4-FFF2-40B4-BE49-F238E27FC236}">
                    <a16:creationId xmlns:a16="http://schemas.microsoft.com/office/drawing/2014/main" id="{90BC7071-D6FC-4C25-8F2A-0F22C0B466C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36" name="Picture 35">
                <a:extLst>
                  <a:ext uri="{FF2B5EF4-FFF2-40B4-BE49-F238E27FC236}">
                    <a16:creationId xmlns:a16="http://schemas.microsoft.com/office/drawing/2014/main" id="{22D5B084-7F4C-484D-8A88-E0667B9B8DB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37" name="Picture 36">
                <a:extLst>
                  <a:ext uri="{FF2B5EF4-FFF2-40B4-BE49-F238E27FC236}">
                    <a16:creationId xmlns:a16="http://schemas.microsoft.com/office/drawing/2014/main" id="{FDC67B98-B2F4-408D-B2EC-507D11F81483}"/>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38" name="Picture 37">
                <a:extLst>
                  <a:ext uri="{FF2B5EF4-FFF2-40B4-BE49-F238E27FC236}">
                    <a16:creationId xmlns:a16="http://schemas.microsoft.com/office/drawing/2014/main" id="{50248979-59EE-46FF-BCD2-1810A98AF29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39" name="Picture 38">
                <a:extLst>
                  <a:ext uri="{FF2B5EF4-FFF2-40B4-BE49-F238E27FC236}">
                    <a16:creationId xmlns:a16="http://schemas.microsoft.com/office/drawing/2014/main" id="{C66227C5-8651-40B1-B4C2-E2BAE357192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40" name="Picture 39">
                <a:extLst>
                  <a:ext uri="{FF2B5EF4-FFF2-40B4-BE49-F238E27FC236}">
                    <a16:creationId xmlns:a16="http://schemas.microsoft.com/office/drawing/2014/main" id="{C73EBBFF-E242-4A4F-9655-8153E926F8D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41" name="Picture 40">
                <a:extLst>
                  <a:ext uri="{FF2B5EF4-FFF2-40B4-BE49-F238E27FC236}">
                    <a16:creationId xmlns:a16="http://schemas.microsoft.com/office/drawing/2014/main" id="{EB2CDD8F-A105-4050-AA5A-6B82CA7DF63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42" name="Picture 41">
                <a:extLst>
                  <a:ext uri="{FF2B5EF4-FFF2-40B4-BE49-F238E27FC236}">
                    <a16:creationId xmlns:a16="http://schemas.microsoft.com/office/drawing/2014/main" id="{4C27065E-49D5-49BA-8AB9-2827C5711FA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43" name="Picture 42">
                <a:extLst>
                  <a:ext uri="{FF2B5EF4-FFF2-40B4-BE49-F238E27FC236}">
                    <a16:creationId xmlns:a16="http://schemas.microsoft.com/office/drawing/2014/main" id="{5DB5299D-399E-4300-9EB8-9542B64EC6F3}"/>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44" name="Picture 43">
                <a:extLst>
                  <a:ext uri="{FF2B5EF4-FFF2-40B4-BE49-F238E27FC236}">
                    <a16:creationId xmlns:a16="http://schemas.microsoft.com/office/drawing/2014/main" id="{92C36B4A-37FD-48E2-8699-C9E3837C9CD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45" name="Picture 44">
                <a:extLst>
                  <a:ext uri="{FF2B5EF4-FFF2-40B4-BE49-F238E27FC236}">
                    <a16:creationId xmlns:a16="http://schemas.microsoft.com/office/drawing/2014/main" id="{B10EE9A1-3369-4CBB-842D-66E231D9798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46" name="Picture 45">
                <a:extLst>
                  <a:ext uri="{FF2B5EF4-FFF2-40B4-BE49-F238E27FC236}">
                    <a16:creationId xmlns:a16="http://schemas.microsoft.com/office/drawing/2014/main" id="{DAE05676-7167-418C-990D-D59DFD1C873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48" name="Picture 47">
              <a:extLst>
                <a:ext uri="{FF2B5EF4-FFF2-40B4-BE49-F238E27FC236}">
                  <a16:creationId xmlns:a16="http://schemas.microsoft.com/office/drawing/2014/main" id="{2BE0C82C-69B4-4296-854A-98AD67C345C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49" name="Group 48">
            <a:extLst>
              <a:ext uri="{FF2B5EF4-FFF2-40B4-BE49-F238E27FC236}">
                <a16:creationId xmlns:a16="http://schemas.microsoft.com/office/drawing/2014/main" id="{048590E0-8501-4B6F-8585-E06494699EA5}"/>
              </a:ext>
            </a:extLst>
          </p:cNvPr>
          <p:cNvGrpSpPr/>
          <p:nvPr/>
        </p:nvGrpSpPr>
        <p:grpSpPr>
          <a:xfrm>
            <a:off x="2695023" y="1779112"/>
            <a:ext cx="333710" cy="4494191"/>
            <a:chOff x="2124816" y="1779112"/>
            <a:chExt cx="333710" cy="4494191"/>
          </a:xfrm>
        </p:grpSpPr>
        <p:grpSp>
          <p:nvGrpSpPr>
            <p:cNvPr id="50" name="Group 49">
              <a:extLst>
                <a:ext uri="{FF2B5EF4-FFF2-40B4-BE49-F238E27FC236}">
                  <a16:creationId xmlns:a16="http://schemas.microsoft.com/office/drawing/2014/main" id="{2B7DE1A8-41B4-4359-B400-C70D9400E5E0}"/>
                </a:ext>
              </a:extLst>
            </p:cNvPr>
            <p:cNvGrpSpPr/>
            <p:nvPr/>
          </p:nvGrpSpPr>
          <p:grpSpPr>
            <a:xfrm>
              <a:off x="2124816" y="1779112"/>
              <a:ext cx="333710" cy="4174156"/>
              <a:chOff x="2124816" y="1779112"/>
              <a:chExt cx="333710" cy="4174156"/>
            </a:xfrm>
          </p:grpSpPr>
          <p:pic>
            <p:nvPicPr>
              <p:cNvPr id="52" name="Picture 51">
                <a:extLst>
                  <a:ext uri="{FF2B5EF4-FFF2-40B4-BE49-F238E27FC236}">
                    <a16:creationId xmlns:a16="http://schemas.microsoft.com/office/drawing/2014/main" id="{593BAECD-45B1-4C0E-9797-C82B128431E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53" name="Picture 52">
                <a:extLst>
                  <a:ext uri="{FF2B5EF4-FFF2-40B4-BE49-F238E27FC236}">
                    <a16:creationId xmlns:a16="http://schemas.microsoft.com/office/drawing/2014/main" id="{26F494D1-EE92-4B95-AB11-3568C27272B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54" name="Picture 53">
                <a:extLst>
                  <a:ext uri="{FF2B5EF4-FFF2-40B4-BE49-F238E27FC236}">
                    <a16:creationId xmlns:a16="http://schemas.microsoft.com/office/drawing/2014/main" id="{AB37D5BE-C629-473B-A545-BD8CACA5964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55" name="Picture 54">
                <a:extLst>
                  <a:ext uri="{FF2B5EF4-FFF2-40B4-BE49-F238E27FC236}">
                    <a16:creationId xmlns:a16="http://schemas.microsoft.com/office/drawing/2014/main" id="{F03F68A5-F331-47D2-A8D6-CA92360F29B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56" name="Picture 55">
                <a:extLst>
                  <a:ext uri="{FF2B5EF4-FFF2-40B4-BE49-F238E27FC236}">
                    <a16:creationId xmlns:a16="http://schemas.microsoft.com/office/drawing/2014/main" id="{35513F62-72AE-4FD7-A157-417E843C1C2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57" name="Picture 56">
                <a:extLst>
                  <a:ext uri="{FF2B5EF4-FFF2-40B4-BE49-F238E27FC236}">
                    <a16:creationId xmlns:a16="http://schemas.microsoft.com/office/drawing/2014/main" id="{8FFA2E32-4263-4CCB-91C1-0FFA11D2C8A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58" name="Picture 57">
                <a:extLst>
                  <a:ext uri="{FF2B5EF4-FFF2-40B4-BE49-F238E27FC236}">
                    <a16:creationId xmlns:a16="http://schemas.microsoft.com/office/drawing/2014/main" id="{722B04F5-DB89-41B9-8868-BED06C0D0BE0}"/>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59" name="Picture 58">
                <a:extLst>
                  <a:ext uri="{FF2B5EF4-FFF2-40B4-BE49-F238E27FC236}">
                    <a16:creationId xmlns:a16="http://schemas.microsoft.com/office/drawing/2014/main" id="{DFD3EA90-C505-4EF7-B5D8-FE5AA96E58F3}"/>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60" name="Picture 59">
                <a:extLst>
                  <a:ext uri="{FF2B5EF4-FFF2-40B4-BE49-F238E27FC236}">
                    <a16:creationId xmlns:a16="http://schemas.microsoft.com/office/drawing/2014/main" id="{9924E969-2180-41D7-B6D3-28EA6D4FC6A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61" name="Picture 60">
                <a:extLst>
                  <a:ext uri="{FF2B5EF4-FFF2-40B4-BE49-F238E27FC236}">
                    <a16:creationId xmlns:a16="http://schemas.microsoft.com/office/drawing/2014/main" id="{6B5ED701-E318-4C8C-9AE9-2CB98AE81CB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62" name="Picture 61">
                <a:extLst>
                  <a:ext uri="{FF2B5EF4-FFF2-40B4-BE49-F238E27FC236}">
                    <a16:creationId xmlns:a16="http://schemas.microsoft.com/office/drawing/2014/main" id="{3C010335-0142-41CE-A9DD-367FD9CB77E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63" name="Picture 62">
                <a:extLst>
                  <a:ext uri="{FF2B5EF4-FFF2-40B4-BE49-F238E27FC236}">
                    <a16:creationId xmlns:a16="http://schemas.microsoft.com/office/drawing/2014/main" id="{FDC6D380-700B-467A-A75D-1B832B2BB93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64" name="Picture 63">
                <a:extLst>
                  <a:ext uri="{FF2B5EF4-FFF2-40B4-BE49-F238E27FC236}">
                    <a16:creationId xmlns:a16="http://schemas.microsoft.com/office/drawing/2014/main" id="{1B6CB8AF-4B24-42A2-9F2A-C8D04A5AE45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51" name="Picture 50">
              <a:extLst>
                <a:ext uri="{FF2B5EF4-FFF2-40B4-BE49-F238E27FC236}">
                  <a16:creationId xmlns:a16="http://schemas.microsoft.com/office/drawing/2014/main" id="{92396331-2508-43C9-A979-A421CDF2A1A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65" name="Group 64">
            <a:extLst>
              <a:ext uri="{FF2B5EF4-FFF2-40B4-BE49-F238E27FC236}">
                <a16:creationId xmlns:a16="http://schemas.microsoft.com/office/drawing/2014/main" id="{C1AA708C-7DDD-4ACD-981B-EEE079C54919}"/>
              </a:ext>
            </a:extLst>
          </p:cNvPr>
          <p:cNvGrpSpPr/>
          <p:nvPr/>
        </p:nvGrpSpPr>
        <p:grpSpPr>
          <a:xfrm>
            <a:off x="3265230" y="1779112"/>
            <a:ext cx="333710" cy="4494191"/>
            <a:chOff x="2124816" y="1779112"/>
            <a:chExt cx="333710" cy="4494191"/>
          </a:xfrm>
        </p:grpSpPr>
        <p:grpSp>
          <p:nvGrpSpPr>
            <p:cNvPr id="66" name="Group 65">
              <a:extLst>
                <a:ext uri="{FF2B5EF4-FFF2-40B4-BE49-F238E27FC236}">
                  <a16:creationId xmlns:a16="http://schemas.microsoft.com/office/drawing/2014/main" id="{EC4EB307-8B28-4BD2-87BC-5560DDFB0428}"/>
                </a:ext>
              </a:extLst>
            </p:cNvPr>
            <p:cNvGrpSpPr/>
            <p:nvPr/>
          </p:nvGrpSpPr>
          <p:grpSpPr>
            <a:xfrm>
              <a:off x="2124816" y="1779112"/>
              <a:ext cx="333710" cy="4174156"/>
              <a:chOff x="2124816" y="1779112"/>
              <a:chExt cx="333710" cy="4174156"/>
            </a:xfrm>
          </p:grpSpPr>
          <p:pic>
            <p:nvPicPr>
              <p:cNvPr id="68" name="Picture 67">
                <a:extLst>
                  <a:ext uri="{FF2B5EF4-FFF2-40B4-BE49-F238E27FC236}">
                    <a16:creationId xmlns:a16="http://schemas.microsoft.com/office/drawing/2014/main" id="{AA8A6A5E-AA77-4958-AC00-70F07CB4F1A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69" name="Picture 68">
                <a:extLst>
                  <a:ext uri="{FF2B5EF4-FFF2-40B4-BE49-F238E27FC236}">
                    <a16:creationId xmlns:a16="http://schemas.microsoft.com/office/drawing/2014/main" id="{ABE9ED1B-68DE-413D-88F4-2316FFB98D8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70" name="Picture 69">
                <a:extLst>
                  <a:ext uri="{FF2B5EF4-FFF2-40B4-BE49-F238E27FC236}">
                    <a16:creationId xmlns:a16="http://schemas.microsoft.com/office/drawing/2014/main" id="{2AD0D091-A331-48CB-96F8-283FE114CD4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71" name="Picture 70">
                <a:extLst>
                  <a:ext uri="{FF2B5EF4-FFF2-40B4-BE49-F238E27FC236}">
                    <a16:creationId xmlns:a16="http://schemas.microsoft.com/office/drawing/2014/main" id="{46640B8A-8282-4EE2-8EFF-FD305BC1C28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72" name="Picture 71">
                <a:extLst>
                  <a:ext uri="{FF2B5EF4-FFF2-40B4-BE49-F238E27FC236}">
                    <a16:creationId xmlns:a16="http://schemas.microsoft.com/office/drawing/2014/main" id="{D22CA4B0-85E2-4B38-A87A-053AF41C56E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73" name="Picture 72">
                <a:extLst>
                  <a:ext uri="{FF2B5EF4-FFF2-40B4-BE49-F238E27FC236}">
                    <a16:creationId xmlns:a16="http://schemas.microsoft.com/office/drawing/2014/main" id="{2639B3CE-0D03-47A1-A172-13FB016444E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74" name="Picture 73">
                <a:extLst>
                  <a:ext uri="{FF2B5EF4-FFF2-40B4-BE49-F238E27FC236}">
                    <a16:creationId xmlns:a16="http://schemas.microsoft.com/office/drawing/2014/main" id="{CF25C0E6-F5D9-44EF-8573-CDD29FED801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75" name="Picture 74">
                <a:extLst>
                  <a:ext uri="{FF2B5EF4-FFF2-40B4-BE49-F238E27FC236}">
                    <a16:creationId xmlns:a16="http://schemas.microsoft.com/office/drawing/2014/main" id="{80D7483C-9034-4E99-9A29-67EC88BD1C8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76" name="Picture 75">
                <a:extLst>
                  <a:ext uri="{FF2B5EF4-FFF2-40B4-BE49-F238E27FC236}">
                    <a16:creationId xmlns:a16="http://schemas.microsoft.com/office/drawing/2014/main" id="{A552F0AB-9389-44C3-BE92-F0AC6A51A25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77" name="Picture 76">
                <a:extLst>
                  <a:ext uri="{FF2B5EF4-FFF2-40B4-BE49-F238E27FC236}">
                    <a16:creationId xmlns:a16="http://schemas.microsoft.com/office/drawing/2014/main" id="{715206A3-02C0-481B-8705-D295996F6AD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78" name="Picture 77">
                <a:extLst>
                  <a:ext uri="{FF2B5EF4-FFF2-40B4-BE49-F238E27FC236}">
                    <a16:creationId xmlns:a16="http://schemas.microsoft.com/office/drawing/2014/main" id="{48A006E1-8620-41D2-A275-281F5A7DC36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79" name="Picture 78">
                <a:extLst>
                  <a:ext uri="{FF2B5EF4-FFF2-40B4-BE49-F238E27FC236}">
                    <a16:creationId xmlns:a16="http://schemas.microsoft.com/office/drawing/2014/main" id="{735B209C-C7F0-4ADE-BFBB-AE01CF39A74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80" name="Picture 79">
                <a:extLst>
                  <a:ext uri="{FF2B5EF4-FFF2-40B4-BE49-F238E27FC236}">
                    <a16:creationId xmlns:a16="http://schemas.microsoft.com/office/drawing/2014/main" id="{8F596B87-293B-46DB-AF5F-FC08CE801574}"/>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67" name="Picture 66">
              <a:extLst>
                <a:ext uri="{FF2B5EF4-FFF2-40B4-BE49-F238E27FC236}">
                  <a16:creationId xmlns:a16="http://schemas.microsoft.com/office/drawing/2014/main" id="{8C216B60-CB03-4CEA-8C94-80C843FABA5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81" name="Group 80">
            <a:extLst>
              <a:ext uri="{FF2B5EF4-FFF2-40B4-BE49-F238E27FC236}">
                <a16:creationId xmlns:a16="http://schemas.microsoft.com/office/drawing/2014/main" id="{E5B68129-C14F-4F35-9210-268E84906583}"/>
              </a:ext>
            </a:extLst>
          </p:cNvPr>
          <p:cNvGrpSpPr/>
          <p:nvPr/>
        </p:nvGrpSpPr>
        <p:grpSpPr>
          <a:xfrm>
            <a:off x="3835437" y="1779112"/>
            <a:ext cx="333710" cy="4494191"/>
            <a:chOff x="2124816" y="1779112"/>
            <a:chExt cx="333710" cy="4494191"/>
          </a:xfrm>
        </p:grpSpPr>
        <p:grpSp>
          <p:nvGrpSpPr>
            <p:cNvPr id="82" name="Group 81">
              <a:extLst>
                <a:ext uri="{FF2B5EF4-FFF2-40B4-BE49-F238E27FC236}">
                  <a16:creationId xmlns:a16="http://schemas.microsoft.com/office/drawing/2014/main" id="{05136BA9-0CE0-47FA-8985-0A02C2DD4018}"/>
                </a:ext>
              </a:extLst>
            </p:cNvPr>
            <p:cNvGrpSpPr/>
            <p:nvPr/>
          </p:nvGrpSpPr>
          <p:grpSpPr>
            <a:xfrm>
              <a:off x="2124816" y="1779112"/>
              <a:ext cx="333710" cy="4174156"/>
              <a:chOff x="2124816" y="1779112"/>
              <a:chExt cx="333710" cy="4174156"/>
            </a:xfrm>
          </p:grpSpPr>
          <p:pic>
            <p:nvPicPr>
              <p:cNvPr id="84" name="Picture 83">
                <a:extLst>
                  <a:ext uri="{FF2B5EF4-FFF2-40B4-BE49-F238E27FC236}">
                    <a16:creationId xmlns:a16="http://schemas.microsoft.com/office/drawing/2014/main" id="{DA3F6F63-BCC4-48A9-B355-4D5600CBAC6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85" name="Picture 84">
                <a:extLst>
                  <a:ext uri="{FF2B5EF4-FFF2-40B4-BE49-F238E27FC236}">
                    <a16:creationId xmlns:a16="http://schemas.microsoft.com/office/drawing/2014/main" id="{77FACFFB-BF73-4631-BD3A-AA72AFA03EE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86" name="Picture 85">
                <a:extLst>
                  <a:ext uri="{FF2B5EF4-FFF2-40B4-BE49-F238E27FC236}">
                    <a16:creationId xmlns:a16="http://schemas.microsoft.com/office/drawing/2014/main" id="{25BE5148-5DD2-4A20-874B-509B43B3A0A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87" name="Picture 86">
                <a:extLst>
                  <a:ext uri="{FF2B5EF4-FFF2-40B4-BE49-F238E27FC236}">
                    <a16:creationId xmlns:a16="http://schemas.microsoft.com/office/drawing/2014/main" id="{8A787859-B5FE-4CD6-B6E1-BFBA4A3F41E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88" name="Picture 87">
                <a:extLst>
                  <a:ext uri="{FF2B5EF4-FFF2-40B4-BE49-F238E27FC236}">
                    <a16:creationId xmlns:a16="http://schemas.microsoft.com/office/drawing/2014/main" id="{E00DE88C-8537-4AE0-8758-D94D9262D53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89" name="Picture 88">
                <a:extLst>
                  <a:ext uri="{FF2B5EF4-FFF2-40B4-BE49-F238E27FC236}">
                    <a16:creationId xmlns:a16="http://schemas.microsoft.com/office/drawing/2014/main" id="{C37ACA4D-7830-4DC0-A167-ACB261B9ADE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90" name="Picture 89">
                <a:extLst>
                  <a:ext uri="{FF2B5EF4-FFF2-40B4-BE49-F238E27FC236}">
                    <a16:creationId xmlns:a16="http://schemas.microsoft.com/office/drawing/2014/main" id="{EA7A7548-3818-44DC-A8D4-2C6DDAAC51C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91" name="Picture 90">
                <a:extLst>
                  <a:ext uri="{FF2B5EF4-FFF2-40B4-BE49-F238E27FC236}">
                    <a16:creationId xmlns:a16="http://schemas.microsoft.com/office/drawing/2014/main" id="{0BFABAB6-6BC3-4FAE-9402-49EB735459D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92" name="Picture 91">
                <a:extLst>
                  <a:ext uri="{FF2B5EF4-FFF2-40B4-BE49-F238E27FC236}">
                    <a16:creationId xmlns:a16="http://schemas.microsoft.com/office/drawing/2014/main" id="{ADA928A6-192C-4167-B4AA-4ECC84CEB34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93" name="Picture 92">
                <a:extLst>
                  <a:ext uri="{FF2B5EF4-FFF2-40B4-BE49-F238E27FC236}">
                    <a16:creationId xmlns:a16="http://schemas.microsoft.com/office/drawing/2014/main" id="{4C54E966-C805-4F38-95B8-89318FD7ECA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94" name="Picture 93">
                <a:extLst>
                  <a:ext uri="{FF2B5EF4-FFF2-40B4-BE49-F238E27FC236}">
                    <a16:creationId xmlns:a16="http://schemas.microsoft.com/office/drawing/2014/main" id="{F55FC969-29AA-4A7D-B92B-FAE8A08D53B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95" name="Picture 94">
                <a:extLst>
                  <a:ext uri="{FF2B5EF4-FFF2-40B4-BE49-F238E27FC236}">
                    <a16:creationId xmlns:a16="http://schemas.microsoft.com/office/drawing/2014/main" id="{F6D847C1-299B-4BE7-9571-60FF12D2F16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96" name="Picture 95">
                <a:extLst>
                  <a:ext uri="{FF2B5EF4-FFF2-40B4-BE49-F238E27FC236}">
                    <a16:creationId xmlns:a16="http://schemas.microsoft.com/office/drawing/2014/main" id="{17A7794E-A800-4254-8644-5A7C497F220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83" name="Picture 82">
              <a:extLst>
                <a:ext uri="{FF2B5EF4-FFF2-40B4-BE49-F238E27FC236}">
                  <a16:creationId xmlns:a16="http://schemas.microsoft.com/office/drawing/2014/main" id="{B91CF00C-0A89-4209-8A04-BF741D0A26B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97" name="Group 96">
            <a:extLst>
              <a:ext uri="{FF2B5EF4-FFF2-40B4-BE49-F238E27FC236}">
                <a16:creationId xmlns:a16="http://schemas.microsoft.com/office/drawing/2014/main" id="{468A2D16-70DD-493A-8BDA-60526923E6C9}"/>
              </a:ext>
            </a:extLst>
          </p:cNvPr>
          <p:cNvGrpSpPr/>
          <p:nvPr/>
        </p:nvGrpSpPr>
        <p:grpSpPr>
          <a:xfrm>
            <a:off x="4405644" y="1779112"/>
            <a:ext cx="333710" cy="4494191"/>
            <a:chOff x="2124816" y="1779112"/>
            <a:chExt cx="333710" cy="4494191"/>
          </a:xfrm>
        </p:grpSpPr>
        <p:grpSp>
          <p:nvGrpSpPr>
            <p:cNvPr id="98" name="Group 97">
              <a:extLst>
                <a:ext uri="{FF2B5EF4-FFF2-40B4-BE49-F238E27FC236}">
                  <a16:creationId xmlns:a16="http://schemas.microsoft.com/office/drawing/2014/main" id="{98058B3E-65C9-49D3-93A6-1389AE3D9DD7}"/>
                </a:ext>
              </a:extLst>
            </p:cNvPr>
            <p:cNvGrpSpPr/>
            <p:nvPr/>
          </p:nvGrpSpPr>
          <p:grpSpPr>
            <a:xfrm>
              <a:off x="2124816" y="1779112"/>
              <a:ext cx="333710" cy="4174156"/>
              <a:chOff x="2124816" y="1779112"/>
              <a:chExt cx="333710" cy="4174156"/>
            </a:xfrm>
          </p:grpSpPr>
          <p:pic>
            <p:nvPicPr>
              <p:cNvPr id="100" name="Picture 99">
                <a:extLst>
                  <a:ext uri="{FF2B5EF4-FFF2-40B4-BE49-F238E27FC236}">
                    <a16:creationId xmlns:a16="http://schemas.microsoft.com/office/drawing/2014/main" id="{29852A3E-BA70-4466-A6D5-2CE4408DB0D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101" name="Picture 100">
                <a:extLst>
                  <a:ext uri="{FF2B5EF4-FFF2-40B4-BE49-F238E27FC236}">
                    <a16:creationId xmlns:a16="http://schemas.microsoft.com/office/drawing/2014/main" id="{A880FC60-3E79-4B72-A96A-C5269D68540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102" name="Picture 101">
                <a:extLst>
                  <a:ext uri="{FF2B5EF4-FFF2-40B4-BE49-F238E27FC236}">
                    <a16:creationId xmlns:a16="http://schemas.microsoft.com/office/drawing/2014/main" id="{7E0BC83E-30C9-4852-A07A-648699E40453}"/>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103" name="Picture 102">
                <a:extLst>
                  <a:ext uri="{FF2B5EF4-FFF2-40B4-BE49-F238E27FC236}">
                    <a16:creationId xmlns:a16="http://schemas.microsoft.com/office/drawing/2014/main" id="{3159EADC-3A19-40DD-91DC-4A9EA7F6753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104" name="Picture 103">
                <a:extLst>
                  <a:ext uri="{FF2B5EF4-FFF2-40B4-BE49-F238E27FC236}">
                    <a16:creationId xmlns:a16="http://schemas.microsoft.com/office/drawing/2014/main" id="{F9BC8294-6B40-4C23-8309-7C658EB9981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105" name="Picture 104">
                <a:extLst>
                  <a:ext uri="{FF2B5EF4-FFF2-40B4-BE49-F238E27FC236}">
                    <a16:creationId xmlns:a16="http://schemas.microsoft.com/office/drawing/2014/main" id="{41DC9581-CFB1-4FA5-A6DD-F24C30A5249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106" name="Picture 105">
                <a:extLst>
                  <a:ext uri="{FF2B5EF4-FFF2-40B4-BE49-F238E27FC236}">
                    <a16:creationId xmlns:a16="http://schemas.microsoft.com/office/drawing/2014/main" id="{C7AA274B-042A-4448-B0A9-FD15B469D0F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107" name="Picture 106">
                <a:extLst>
                  <a:ext uri="{FF2B5EF4-FFF2-40B4-BE49-F238E27FC236}">
                    <a16:creationId xmlns:a16="http://schemas.microsoft.com/office/drawing/2014/main" id="{BE5F5E21-3A4F-4842-979C-5E8221CD8064}"/>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108" name="Picture 107">
                <a:extLst>
                  <a:ext uri="{FF2B5EF4-FFF2-40B4-BE49-F238E27FC236}">
                    <a16:creationId xmlns:a16="http://schemas.microsoft.com/office/drawing/2014/main" id="{83944EAE-AA66-4095-A12F-67E51381E0B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109" name="Picture 108">
                <a:extLst>
                  <a:ext uri="{FF2B5EF4-FFF2-40B4-BE49-F238E27FC236}">
                    <a16:creationId xmlns:a16="http://schemas.microsoft.com/office/drawing/2014/main" id="{5CEDCAF0-9021-499B-8701-F9752B490F7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110" name="Picture 109">
                <a:extLst>
                  <a:ext uri="{FF2B5EF4-FFF2-40B4-BE49-F238E27FC236}">
                    <a16:creationId xmlns:a16="http://schemas.microsoft.com/office/drawing/2014/main" id="{2BE41C53-9C49-4814-BC87-5DDB75F42B7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111" name="Picture 110">
                <a:extLst>
                  <a:ext uri="{FF2B5EF4-FFF2-40B4-BE49-F238E27FC236}">
                    <a16:creationId xmlns:a16="http://schemas.microsoft.com/office/drawing/2014/main" id="{A4749628-88A0-4F67-AB3F-A51153CC7653}"/>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112" name="Picture 111">
                <a:extLst>
                  <a:ext uri="{FF2B5EF4-FFF2-40B4-BE49-F238E27FC236}">
                    <a16:creationId xmlns:a16="http://schemas.microsoft.com/office/drawing/2014/main" id="{8C9CDC9B-CF81-4D4E-B12B-BE821F0A47B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99" name="Picture 98">
              <a:extLst>
                <a:ext uri="{FF2B5EF4-FFF2-40B4-BE49-F238E27FC236}">
                  <a16:creationId xmlns:a16="http://schemas.microsoft.com/office/drawing/2014/main" id="{9FEBAEEA-AD3C-4701-8D48-D8A88830B053}"/>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113" name="Group 112">
            <a:extLst>
              <a:ext uri="{FF2B5EF4-FFF2-40B4-BE49-F238E27FC236}">
                <a16:creationId xmlns:a16="http://schemas.microsoft.com/office/drawing/2014/main" id="{04C3668F-4AD6-409D-8386-223480CCF32D}"/>
              </a:ext>
            </a:extLst>
          </p:cNvPr>
          <p:cNvGrpSpPr/>
          <p:nvPr/>
        </p:nvGrpSpPr>
        <p:grpSpPr>
          <a:xfrm>
            <a:off x="4975851" y="1779112"/>
            <a:ext cx="333710" cy="4494191"/>
            <a:chOff x="2124816" y="1779112"/>
            <a:chExt cx="333710" cy="4494191"/>
          </a:xfrm>
        </p:grpSpPr>
        <p:grpSp>
          <p:nvGrpSpPr>
            <p:cNvPr id="114" name="Group 113">
              <a:extLst>
                <a:ext uri="{FF2B5EF4-FFF2-40B4-BE49-F238E27FC236}">
                  <a16:creationId xmlns:a16="http://schemas.microsoft.com/office/drawing/2014/main" id="{2F3109C5-5A36-4388-8047-142BA7BE072F}"/>
                </a:ext>
              </a:extLst>
            </p:cNvPr>
            <p:cNvGrpSpPr/>
            <p:nvPr/>
          </p:nvGrpSpPr>
          <p:grpSpPr>
            <a:xfrm>
              <a:off x="2124816" y="1779112"/>
              <a:ext cx="333710" cy="4174156"/>
              <a:chOff x="2124816" y="1779112"/>
              <a:chExt cx="333710" cy="4174156"/>
            </a:xfrm>
          </p:grpSpPr>
          <p:pic>
            <p:nvPicPr>
              <p:cNvPr id="116" name="Picture 115">
                <a:extLst>
                  <a:ext uri="{FF2B5EF4-FFF2-40B4-BE49-F238E27FC236}">
                    <a16:creationId xmlns:a16="http://schemas.microsoft.com/office/drawing/2014/main" id="{716A49A3-65F1-4AAE-A942-F36510DF209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117" name="Picture 116">
                <a:extLst>
                  <a:ext uri="{FF2B5EF4-FFF2-40B4-BE49-F238E27FC236}">
                    <a16:creationId xmlns:a16="http://schemas.microsoft.com/office/drawing/2014/main" id="{65859C5B-FD81-4F65-A363-55474D94F36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118" name="Picture 117">
                <a:extLst>
                  <a:ext uri="{FF2B5EF4-FFF2-40B4-BE49-F238E27FC236}">
                    <a16:creationId xmlns:a16="http://schemas.microsoft.com/office/drawing/2014/main" id="{9EC25635-4134-4927-8DE1-6CE755AB2A6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119" name="Picture 118">
                <a:extLst>
                  <a:ext uri="{FF2B5EF4-FFF2-40B4-BE49-F238E27FC236}">
                    <a16:creationId xmlns:a16="http://schemas.microsoft.com/office/drawing/2014/main" id="{2F2762EC-F2E8-4697-830B-48D2B3F1812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120" name="Picture 119">
                <a:extLst>
                  <a:ext uri="{FF2B5EF4-FFF2-40B4-BE49-F238E27FC236}">
                    <a16:creationId xmlns:a16="http://schemas.microsoft.com/office/drawing/2014/main" id="{3CB83C59-D7AA-49C1-8411-812B8F78BF9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121" name="Picture 120">
                <a:extLst>
                  <a:ext uri="{FF2B5EF4-FFF2-40B4-BE49-F238E27FC236}">
                    <a16:creationId xmlns:a16="http://schemas.microsoft.com/office/drawing/2014/main" id="{74FE475F-A33D-4B89-8D39-D23FBCB142E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122" name="Picture 121">
                <a:extLst>
                  <a:ext uri="{FF2B5EF4-FFF2-40B4-BE49-F238E27FC236}">
                    <a16:creationId xmlns:a16="http://schemas.microsoft.com/office/drawing/2014/main" id="{8B927F1D-BD0A-430E-92D9-27476CEDDA0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123" name="Picture 122">
                <a:extLst>
                  <a:ext uri="{FF2B5EF4-FFF2-40B4-BE49-F238E27FC236}">
                    <a16:creationId xmlns:a16="http://schemas.microsoft.com/office/drawing/2014/main" id="{3B2433E8-012F-427D-8DB4-1973C9D5F04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124" name="Picture 123">
                <a:extLst>
                  <a:ext uri="{FF2B5EF4-FFF2-40B4-BE49-F238E27FC236}">
                    <a16:creationId xmlns:a16="http://schemas.microsoft.com/office/drawing/2014/main" id="{A1619CDE-407D-4D5C-BA09-02E852F7A6D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125" name="Picture 124">
                <a:extLst>
                  <a:ext uri="{FF2B5EF4-FFF2-40B4-BE49-F238E27FC236}">
                    <a16:creationId xmlns:a16="http://schemas.microsoft.com/office/drawing/2014/main" id="{897B7BE5-EFC7-44AA-AD61-A69D5E7BBE1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126" name="Picture 125">
                <a:extLst>
                  <a:ext uri="{FF2B5EF4-FFF2-40B4-BE49-F238E27FC236}">
                    <a16:creationId xmlns:a16="http://schemas.microsoft.com/office/drawing/2014/main" id="{CF97C36E-C46C-4A1E-90D7-8305B885395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127" name="Picture 126">
                <a:extLst>
                  <a:ext uri="{FF2B5EF4-FFF2-40B4-BE49-F238E27FC236}">
                    <a16:creationId xmlns:a16="http://schemas.microsoft.com/office/drawing/2014/main" id="{00EDDDD9-CC3F-4A38-B5E8-EA1F2074CD8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128" name="Picture 127">
                <a:extLst>
                  <a:ext uri="{FF2B5EF4-FFF2-40B4-BE49-F238E27FC236}">
                    <a16:creationId xmlns:a16="http://schemas.microsoft.com/office/drawing/2014/main" id="{26184F09-2973-4506-AFDF-21CCBA957DE4}"/>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115" name="Picture 114">
              <a:extLst>
                <a:ext uri="{FF2B5EF4-FFF2-40B4-BE49-F238E27FC236}">
                  <a16:creationId xmlns:a16="http://schemas.microsoft.com/office/drawing/2014/main" id="{A8EF2ED1-8170-4EBF-B0DC-355192FC5B5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146" name="Group 145">
            <a:extLst>
              <a:ext uri="{FF2B5EF4-FFF2-40B4-BE49-F238E27FC236}">
                <a16:creationId xmlns:a16="http://schemas.microsoft.com/office/drawing/2014/main" id="{512517C4-AA14-4A9C-A656-7EB44EC325E8}"/>
              </a:ext>
            </a:extLst>
          </p:cNvPr>
          <p:cNvGrpSpPr/>
          <p:nvPr/>
        </p:nvGrpSpPr>
        <p:grpSpPr>
          <a:xfrm>
            <a:off x="5546058" y="1761442"/>
            <a:ext cx="333710" cy="4494191"/>
            <a:chOff x="2124816" y="1779112"/>
            <a:chExt cx="333710" cy="4494191"/>
          </a:xfrm>
        </p:grpSpPr>
        <p:grpSp>
          <p:nvGrpSpPr>
            <p:cNvPr id="147" name="Group 146">
              <a:extLst>
                <a:ext uri="{FF2B5EF4-FFF2-40B4-BE49-F238E27FC236}">
                  <a16:creationId xmlns:a16="http://schemas.microsoft.com/office/drawing/2014/main" id="{80CB514F-CD62-4BEC-813C-B08E57D1DD03}"/>
                </a:ext>
              </a:extLst>
            </p:cNvPr>
            <p:cNvGrpSpPr/>
            <p:nvPr/>
          </p:nvGrpSpPr>
          <p:grpSpPr>
            <a:xfrm>
              <a:off x="2124816" y="1779112"/>
              <a:ext cx="333710" cy="4174156"/>
              <a:chOff x="2124816" y="1779112"/>
              <a:chExt cx="333710" cy="4174156"/>
            </a:xfrm>
          </p:grpSpPr>
          <p:pic>
            <p:nvPicPr>
              <p:cNvPr id="149" name="Picture 148">
                <a:extLst>
                  <a:ext uri="{FF2B5EF4-FFF2-40B4-BE49-F238E27FC236}">
                    <a16:creationId xmlns:a16="http://schemas.microsoft.com/office/drawing/2014/main" id="{83F7457E-C7F8-4743-BFDB-9C86727610F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150" name="Picture 149">
                <a:extLst>
                  <a:ext uri="{FF2B5EF4-FFF2-40B4-BE49-F238E27FC236}">
                    <a16:creationId xmlns:a16="http://schemas.microsoft.com/office/drawing/2014/main" id="{3CAC9DAC-87C8-4C1B-BDED-A7EF9F3F213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151" name="Picture 150">
                <a:extLst>
                  <a:ext uri="{FF2B5EF4-FFF2-40B4-BE49-F238E27FC236}">
                    <a16:creationId xmlns:a16="http://schemas.microsoft.com/office/drawing/2014/main" id="{E2D16339-7397-401B-9C5A-4C5E25E78F5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152" name="Picture 151">
                <a:extLst>
                  <a:ext uri="{FF2B5EF4-FFF2-40B4-BE49-F238E27FC236}">
                    <a16:creationId xmlns:a16="http://schemas.microsoft.com/office/drawing/2014/main" id="{7BB65C2A-9AB2-4F29-A78B-0115C71DCE6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153" name="Picture 152">
                <a:extLst>
                  <a:ext uri="{FF2B5EF4-FFF2-40B4-BE49-F238E27FC236}">
                    <a16:creationId xmlns:a16="http://schemas.microsoft.com/office/drawing/2014/main" id="{B30647F6-CB79-41F0-83ED-EEE5316FFA3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154" name="Picture 153">
                <a:extLst>
                  <a:ext uri="{FF2B5EF4-FFF2-40B4-BE49-F238E27FC236}">
                    <a16:creationId xmlns:a16="http://schemas.microsoft.com/office/drawing/2014/main" id="{272B02D7-5738-4351-9B45-5140DA5829F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155" name="Picture 154">
                <a:extLst>
                  <a:ext uri="{FF2B5EF4-FFF2-40B4-BE49-F238E27FC236}">
                    <a16:creationId xmlns:a16="http://schemas.microsoft.com/office/drawing/2014/main" id="{6C1E7E6B-924C-45B2-A876-ED1CB08F3633}"/>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156" name="Picture 155">
                <a:extLst>
                  <a:ext uri="{FF2B5EF4-FFF2-40B4-BE49-F238E27FC236}">
                    <a16:creationId xmlns:a16="http://schemas.microsoft.com/office/drawing/2014/main" id="{674322D5-9DF2-4FD9-963F-B8B56CE0223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157" name="Picture 156">
                <a:extLst>
                  <a:ext uri="{FF2B5EF4-FFF2-40B4-BE49-F238E27FC236}">
                    <a16:creationId xmlns:a16="http://schemas.microsoft.com/office/drawing/2014/main" id="{5032439A-B2FF-4F65-A663-06317464357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158" name="Picture 157">
                <a:extLst>
                  <a:ext uri="{FF2B5EF4-FFF2-40B4-BE49-F238E27FC236}">
                    <a16:creationId xmlns:a16="http://schemas.microsoft.com/office/drawing/2014/main" id="{F8D46382-5F5A-4D44-BFDD-F87B77D5DD4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159" name="Picture 158">
                <a:extLst>
                  <a:ext uri="{FF2B5EF4-FFF2-40B4-BE49-F238E27FC236}">
                    <a16:creationId xmlns:a16="http://schemas.microsoft.com/office/drawing/2014/main" id="{C50777F7-B12C-406A-8E5B-EBDF38BC8CD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160" name="Picture 159">
                <a:extLst>
                  <a:ext uri="{FF2B5EF4-FFF2-40B4-BE49-F238E27FC236}">
                    <a16:creationId xmlns:a16="http://schemas.microsoft.com/office/drawing/2014/main" id="{D90014CA-4B76-4B61-A60C-6C6D568FF70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161" name="Picture 160">
                <a:extLst>
                  <a:ext uri="{FF2B5EF4-FFF2-40B4-BE49-F238E27FC236}">
                    <a16:creationId xmlns:a16="http://schemas.microsoft.com/office/drawing/2014/main" id="{0B07F0D3-2E4F-4439-8E50-F1FCB4F1ECC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148" name="Picture 147">
              <a:extLst>
                <a:ext uri="{FF2B5EF4-FFF2-40B4-BE49-F238E27FC236}">
                  <a16:creationId xmlns:a16="http://schemas.microsoft.com/office/drawing/2014/main" id="{20106F94-BBD0-4E82-BC8E-765B6033EA5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162" name="Group 161">
            <a:extLst>
              <a:ext uri="{FF2B5EF4-FFF2-40B4-BE49-F238E27FC236}">
                <a16:creationId xmlns:a16="http://schemas.microsoft.com/office/drawing/2014/main" id="{0AE18E07-BED8-40BA-93CF-A456C3AD4C01}"/>
              </a:ext>
            </a:extLst>
          </p:cNvPr>
          <p:cNvGrpSpPr/>
          <p:nvPr/>
        </p:nvGrpSpPr>
        <p:grpSpPr>
          <a:xfrm>
            <a:off x="6116265" y="1761442"/>
            <a:ext cx="333710" cy="4494191"/>
            <a:chOff x="2124816" y="1779112"/>
            <a:chExt cx="333710" cy="4494191"/>
          </a:xfrm>
        </p:grpSpPr>
        <p:grpSp>
          <p:nvGrpSpPr>
            <p:cNvPr id="163" name="Group 162">
              <a:extLst>
                <a:ext uri="{FF2B5EF4-FFF2-40B4-BE49-F238E27FC236}">
                  <a16:creationId xmlns:a16="http://schemas.microsoft.com/office/drawing/2014/main" id="{A4DAA99C-C16A-47F5-9D67-A75F9509277C}"/>
                </a:ext>
              </a:extLst>
            </p:cNvPr>
            <p:cNvGrpSpPr/>
            <p:nvPr/>
          </p:nvGrpSpPr>
          <p:grpSpPr>
            <a:xfrm>
              <a:off x="2124816" y="1779112"/>
              <a:ext cx="333710" cy="4174156"/>
              <a:chOff x="2124816" y="1779112"/>
              <a:chExt cx="333710" cy="4174156"/>
            </a:xfrm>
          </p:grpSpPr>
          <p:pic>
            <p:nvPicPr>
              <p:cNvPr id="165" name="Picture 164">
                <a:extLst>
                  <a:ext uri="{FF2B5EF4-FFF2-40B4-BE49-F238E27FC236}">
                    <a16:creationId xmlns:a16="http://schemas.microsoft.com/office/drawing/2014/main" id="{9E9E1541-A327-4EE3-B751-29B045AEE07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166" name="Picture 165">
                <a:extLst>
                  <a:ext uri="{FF2B5EF4-FFF2-40B4-BE49-F238E27FC236}">
                    <a16:creationId xmlns:a16="http://schemas.microsoft.com/office/drawing/2014/main" id="{FB40FA62-CE18-4A50-B39E-93A1970FD24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167" name="Picture 166">
                <a:extLst>
                  <a:ext uri="{FF2B5EF4-FFF2-40B4-BE49-F238E27FC236}">
                    <a16:creationId xmlns:a16="http://schemas.microsoft.com/office/drawing/2014/main" id="{39136D39-A4F4-4ABA-96AD-7C8033C1A1B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168" name="Picture 167">
                <a:extLst>
                  <a:ext uri="{FF2B5EF4-FFF2-40B4-BE49-F238E27FC236}">
                    <a16:creationId xmlns:a16="http://schemas.microsoft.com/office/drawing/2014/main" id="{993F4A55-959C-4679-8861-14A3BBADB29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169" name="Picture 168">
                <a:extLst>
                  <a:ext uri="{FF2B5EF4-FFF2-40B4-BE49-F238E27FC236}">
                    <a16:creationId xmlns:a16="http://schemas.microsoft.com/office/drawing/2014/main" id="{ECF359F2-132F-4180-8363-296A13C6519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170" name="Picture 169">
                <a:extLst>
                  <a:ext uri="{FF2B5EF4-FFF2-40B4-BE49-F238E27FC236}">
                    <a16:creationId xmlns:a16="http://schemas.microsoft.com/office/drawing/2014/main" id="{5CE29C1E-0302-487A-BF84-388785E7129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171" name="Picture 170">
                <a:extLst>
                  <a:ext uri="{FF2B5EF4-FFF2-40B4-BE49-F238E27FC236}">
                    <a16:creationId xmlns:a16="http://schemas.microsoft.com/office/drawing/2014/main" id="{FBDC2097-7551-4827-8484-D57FB36A5DA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172" name="Picture 171">
                <a:extLst>
                  <a:ext uri="{FF2B5EF4-FFF2-40B4-BE49-F238E27FC236}">
                    <a16:creationId xmlns:a16="http://schemas.microsoft.com/office/drawing/2014/main" id="{10F67307-35F3-43A6-B625-86BAB3BD03E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173" name="Picture 172">
                <a:extLst>
                  <a:ext uri="{FF2B5EF4-FFF2-40B4-BE49-F238E27FC236}">
                    <a16:creationId xmlns:a16="http://schemas.microsoft.com/office/drawing/2014/main" id="{0F92D937-86A4-4BDE-B19B-9B5D9A189B8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174" name="Picture 173">
                <a:extLst>
                  <a:ext uri="{FF2B5EF4-FFF2-40B4-BE49-F238E27FC236}">
                    <a16:creationId xmlns:a16="http://schemas.microsoft.com/office/drawing/2014/main" id="{0EE0910C-6E87-488E-9808-E337AA8DBA7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175" name="Picture 174">
                <a:extLst>
                  <a:ext uri="{FF2B5EF4-FFF2-40B4-BE49-F238E27FC236}">
                    <a16:creationId xmlns:a16="http://schemas.microsoft.com/office/drawing/2014/main" id="{AA38F462-3712-4D67-9F8D-7B329833492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176" name="Picture 175">
                <a:extLst>
                  <a:ext uri="{FF2B5EF4-FFF2-40B4-BE49-F238E27FC236}">
                    <a16:creationId xmlns:a16="http://schemas.microsoft.com/office/drawing/2014/main" id="{721E1511-DA4C-48FB-B288-44E04FCED96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177" name="Picture 176">
                <a:extLst>
                  <a:ext uri="{FF2B5EF4-FFF2-40B4-BE49-F238E27FC236}">
                    <a16:creationId xmlns:a16="http://schemas.microsoft.com/office/drawing/2014/main" id="{B1D5A8E6-E586-4E3F-9406-8CC2486A565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164" name="Picture 163">
              <a:extLst>
                <a:ext uri="{FF2B5EF4-FFF2-40B4-BE49-F238E27FC236}">
                  <a16:creationId xmlns:a16="http://schemas.microsoft.com/office/drawing/2014/main" id="{6832F178-802E-445B-8AB7-A65E922D33C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178" name="Group 177">
            <a:extLst>
              <a:ext uri="{FF2B5EF4-FFF2-40B4-BE49-F238E27FC236}">
                <a16:creationId xmlns:a16="http://schemas.microsoft.com/office/drawing/2014/main" id="{7FC2CD85-91BF-4925-ACFB-A1172C9590ED}"/>
              </a:ext>
            </a:extLst>
          </p:cNvPr>
          <p:cNvGrpSpPr/>
          <p:nvPr/>
        </p:nvGrpSpPr>
        <p:grpSpPr>
          <a:xfrm>
            <a:off x="6686472" y="1761442"/>
            <a:ext cx="333710" cy="4494191"/>
            <a:chOff x="2124816" y="1779112"/>
            <a:chExt cx="333710" cy="4494191"/>
          </a:xfrm>
        </p:grpSpPr>
        <p:grpSp>
          <p:nvGrpSpPr>
            <p:cNvPr id="179" name="Group 178">
              <a:extLst>
                <a:ext uri="{FF2B5EF4-FFF2-40B4-BE49-F238E27FC236}">
                  <a16:creationId xmlns:a16="http://schemas.microsoft.com/office/drawing/2014/main" id="{75F60147-DA66-41D5-A4C3-CDCFD3AA5513}"/>
                </a:ext>
              </a:extLst>
            </p:cNvPr>
            <p:cNvGrpSpPr/>
            <p:nvPr/>
          </p:nvGrpSpPr>
          <p:grpSpPr>
            <a:xfrm>
              <a:off x="2124816" y="1779112"/>
              <a:ext cx="333710" cy="4174156"/>
              <a:chOff x="2124816" y="1779112"/>
              <a:chExt cx="333710" cy="4174156"/>
            </a:xfrm>
          </p:grpSpPr>
          <p:pic>
            <p:nvPicPr>
              <p:cNvPr id="181" name="Picture 180">
                <a:extLst>
                  <a:ext uri="{FF2B5EF4-FFF2-40B4-BE49-F238E27FC236}">
                    <a16:creationId xmlns:a16="http://schemas.microsoft.com/office/drawing/2014/main" id="{507CDE5A-4946-408E-9213-72C673C9D130}"/>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182" name="Picture 181">
                <a:extLst>
                  <a:ext uri="{FF2B5EF4-FFF2-40B4-BE49-F238E27FC236}">
                    <a16:creationId xmlns:a16="http://schemas.microsoft.com/office/drawing/2014/main" id="{DD2F5CBE-5802-4224-BA02-E867FDD8AC4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183" name="Picture 182">
                <a:extLst>
                  <a:ext uri="{FF2B5EF4-FFF2-40B4-BE49-F238E27FC236}">
                    <a16:creationId xmlns:a16="http://schemas.microsoft.com/office/drawing/2014/main" id="{7AA0F766-75CE-4CF3-9672-0B0FE9AAE39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184" name="Picture 183">
                <a:extLst>
                  <a:ext uri="{FF2B5EF4-FFF2-40B4-BE49-F238E27FC236}">
                    <a16:creationId xmlns:a16="http://schemas.microsoft.com/office/drawing/2014/main" id="{5F5D7BC2-6033-47A0-A999-22B8B123165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185" name="Picture 184">
                <a:extLst>
                  <a:ext uri="{FF2B5EF4-FFF2-40B4-BE49-F238E27FC236}">
                    <a16:creationId xmlns:a16="http://schemas.microsoft.com/office/drawing/2014/main" id="{80641C0C-C34D-4EF8-9CBF-270B797C012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186" name="Picture 185">
                <a:extLst>
                  <a:ext uri="{FF2B5EF4-FFF2-40B4-BE49-F238E27FC236}">
                    <a16:creationId xmlns:a16="http://schemas.microsoft.com/office/drawing/2014/main" id="{1B73FA5C-6A4C-4215-8FB4-70914A52A9B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187" name="Picture 186">
                <a:extLst>
                  <a:ext uri="{FF2B5EF4-FFF2-40B4-BE49-F238E27FC236}">
                    <a16:creationId xmlns:a16="http://schemas.microsoft.com/office/drawing/2014/main" id="{56C1F7D2-EFFB-4A64-8FCB-4563EBC52D6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188" name="Picture 187">
                <a:extLst>
                  <a:ext uri="{FF2B5EF4-FFF2-40B4-BE49-F238E27FC236}">
                    <a16:creationId xmlns:a16="http://schemas.microsoft.com/office/drawing/2014/main" id="{9E63BB8C-456D-4F49-9E74-1C9531DD06F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189" name="Picture 188">
                <a:extLst>
                  <a:ext uri="{FF2B5EF4-FFF2-40B4-BE49-F238E27FC236}">
                    <a16:creationId xmlns:a16="http://schemas.microsoft.com/office/drawing/2014/main" id="{32644807-F2F6-4826-A229-A5384F7D398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190" name="Picture 189">
                <a:extLst>
                  <a:ext uri="{FF2B5EF4-FFF2-40B4-BE49-F238E27FC236}">
                    <a16:creationId xmlns:a16="http://schemas.microsoft.com/office/drawing/2014/main" id="{597465F4-EDED-4E95-BB98-21B6F897804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191" name="Picture 190">
                <a:extLst>
                  <a:ext uri="{FF2B5EF4-FFF2-40B4-BE49-F238E27FC236}">
                    <a16:creationId xmlns:a16="http://schemas.microsoft.com/office/drawing/2014/main" id="{4B432C34-7B38-465F-94E6-AFF9778B224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192" name="Picture 191">
                <a:extLst>
                  <a:ext uri="{FF2B5EF4-FFF2-40B4-BE49-F238E27FC236}">
                    <a16:creationId xmlns:a16="http://schemas.microsoft.com/office/drawing/2014/main" id="{777C2C73-455B-4D95-95CC-5A099B4169D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193" name="Picture 192">
                <a:extLst>
                  <a:ext uri="{FF2B5EF4-FFF2-40B4-BE49-F238E27FC236}">
                    <a16:creationId xmlns:a16="http://schemas.microsoft.com/office/drawing/2014/main" id="{9FAEDFAF-7119-4ECB-BBF9-096B204C7FC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180" name="Picture 179">
              <a:extLst>
                <a:ext uri="{FF2B5EF4-FFF2-40B4-BE49-F238E27FC236}">
                  <a16:creationId xmlns:a16="http://schemas.microsoft.com/office/drawing/2014/main" id="{6B1657E7-1AA9-4BEE-8F38-67C68069EB8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194" name="Group 193">
            <a:extLst>
              <a:ext uri="{FF2B5EF4-FFF2-40B4-BE49-F238E27FC236}">
                <a16:creationId xmlns:a16="http://schemas.microsoft.com/office/drawing/2014/main" id="{A062650B-126E-4B9A-80E1-A1F5E890AC91}"/>
              </a:ext>
            </a:extLst>
          </p:cNvPr>
          <p:cNvGrpSpPr/>
          <p:nvPr/>
        </p:nvGrpSpPr>
        <p:grpSpPr>
          <a:xfrm>
            <a:off x="7256679" y="1761442"/>
            <a:ext cx="333710" cy="4494191"/>
            <a:chOff x="2124816" y="1779112"/>
            <a:chExt cx="333710" cy="4494191"/>
          </a:xfrm>
        </p:grpSpPr>
        <p:grpSp>
          <p:nvGrpSpPr>
            <p:cNvPr id="195" name="Group 194">
              <a:extLst>
                <a:ext uri="{FF2B5EF4-FFF2-40B4-BE49-F238E27FC236}">
                  <a16:creationId xmlns:a16="http://schemas.microsoft.com/office/drawing/2014/main" id="{49EC286A-6D96-4C11-A30E-C13627BA64F0}"/>
                </a:ext>
              </a:extLst>
            </p:cNvPr>
            <p:cNvGrpSpPr/>
            <p:nvPr/>
          </p:nvGrpSpPr>
          <p:grpSpPr>
            <a:xfrm>
              <a:off x="2124816" y="1779112"/>
              <a:ext cx="333710" cy="4174156"/>
              <a:chOff x="2124816" y="1779112"/>
              <a:chExt cx="333710" cy="4174156"/>
            </a:xfrm>
          </p:grpSpPr>
          <p:pic>
            <p:nvPicPr>
              <p:cNvPr id="197" name="Picture 196">
                <a:extLst>
                  <a:ext uri="{FF2B5EF4-FFF2-40B4-BE49-F238E27FC236}">
                    <a16:creationId xmlns:a16="http://schemas.microsoft.com/office/drawing/2014/main" id="{538E52EC-9E65-4F1F-9237-BE4E54D7218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198" name="Picture 197">
                <a:extLst>
                  <a:ext uri="{FF2B5EF4-FFF2-40B4-BE49-F238E27FC236}">
                    <a16:creationId xmlns:a16="http://schemas.microsoft.com/office/drawing/2014/main" id="{FEC1C246-F483-4EDA-90C1-84BCD54B8F34}"/>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199" name="Picture 198">
                <a:extLst>
                  <a:ext uri="{FF2B5EF4-FFF2-40B4-BE49-F238E27FC236}">
                    <a16:creationId xmlns:a16="http://schemas.microsoft.com/office/drawing/2014/main" id="{A743B6B9-6807-4C5B-AD8E-3D64F1332D9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200" name="Picture 199">
                <a:extLst>
                  <a:ext uri="{FF2B5EF4-FFF2-40B4-BE49-F238E27FC236}">
                    <a16:creationId xmlns:a16="http://schemas.microsoft.com/office/drawing/2014/main" id="{D173EF91-03B7-48E4-B235-2007EAAAA23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201" name="Picture 200">
                <a:extLst>
                  <a:ext uri="{FF2B5EF4-FFF2-40B4-BE49-F238E27FC236}">
                    <a16:creationId xmlns:a16="http://schemas.microsoft.com/office/drawing/2014/main" id="{B388E669-ADAD-4CCC-B675-39297DBA958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202" name="Picture 201">
                <a:extLst>
                  <a:ext uri="{FF2B5EF4-FFF2-40B4-BE49-F238E27FC236}">
                    <a16:creationId xmlns:a16="http://schemas.microsoft.com/office/drawing/2014/main" id="{9F8F10A0-BFFD-4CBB-8617-F8D7A281F08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203" name="Picture 202">
                <a:extLst>
                  <a:ext uri="{FF2B5EF4-FFF2-40B4-BE49-F238E27FC236}">
                    <a16:creationId xmlns:a16="http://schemas.microsoft.com/office/drawing/2014/main" id="{839BFA53-5624-4745-A989-A52BAFA8304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204" name="Picture 203">
                <a:extLst>
                  <a:ext uri="{FF2B5EF4-FFF2-40B4-BE49-F238E27FC236}">
                    <a16:creationId xmlns:a16="http://schemas.microsoft.com/office/drawing/2014/main" id="{13FAE147-AC44-42ED-BC20-46709A3690E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205" name="Picture 204">
                <a:extLst>
                  <a:ext uri="{FF2B5EF4-FFF2-40B4-BE49-F238E27FC236}">
                    <a16:creationId xmlns:a16="http://schemas.microsoft.com/office/drawing/2014/main" id="{FC437A8A-645F-4A01-8947-FD576B9F524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206" name="Picture 205">
                <a:extLst>
                  <a:ext uri="{FF2B5EF4-FFF2-40B4-BE49-F238E27FC236}">
                    <a16:creationId xmlns:a16="http://schemas.microsoft.com/office/drawing/2014/main" id="{586B1B9F-1CFD-4140-A330-74799B18BA9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207" name="Picture 206">
                <a:extLst>
                  <a:ext uri="{FF2B5EF4-FFF2-40B4-BE49-F238E27FC236}">
                    <a16:creationId xmlns:a16="http://schemas.microsoft.com/office/drawing/2014/main" id="{1AEA5043-A6C6-4F47-ACFC-640BDF3B2C3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208" name="Picture 207">
                <a:extLst>
                  <a:ext uri="{FF2B5EF4-FFF2-40B4-BE49-F238E27FC236}">
                    <a16:creationId xmlns:a16="http://schemas.microsoft.com/office/drawing/2014/main" id="{97A1B6DD-B0A6-4DEE-8F0E-595151F92AD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209" name="Picture 208">
                <a:extLst>
                  <a:ext uri="{FF2B5EF4-FFF2-40B4-BE49-F238E27FC236}">
                    <a16:creationId xmlns:a16="http://schemas.microsoft.com/office/drawing/2014/main" id="{94D543C5-5B52-4628-BC0D-5D7CDEE07DD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196" name="Picture 195">
              <a:extLst>
                <a:ext uri="{FF2B5EF4-FFF2-40B4-BE49-F238E27FC236}">
                  <a16:creationId xmlns:a16="http://schemas.microsoft.com/office/drawing/2014/main" id="{4AB391F0-420A-4007-AEFE-4546B7BB4DC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210" name="Group 209">
            <a:extLst>
              <a:ext uri="{FF2B5EF4-FFF2-40B4-BE49-F238E27FC236}">
                <a16:creationId xmlns:a16="http://schemas.microsoft.com/office/drawing/2014/main" id="{CCDF3F85-3EAA-4D27-B68B-31B0D27B661B}"/>
              </a:ext>
            </a:extLst>
          </p:cNvPr>
          <p:cNvGrpSpPr/>
          <p:nvPr/>
        </p:nvGrpSpPr>
        <p:grpSpPr>
          <a:xfrm>
            <a:off x="8397093" y="1761442"/>
            <a:ext cx="333710" cy="4494191"/>
            <a:chOff x="2124816" y="1779112"/>
            <a:chExt cx="333710" cy="4494191"/>
          </a:xfrm>
        </p:grpSpPr>
        <p:grpSp>
          <p:nvGrpSpPr>
            <p:cNvPr id="211" name="Group 210">
              <a:extLst>
                <a:ext uri="{FF2B5EF4-FFF2-40B4-BE49-F238E27FC236}">
                  <a16:creationId xmlns:a16="http://schemas.microsoft.com/office/drawing/2014/main" id="{722C486F-081F-4C74-AE18-8FEC2D6E7904}"/>
                </a:ext>
              </a:extLst>
            </p:cNvPr>
            <p:cNvGrpSpPr/>
            <p:nvPr/>
          </p:nvGrpSpPr>
          <p:grpSpPr>
            <a:xfrm>
              <a:off x="2124816" y="1779112"/>
              <a:ext cx="333710" cy="4174156"/>
              <a:chOff x="2124816" y="1779112"/>
              <a:chExt cx="333710" cy="4174156"/>
            </a:xfrm>
          </p:grpSpPr>
          <p:pic>
            <p:nvPicPr>
              <p:cNvPr id="213" name="Picture 212">
                <a:extLst>
                  <a:ext uri="{FF2B5EF4-FFF2-40B4-BE49-F238E27FC236}">
                    <a16:creationId xmlns:a16="http://schemas.microsoft.com/office/drawing/2014/main" id="{506F5CED-8777-4782-9BEB-79822C4C47E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214" name="Picture 213">
                <a:extLst>
                  <a:ext uri="{FF2B5EF4-FFF2-40B4-BE49-F238E27FC236}">
                    <a16:creationId xmlns:a16="http://schemas.microsoft.com/office/drawing/2014/main" id="{9A0B9914-8127-4AF0-BC66-E33DB4CF4AE4}"/>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215" name="Picture 214">
                <a:extLst>
                  <a:ext uri="{FF2B5EF4-FFF2-40B4-BE49-F238E27FC236}">
                    <a16:creationId xmlns:a16="http://schemas.microsoft.com/office/drawing/2014/main" id="{61929497-34D0-4B92-9230-1A74C27517F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216" name="Picture 215">
                <a:extLst>
                  <a:ext uri="{FF2B5EF4-FFF2-40B4-BE49-F238E27FC236}">
                    <a16:creationId xmlns:a16="http://schemas.microsoft.com/office/drawing/2014/main" id="{BA49F3AB-3C16-48EB-AC10-6E7E0D263CC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217" name="Picture 216">
                <a:extLst>
                  <a:ext uri="{FF2B5EF4-FFF2-40B4-BE49-F238E27FC236}">
                    <a16:creationId xmlns:a16="http://schemas.microsoft.com/office/drawing/2014/main" id="{CFC46057-EF6F-4257-B0F7-2A31B359BC7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218" name="Picture 217">
                <a:extLst>
                  <a:ext uri="{FF2B5EF4-FFF2-40B4-BE49-F238E27FC236}">
                    <a16:creationId xmlns:a16="http://schemas.microsoft.com/office/drawing/2014/main" id="{415B35BD-752A-4ECD-96BE-3DFE785FF02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219" name="Picture 218">
                <a:extLst>
                  <a:ext uri="{FF2B5EF4-FFF2-40B4-BE49-F238E27FC236}">
                    <a16:creationId xmlns:a16="http://schemas.microsoft.com/office/drawing/2014/main" id="{B55223B7-11BB-4DFE-AA9A-D7C85548C80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220" name="Picture 219">
                <a:extLst>
                  <a:ext uri="{FF2B5EF4-FFF2-40B4-BE49-F238E27FC236}">
                    <a16:creationId xmlns:a16="http://schemas.microsoft.com/office/drawing/2014/main" id="{6460DCDE-E6D8-4F1C-BC4C-304ADC39AA77}"/>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221" name="Picture 220">
                <a:extLst>
                  <a:ext uri="{FF2B5EF4-FFF2-40B4-BE49-F238E27FC236}">
                    <a16:creationId xmlns:a16="http://schemas.microsoft.com/office/drawing/2014/main" id="{F6C1695B-187E-4B6E-AD14-4E6AAC57E7E0}"/>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222" name="Picture 221">
                <a:extLst>
                  <a:ext uri="{FF2B5EF4-FFF2-40B4-BE49-F238E27FC236}">
                    <a16:creationId xmlns:a16="http://schemas.microsoft.com/office/drawing/2014/main" id="{DC6E8EA0-E198-4450-93B8-FEDEC5E3C84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223" name="Picture 222">
                <a:extLst>
                  <a:ext uri="{FF2B5EF4-FFF2-40B4-BE49-F238E27FC236}">
                    <a16:creationId xmlns:a16="http://schemas.microsoft.com/office/drawing/2014/main" id="{49898ACD-9A6D-4155-B63A-9F90B294C12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224" name="Picture 223">
                <a:extLst>
                  <a:ext uri="{FF2B5EF4-FFF2-40B4-BE49-F238E27FC236}">
                    <a16:creationId xmlns:a16="http://schemas.microsoft.com/office/drawing/2014/main" id="{5ABB8FFA-DCEF-4BF2-BC60-1FD8D57E237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225" name="Picture 224">
                <a:extLst>
                  <a:ext uri="{FF2B5EF4-FFF2-40B4-BE49-F238E27FC236}">
                    <a16:creationId xmlns:a16="http://schemas.microsoft.com/office/drawing/2014/main" id="{0A51EC2A-8DC4-4E72-B2DF-7247E3D0BBF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212" name="Picture 211">
              <a:extLst>
                <a:ext uri="{FF2B5EF4-FFF2-40B4-BE49-F238E27FC236}">
                  <a16:creationId xmlns:a16="http://schemas.microsoft.com/office/drawing/2014/main" id="{EA46B9FE-A141-4F6C-8AA7-CC558CBB3E1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226" name="Group 225">
            <a:extLst>
              <a:ext uri="{FF2B5EF4-FFF2-40B4-BE49-F238E27FC236}">
                <a16:creationId xmlns:a16="http://schemas.microsoft.com/office/drawing/2014/main" id="{E4A729A6-0E44-40B3-83CC-BC3418FB3980}"/>
              </a:ext>
            </a:extLst>
          </p:cNvPr>
          <p:cNvGrpSpPr/>
          <p:nvPr/>
        </p:nvGrpSpPr>
        <p:grpSpPr>
          <a:xfrm>
            <a:off x="7826886" y="1761442"/>
            <a:ext cx="333710" cy="4494191"/>
            <a:chOff x="2124816" y="1779112"/>
            <a:chExt cx="333710" cy="4494191"/>
          </a:xfrm>
        </p:grpSpPr>
        <p:grpSp>
          <p:nvGrpSpPr>
            <p:cNvPr id="227" name="Group 226">
              <a:extLst>
                <a:ext uri="{FF2B5EF4-FFF2-40B4-BE49-F238E27FC236}">
                  <a16:creationId xmlns:a16="http://schemas.microsoft.com/office/drawing/2014/main" id="{641FF4F3-32FC-4FE4-ACF2-74B9395DB79C}"/>
                </a:ext>
              </a:extLst>
            </p:cNvPr>
            <p:cNvGrpSpPr/>
            <p:nvPr/>
          </p:nvGrpSpPr>
          <p:grpSpPr>
            <a:xfrm>
              <a:off x="2124816" y="1779112"/>
              <a:ext cx="333710" cy="4174156"/>
              <a:chOff x="2124816" y="1779112"/>
              <a:chExt cx="333710" cy="4174156"/>
            </a:xfrm>
          </p:grpSpPr>
          <p:pic>
            <p:nvPicPr>
              <p:cNvPr id="229" name="Picture 228">
                <a:extLst>
                  <a:ext uri="{FF2B5EF4-FFF2-40B4-BE49-F238E27FC236}">
                    <a16:creationId xmlns:a16="http://schemas.microsoft.com/office/drawing/2014/main" id="{47986F94-9516-4740-B505-70F273D0BEB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230" name="Picture 229">
                <a:extLst>
                  <a:ext uri="{FF2B5EF4-FFF2-40B4-BE49-F238E27FC236}">
                    <a16:creationId xmlns:a16="http://schemas.microsoft.com/office/drawing/2014/main" id="{8075041A-6C89-425F-BB96-7FFFCFEC36B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231" name="Picture 230">
                <a:extLst>
                  <a:ext uri="{FF2B5EF4-FFF2-40B4-BE49-F238E27FC236}">
                    <a16:creationId xmlns:a16="http://schemas.microsoft.com/office/drawing/2014/main" id="{57F7055B-B80C-42BB-A5C2-BBF4AADC522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232" name="Picture 231">
                <a:extLst>
                  <a:ext uri="{FF2B5EF4-FFF2-40B4-BE49-F238E27FC236}">
                    <a16:creationId xmlns:a16="http://schemas.microsoft.com/office/drawing/2014/main" id="{FFA0C946-0F9E-416E-8AC0-8651F67EE6F2}"/>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233" name="Picture 232">
                <a:extLst>
                  <a:ext uri="{FF2B5EF4-FFF2-40B4-BE49-F238E27FC236}">
                    <a16:creationId xmlns:a16="http://schemas.microsoft.com/office/drawing/2014/main" id="{4024BB9C-D76B-496B-A402-F33FCE3FA75E}"/>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234" name="Picture 233">
                <a:extLst>
                  <a:ext uri="{FF2B5EF4-FFF2-40B4-BE49-F238E27FC236}">
                    <a16:creationId xmlns:a16="http://schemas.microsoft.com/office/drawing/2014/main" id="{C5047817-286A-4886-9CA4-B4F7A32D3D0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235" name="Picture 234">
                <a:extLst>
                  <a:ext uri="{FF2B5EF4-FFF2-40B4-BE49-F238E27FC236}">
                    <a16:creationId xmlns:a16="http://schemas.microsoft.com/office/drawing/2014/main" id="{5F328E5A-314E-4CCA-B535-7B321627FBB6}"/>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236" name="Picture 235">
                <a:extLst>
                  <a:ext uri="{FF2B5EF4-FFF2-40B4-BE49-F238E27FC236}">
                    <a16:creationId xmlns:a16="http://schemas.microsoft.com/office/drawing/2014/main" id="{9080E6F4-DF41-47AB-9AC4-18DCB1647BF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237" name="Picture 236">
                <a:extLst>
                  <a:ext uri="{FF2B5EF4-FFF2-40B4-BE49-F238E27FC236}">
                    <a16:creationId xmlns:a16="http://schemas.microsoft.com/office/drawing/2014/main" id="{92A1EF5B-3F7E-4B38-BBA1-004934710B90}"/>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238" name="Picture 237">
                <a:extLst>
                  <a:ext uri="{FF2B5EF4-FFF2-40B4-BE49-F238E27FC236}">
                    <a16:creationId xmlns:a16="http://schemas.microsoft.com/office/drawing/2014/main" id="{0366B26C-39BE-4BB1-9126-C28055374D5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239" name="Picture 238">
                <a:extLst>
                  <a:ext uri="{FF2B5EF4-FFF2-40B4-BE49-F238E27FC236}">
                    <a16:creationId xmlns:a16="http://schemas.microsoft.com/office/drawing/2014/main" id="{24F2CA11-25A6-430A-B350-A6676489035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240" name="Picture 239">
                <a:extLst>
                  <a:ext uri="{FF2B5EF4-FFF2-40B4-BE49-F238E27FC236}">
                    <a16:creationId xmlns:a16="http://schemas.microsoft.com/office/drawing/2014/main" id="{49753706-58D3-4F1D-9FDC-AB5FC06153A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241" name="Picture 240">
                <a:extLst>
                  <a:ext uri="{FF2B5EF4-FFF2-40B4-BE49-F238E27FC236}">
                    <a16:creationId xmlns:a16="http://schemas.microsoft.com/office/drawing/2014/main" id="{CEFE01DF-EC7A-460E-B1BD-7E089FD5475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228" name="Picture 227">
              <a:extLst>
                <a:ext uri="{FF2B5EF4-FFF2-40B4-BE49-F238E27FC236}">
                  <a16:creationId xmlns:a16="http://schemas.microsoft.com/office/drawing/2014/main" id="{519CA99D-648E-4257-AD76-6CBA44B7F3E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grpSp>
        <p:nvGrpSpPr>
          <p:cNvPr id="274" name="Group 273">
            <a:extLst>
              <a:ext uri="{FF2B5EF4-FFF2-40B4-BE49-F238E27FC236}">
                <a16:creationId xmlns:a16="http://schemas.microsoft.com/office/drawing/2014/main" id="{90509E1E-05DE-4098-B803-64399C902F5A}"/>
              </a:ext>
            </a:extLst>
          </p:cNvPr>
          <p:cNvGrpSpPr/>
          <p:nvPr/>
        </p:nvGrpSpPr>
        <p:grpSpPr>
          <a:xfrm>
            <a:off x="8967299" y="1761442"/>
            <a:ext cx="333710" cy="4494191"/>
            <a:chOff x="2124816" y="1779112"/>
            <a:chExt cx="333710" cy="4494191"/>
          </a:xfrm>
        </p:grpSpPr>
        <p:grpSp>
          <p:nvGrpSpPr>
            <p:cNvPr id="275" name="Group 274">
              <a:extLst>
                <a:ext uri="{FF2B5EF4-FFF2-40B4-BE49-F238E27FC236}">
                  <a16:creationId xmlns:a16="http://schemas.microsoft.com/office/drawing/2014/main" id="{582E57F5-23CC-429B-8C4B-0048AD447929}"/>
                </a:ext>
              </a:extLst>
            </p:cNvPr>
            <p:cNvGrpSpPr/>
            <p:nvPr/>
          </p:nvGrpSpPr>
          <p:grpSpPr>
            <a:xfrm>
              <a:off x="2124816" y="1779112"/>
              <a:ext cx="333710" cy="4174156"/>
              <a:chOff x="2124816" y="1779112"/>
              <a:chExt cx="333710" cy="4174156"/>
            </a:xfrm>
          </p:grpSpPr>
          <p:pic>
            <p:nvPicPr>
              <p:cNvPr id="277" name="Picture 276">
                <a:extLst>
                  <a:ext uri="{FF2B5EF4-FFF2-40B4-BE49-F238E27FC236}">
                    <a16:creationId xmlns:a16="http://schemas.microsoft.com/office/drawing/2014/main" id="{32FE4308-F556-4254-B040-AA1C0344EFB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1779112"/>
                <a:ext cx="333710" cy="333710"/>
              </a:xfrm>
              <a:prstGeom prst="rect">
                <a:avLst/>
              </a:prstGeom>
              <a:solidFill>
                <a:schemeClr val="bg1">
                  <a:alpha val="0"/>
                </a:schemeClr>
              </a:solidFill>
            </p:spPr>
          </p:pic>
          <p:pic>
            <p:nvPicPr>
              <p:cNvPr id="278" name="Picture 277">
                <a:extLst>
                  <a:ext uri="{FF2B5EF4-FFF2-40B4-BE49-F238E27FC236}">
                    <a16:creationId xmlns:a16="http://schemas.microsoft.com/office/drawing/2014/main" id="{639A4A55-B674-4D2C-8BE3-490A30F1643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099149"/>
                <a:ext cx="333710" cy="333710"/>
              </a:xfrm>
              <a:prstGeom prst="rect">
                <a:avLst/>
              </a:prstGeom>
              <a:solidFill>
                <a:schemeClr val="bg1">
                  <a:alpha val="0"/>
                </a:schemeClr>
              </a:solidFill>
            </p:spPr>
          </p:pic>
          <p:pic>
            <p:nvPicPr>
              <p:cNvPr id="279" name="Picture 278">
                <a:extLst>
                  <a:ext uri="{FF2B5EF4-FFF2-40B4-BE49-F238E27FC236}">
                    <a16:creationId xmlns:a16="http://schemas.microsoft.com/office/drawing/2014/main" id="{4A44C189-0549-4510-909A-F087D350446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419186"/>
                <a:ext cx="333710" cy="333710"/>
              </a:xfrm>
              <a:prstGeom prst="rect">
                <a:avLst/>
              </a:prstGeom>
              <a:solidFill>
                <a:schemeClr val="bg1">
                  <a:alpha val="0"/>
                </a:schemeClr>
              </a:solidFill>
            </p:spPr>
          </p:pic>
          <p:pic>
            <p:nvPicPr>
              <p:cNvPr id="280" name="Picture 279">
                <a:extLst>
                  <a:ext uri="{FF2B5EF4-FFF2-40B4-BE49-F238E27FC236}">
                    <a16:creationId xmlns:a16="http://schemas.microsoft.com/office/drawing/2014/main" id="{3E59F406-E1CD-48C7-B4E3-D6AD901082CC}"/>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2739223"/>
                <a:ext cx="333710" cy="333710"/>
              </a:xfrm>
              <a:prstGeom prst="rect">
                <a:avLst/>
              </a:prstGeom>
              <a:solidFill>
                <a:schemeClr val="bg1">
                  <a:alpha val="0"/>
                </a:schemeClr>
              </a:solidFill>
            </p:spPr>
          </p:pic>
          <p:pic>
            <p:nvPicPr>
              <p:cNvPr id="281" name="Picture 280">
                <a:extLst>
                  <a:ext uri="{FF2B5EF4-FFF2-40B4-BE49-F238E27FC236}">
                    <a16:creationId xmlns:a16="http://schemas.microsoft.com/office/drawing/2014/main" id="{9E4A483E-72EC-4EE8-ABEE-47DB3F7E375B}"/>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059260"/>
                <a:ext cx="333710" cy="333710"/>
              </a:xfrm>
              <a:prstGeom prst="rect">
                <a:avLst/>
              </a:prstGeom>
              <a:solidFill>
                <a:schemeClr val="bg1">
                  <a:alpha val="0"/>
                </a:schemeClr>
              </a:solidFill>
            </p:spPr>
          </p:pic>
          <p:pic>
            <p:nvPicPr>
              <p:cNvPr id="282" name="Picture 281">
                <a:extLst>
                  <a:ext uri="{FF2B5EF4-FFF2-40B4-BE49-F238E27FC236}">
                    <a16:creationId xmlns:a16="http://schemas.microsoft.com/office/drawing/2014/main" id="{DF818E3C-C2B8-45B9-931F-3D8B372B372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379297"/>
                <a:ext cx="333710" cy="333710"/>
              </a:xfrm>
              <a:prstGeom prst="rect">
                <a:avLst/>
              </a:prstGeom>
              <a:solidFill>
                <a:schemeClr val="bg1">
                  <a:alpha val="0"/>
                </a:schemeClr>
              </a:solidFill>
            </p:spPr>
          </p:pic>
          <p:pic>
            <p:nvPicPr>
              <p:cNvPr id="283" name="Picture 282">
                <a:extLst>
                  <a:ext uri="{FF2B5EF4-FFF2-40B4-BE49-F238E27FC236}">
                    <a16:creationId xmlns:a16="http://schemas.microsoft.com/office/drawing/2014/main" id="{2CE2D8B9-2865-41FA-8C39-34F6FE031B68}"/>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3699334"/>
                <a:ext cx="333710" cy="333710"/>
              </a:xfrm>
              <a:prstGeom prst="rect">
                <a:avLst/>
              </a:prstGeom>
              <a:solidFill>
                <a:schemeClr val="bg1">
                  <a:alpha val="0"/>
                </a:schemeClr>
              </a:solidFill>
            </p:spPr>
          </p:pic>
          <p:pic>
            <p:nvPicPr>
              <p:cNvPr id="284" name="Picture 283">
                <a:extLst>
                  <a:ext uri="{FF2B5EF4-FFF2-40B4-BE49-F238E27FC236}">
                    <a16:creationId xmlns:a16="http://schemas.microsoft.com/office/drawing/2014/main" id="{7F696FB1-440C-4381-B2C3-68AC95EB6CAA}"/>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019371"/>
                <a:ext cx="333710" cy="333710"/>
              </a:xfrm>
              <a:prstGeom prst="rect">
                <a:avLst/>
              </a:prstGeom>
              <a:solidFill>
                <a:schemeClr val="bg1">
                  <a:alpha val="0"/>
                </a:schemeClr>
              </a:solidFill>
            </p:spPr>
          </p:pic>
          <p:pic>
            <p:nvPicPr>
              <p:cNvPr id="285" name="Picture 284">
                <a:extLst>
                  <a:ext uri="{FF2B5EF4-FFF2-40B4-BE49-F238E27FC236}">
                    <a16:creationId xmlns:a16="http://schemas.microsoft.com/office/drawing/2014/main" id="{9AE70747-9F38-45E6-BF4F-7B9D5BB12C94}"/>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339408"/>
                <a:ext cx="333710" cy="333710"/>
              </a:xfrm>
              <a:prstGeom prst="rect">
                <a:avLst/>
              </a:prstGeom>
              <a:solidFill>
                <a:schemeClr val="bg1">
                  <a:alpha val="0"/>
                </a:schemeClr>
              </a:solidFill>
            </p:spPr>
          </p:pic>
          <p:pic>
            <p:nvPicPr>
              <p:cNvPr id="286" name="Picture 285">
                <a:extLst>
                  <a:ext uri="{FF2B5EF4-FFF2-40B4-BE49-F238E27FC236}">
                    <a16:creationId xmlns:a16="http://schemas.microsoft.com/office/drawing/2014/main" id="{EEA7D4E2-142D-484A-84A0-198555A13439}"/>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659445"/>
                <a:ext cx="333710" cy="333710"/>
              </a:xfrm>
              <a:prstGeom prst="rect">
                <a:avLst/>
              </a:prstGeom>
              <a:solidFill>
                <a:schemeClr val="bg1">
                  <a:alpha val="0"/>
                </a:schemeClr>
              </a:solidFill>
            </p:spPr>
          </p:pic>
          <p:pic>
            <p:nvPicPr>
              <p:cNvPr id="287" name="Picture 286">
                <a:extLst>
                  <a:ext uri="{FF2B5EF4-FFF2-40B4-BE49-F238E27FC236}">
                    <a16:creationId xmlns:a16="http://schemas.microsoft.com/office/drawing/2014/main" id="{06CA61EE-1041-484E-9B8E-4DF745794B1D}"/>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4979482"/>
                <a:ext cx="333710" cy="333710"/>
              </a:xfrm>
              <a:prstGeom prst="rect">
                <a:avLst/>
              </a:prstGeom>
              <a:solidFill>
                <a:schemeClr val="bg1">
                  <a:alpha val="0"/>
                </a:schemeClr>
              </a:solidFill>
            </p:spPr>
          </p:pic>
          <p:pic>
            <p:nvPicPr>
              <p:cNvPr id="288" name="Picture 287">
                <a:extLst>
                  <a:ext uri="{FF2B5EF4-FFF2-40B4-BE49-F238E27FC236}">
                    <a16:creationId xmlns:a16="http://schemas.microsoft.com/office/drawing/2014/main" id="{5BC9629A-741D-4DF5-B3FA-832757BBFF75}"/>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299519"/>
                <a:ext cx="333710" cy="333710"/>
              </a:xfrm>
              <a:prstGeom prst="rect">
                <a:avLst/>
              </a:prstGeom>
              <a:solidFill>
                <a:schemeClr val="bg1">
                  <a:alpha val="0"/>
                </a:schemeClr>
              </a:solidFill>
            </p:spPr>
          </p:pic>
          <p:pic>
            <p:nvPicPr>
              <p:cNvPr id="289" name="Picture 288">
                <a:extLst>
                  <a:ext uri="{FF2B5EF4-FFF2-40B4-BE49-F238E27FC236}">
                    <a16:creationId xmlns:a16="http://schemas.microsoft.com/office/drawing/2014/main" id="{BEE6CC87-9F9B-467B-9812-4E681DCA0D11}"/>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619558"/>
                <a:ext cx="333710" cy="333710"/>
              </a:xfrm>
              <a:prstGeom prst="rect">
                <a:avLst/>
              </a:prstGeom>
              <a:solidFill>
                <a:schemeClr val="bg1">
                  <a:alpha val="0"/>
                </a:schemeClr>
              </a:solidFill>
            </p:spPr>
          </p:pic>
        </p:grpSp>
        <p:pic>
          <p:nvPicPr>
            <p:cNvPr id="276" name="Picture 275">
              <a:extLst>
                <a:ext uri="{FF2B5EF4-FFF2-40B4-BE49-F238E27FC236}">
                  <a16:creationId xmlns:a16="http://schemas.microsoft.com/office/drawing/2014/main" id="{E2400F15-8963-4AF1-981F-9712E77AC79F}"/>
                </a:ext>
              </a:extLst>
            </p:cNvPr>
            <p:cNvPicPr>
              <a:picLocks noChangeAspect="1"/>
            </p:cNvPicPr>
            <p:nvPr/>
          </p:nvPicPr>
          <p:blipFill>
            <a:blip r:embed="rId6" cstate="hqprint">
              <a:clrChange>
                <a:clrFrom>
                  <a:srgbClr val="000000">
                    <a:alpha val="0"/>
                  </a:srgbClr>
                </a:clrFrom>
                <a:clrTo>
                  <a:srgbClr val="000000">
                    <a:alpha val="0"/>
                  </a:srgbClr>
                </a:clrTo>
              </a:clrChange>
              <a:lum bright="70000" contrast="-70000"/>
              <a:extLst>
                <a:ext uri="{28A0092B-C50C-407E-A947-70E740481C1C}">
                  <a14:useLocalDpi xmlns:a14="http://schemas.microsoft.com/office/drawing/2010/main"/>
                </a:ext>
              </a:extLst>
            </a:blip>
            <a:stretch>
              <a:fillRect/>
            </a:stretch>
          </p:blipFill>
          <p:spPr>
            <a:xfrm flipH="1">
              <a:off x="2124816" y="5939593"/>
              <a:ext cx="333710" cy="333710"/>
            </a:xfrm>
            <a:prstGeom prst="rect">
              <a:avLst/>
            </a:prstGeom>
            <a:solidFill>
              <a:schemeClr val="bg1">
                <a:alpha val="0"/>
              </a:schemeClr>
            </a:solidFill>
          </p:spPr>
        </p:pic>
      </p:grpSp>
      <p:sp>
        <p:nvSpPr>
          <p:cNvPr id="290" name="Google Shape;542;p9">
            <a:extLst>
              <a:ext uri="{FF2B5EF4-FFF2-40B4-BE49-F238E27FC236}">
                <a16:creationId xmlns:a16="http://schemas.microsoft.com/office/drawing/2014/main" id="{FE77A52C-0D71-4896-A30E-C5F17CE924C8}"/>
              </a:ext>
            </a:extLst>
          </p:cNvPr>
          <p:cNvSpPr/>
          <p:nvPr/>
        </p:nvSpPr>
        <p:spPr>
          <a:xfrm>
            <a:off x="2065060" y="1706557"/>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rgbClr val="95C5C9">
                  <a:alpha val="90000"/>
                </a:srgbClr>
              </a:gs>
              <a:gs pos="100000">
                <a:srgbClr val="FFFFFF">
                  <a:alpha val="20000"/>
                </a:srgbClr>
              </a:gs>
            </a:gsLst>
            <a:lin ang="0" scaled="1"/>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pic>
        <p:nvPicPr>
          <p:cNvPr id="10" name="Google Shape;792;p22">
            <a:extLst>
              <a:ext uri="{FF2B5EF4-FFF2-40B4-BE49-F238E27FC236}">
                <a16:creationId xmlns:a16="http://schemas.microsoft.com/office/drawing/2014/main" id="{A96CB60B-E761-4142-8810-A3756E54AA89}"/>
              </a:ext>
            </a:extLst>
          </p:cNvPr>
          <p:cNvPicPr preferRelativeResize="0"/>
          <p:nvPr/>
        </p:nvPicPr>
        <p:blipFill rotWithShape="1">
          <a:blip r:embed="rId7">
            <a:alphaModFix/>
            <a:extLst>
              <a:ext uri="{28A0092B-C50C-407E-A947-70E740481C1C}">
                <a14:useLocalDpi xmlns:a14="http://schemas.microsoft.com/office/drawing/2010/main"/>
              </a:ext>
            </a:extLst>
          </a:blip>
          <a:srcRect/>
          <a:stretch/>
        </p:blipFill>
        <p:spPr>
          <a:xfrm>
            <a:off x="1943366" y="2112822"/>
            <a:ext cx="3677214" cy="3676695"/>
          </a:xfrm>
          <a:prstGeom prst="ellipse">
            <a:avLst/>
          </a:prstGeom>
          <a:noFill/>
          <a:ln w="38100" cap="flat" cmpd="sng">
            <a:solidFill>
              <a:schemeClr val="lt1"/>
            </a:solidFill>
            <a:prstDash val="solid"/>
            <a:round/>
            <a:headEnd type="none" w="sm" len="sm"/>
            <a:tailEnd type="none" w="sm" len="sm"/>
          </a:ln>
        </p:spPr>
      </p:pic>
      <p:sp>
        <p:nvSpPr>
          <p:cNvPr id="28" name="Rectangle 27">
            <a:extLst>
              <a:ext uri="{FF2B5EF4-FFF2-40B4-BE49-F238E27FC236}">
                <a16:creationId xmlns:a16="http://schemas.microsoft.com/office/drawing/2014/main" id="{1BCC0120-1224-4CB2-A96E-C0FAFBBC064B}"/>
              </a:ext>
            </a:extLst>
          </p:cNvPr>
          <p:cNvSpPr/>
          <p:nvPr/>
        </p:nvSpPr>
        <p:spPr>
          <a:xfrm rot="2618534" flipH="1" flipV="1">
            <a:off x="6221615" y="4182811"/>
            <a:ext cx="72000" cy="288000"/>
          </a:xfrm>
          <a:prstGeom prst="rect">
            <a:avLst/>
          </a:prstGeom>
          <a:solidFill>
            <a:srgbClr val="22777B"/>
          </a:solidFill>
          <a:ln w="4266" cap="flat">
            <a:noFill/>
            <a:prstDash val="solid"/>
            <a:miter/>
          </a:ln>
        </p:spPr>
        <p:txBody>
          <a:bodyPr vert="horz" lIns="72000" tIns="72000" rIns="72000" bIns="72000" rtlCol="0" anchor="ctr">
            <a:noAutofit/>
          </a:bodyPr>
          <a:lstStyle/>
          <a:p>
            <a:pPr marL="0" indent="0" algn="ctr">
              <a:buNone/>
            </a:pPr>
            <a:endParaRPr lang="nl-NL" dirty="0">
              <a:sym typeface="Corbel" panose="020B0503020204020204" pitchFamily="34" charset="0"/>
            </a:endParaRPr>
          </a:p>
        </p:txBody>
      </p:sp>
      <p:sp>
        <p:nvSpPr>
          <p:cNvPr id="26" name="Rectangle 25">
            <a:extLst>
              <a:ext uri="{FF2B5EF4-FFF2-40B4-BE49-F238E27FC236}">
                <a16:creationId xmlns:a16="http://schemas.microsoft.com/office/drawing/2014/main" id="{6D84F002-458A-45B0-AE64-B3FC43A57007}"/>
              </a:ext>
            </a:extLst>
          </p:cNvPr>
          <p:cNvSpPr/>
          <p:nvPr/>
        </p:nvSpPr>
        <p:spPr>
          <a:xfrm rot="18981466" flipV="1">
            <a:off x="8742168" y="4135186"/>
            <a:ext cx="72000" cy="288000"/>
          </a:xfrm>
          <a:prstGeom prst="rect">
            <a:avLst/>
          </a:prstGeom>
          <a:solidFill>
            <a:srgbClr val="22777B"/>
          </a:solidFill>
          <a:ln w="4266" cap="flat">
            <a:noFill/>
            <a:prstDash val="solid"/>
            <a:miter/>
          </a:ln>
        </p:spPr>
        <p:txBody>
          <a:bodyPr vert="horz" lIns="72000" tIns="72000" rIns="72000" bIns="72000" rtlCol="0" anchor="ctr">
            <a:noAutofit/>
          </a:bodyPr>
          <a:lstStyle/>
          <a:p>
            <a:pPr marL="0" indent="0" algn="ctr">
              <a:buNone/>
            </a:pPr>
            <a:endParaRPr lang="nl-NL" dirty="0">
              <a:sym typeface="Corbel" panose="020B0503020204020204" pitchFamily="34" charset="0"/>
            </a:endParaRPr>
          </a:p>
        </p:txBody>
      </p:sp>
      <p:sp>
        <p:nvSpPr>
          <p:cNvPr id="23" name="Rectangle 22">
            <a:extLst>
              <a:ext uri="{FF2B5EF4-FFF2-40B4-BE49-F238E27FC236}">
                <a16:creationId xmlns:a16="http://schemas.microsoft.com/office/drawing/2014/main" id="{03A3BF4A-4968-4AEB-A711-BE927B61D9E8}"/>
              </a:ext>
            </a:extLst>
          </p:cNvPr>
          <p:cNvSpPr/>
          <p:nvPr/>
        </p:nvSpPr>
        <p:spPr>
          <a:xfrm rot="18981466" flipH="1">
            <a:off x="6147077" y="2718657"/>
            <a:ext cx="72000" cy="288000"/>
          </a:xfrm>
          <a:prstGeom prst="rect">
            <a:avLst/>
          </a:prstGeom>
          <a:solidFill>
            <a:srgbClr val="22777B"/>
          </a:solidFill>
          <a:ln w="4266" cap="flat">
            <a:noFill/>
            <a:prstDash val="solid"/>
            <a:miter/>
          </a:ln>
        </p:spPr>
        <p:txBody>
          <a:bodyPr vert="horz" lIns="72000" tIns="72000" rIns="72000" bIns="72000" rtlCol="0" anchor="ctr">
            <a:noAutofit/>
          </a:bodyPr>
          <a:lstStyle/>
          <a:p>
            <a:pPr marL="0" indent="0" algn="ctr">
              <a:buNone/>
            </a:pPr>
            <a:endParaRPr lang="nl-NL" dirty="0">
              <a:sym typeface="Corbel" panose="020B0503020204020204" pitchFamily="34" charset="0"/>
            </a:endParaRPr>
          </a:p>
        </p:txBody>
      </p:sp>
      <p:sp>
        <p:nvSpPr>
          <p:cNvPr id="21" name="Rectangle 20">
            <a:extLst>
              <a:ext uri="{FF2B5EF4-FFF2-40B4-BE49-F238E27FC236}">
                <a16:creationId xmlns:a16="http://schemas.microsoft.com/office/drawing/2014/main" id="{0B80223B-ED52-4469-A712-D331DEB3CDB3}"/>
              </a:ext>
            </a:extLst>
          </p:cNvPr>
          <p:cNvSpPr/>
          <p:nvPr/>
        </p:nvSpPr>
        <p:spPr>
          <a:xfrm rot="2618534">
            <a:off x="8816707" y="2671032"/>
            <a:ext cx="72000" cy="288000"/>
          </a:xfrm>
          <a:prstGeom prst="rect">
            <a:avLst/>
          </a:prstGeom>
          <a:solidFill>
            <a:srgbClr val="22777B"/>
          </a:solidFill>
          <a:ln w="4266" cap="flat">
            <a:noFill/>
            <a:prstDash val="solid"/>
            <a:miter/>
          </a:ln>
        </p:spPr>
        <p:txBody>
          <a:bodyPr vert="horz" lIns="72000" tIns="72000" rIns="72000" bIns="72000" rtlCol="0" anchor="ctr">
            <a:noAutofit/>
          </a:bodyPr>
          <a:lstStyle/>
          <a:p>
            <a:pPr marL="0" indent="0" algn="ctr">
              <a:buNone/>
            </a:pPr>
            <a:endParaRPr lang="nl-NL" dirty="0">
              <a:sym typeface="Corbel" panose="020B0503020204020204" pitchFamily="34" charset="0"/>
            </a:endParaRPr>
          </a:p>
        </p:txBody>
      </p:sp>
      <p:sp>
        <p:nvSpPr>
          <p:cNvPr id="7" name="Rectangle 6">
            <a:extLst>
              <a:ext uri="{FF2B5EF4-FFF2-40B4-BE49-F238E27FC236}">
                <a16:creationId xmlns:a16="http://schemas.microsoft.com/office/drawing/2014/main" id="{169795FA-EA3C-4901-B706-A35A220A9201}"/>
              </a:ext>
            </a:extLst>
          </p:cNvPr>
          <p:cNvSpPr/>
          <p:nvPr/>
        </p:nvSpPr>
        <p:spPr>
          <a:xfrm>
            <a:off x="7566654" y="2337604"/>
            <a:ext cx="72000" cy="288000"/>
          </a:xfrm>
          <a:prstGeom prst="rect">
            <a:avLst/>
          </a:prstGeom>
          <a:solidFill>
            <a:srgbClr val="22777B"/>
          </a:solidFill>
          <a:ln w="4266" cap="flat">
            <a:noFill/>
            <a:prstDash val="solid"/>
            <a:miter/>
          </a:ln>
        </p:spPr>
        <p:txBody>
          <a:bodyPr vert="horz" lIns="72000" tIns="72000" rIns="72000" bIns="72000" rtlCol="0" anchor="ctr">
            <a:noAutofit/>
          </a:bodyPr>
          <a:lstStyle/>
          <a:p>
            <a:pPr marL="0" indent="0" algn="ctr">
              <a:buNone/>
            </a:pPr>
            <a:endParaRPr lang="nl-NL" dirty="0">
              <a:sym typeface="Corbel" panose="020B0503020204020204" pitchFamily="34" charset="0"/>
            </a:endParaRPr>
          </a:p>
        </p:txBody>
      </p:sp>
      <p:sp>
        <p:nvSpPr>
          <p:cNvPr id="20" name="Google Shape;545;p9">
            <a:extLst>
              <a:ext uri="{FF2B5EF4-FFF2-40B4-BE49-F238E27FC236}">
                <a16:creationId xmlns:a16="http://schemas.microsoft.com/office/drawing/2014/main" id="{DCC631EB-2EAF-4BAD-A5F2-77B4FA7836DF}"/>
              </a:ext>
            </a:extLst>
          </p:cNvPr>
          <p:cNvSpPr/>
          <p:nvPr/>
        </p:nvSpPr>
        <p:spPr>
          <a:xfrm>
            <a:off x="6096000" y="2783243"/>
            <a:ext cx="3013309" cy="1350596"/>
          </a:xfrm>
          <a:prstGeom prst="rect">
            <a:avLst/>
          </a:prstGeom>
          <a:noFill/>
          <a:ln w="38100">
            <a:noFill/>
          </a:ln>
          <a:effectLst/>
          <a:extLst>
            <a:ext uri="{909E8E84-426E-40DD-AFC4-6F175D3DCCD1}">
              <a14:hiddenFill xmlns:a14="http://schemas.microsoft.com/office/drawing/2010/main">
                <a:solidFill>
                  <a:srgbClr val="FFFFFF">
                    <a:alpha val="90000"/>
                  </a:srgbClr>
                </a:solidFill>
              </a14:hiddenFill>
            </a:ext>
          </a:extLst>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800" dirty="0">
                <a:solidFill>
                  <a:srgbClr val="22777B"/>
                </a:solidFill>
                <a:ea typeface="Corbel"/>
                <a:cs typeface="Corbel"/>
                <a:sym typeface="Corbel" panose="020B0503020204020204" pitchFamily="34" charset="0"/>
              </a:rPr>
              <a:t>Welkom </a:t>
            </a:r>
          </a:p>
          <a:p>
            <a:pPr marL="0" marR="0" lvl="0" indent="0" algn="ctr">
              <a:lnSpc>
                <a:spcPct val="90000"/>
              </a:lnSpc>
              <a:spcBef>
                <a:spcPts val="0"/>
              </a:spcBef>
              <a:spcAft>
                <a:spcPts val="0"/>
              </a:spcAft>
              <a:buClr>
                <a:srgbClr val="FF0000"/>
              </a:buClr>
              <a:buSzPts val="1400"/>
              <a:buFont typeface="Noto Sans Symbols"/>
              <a:buNone/>
            </a:pPr>
            <a:r>
              <a:rPr lang="nl-NL" sz="4400" b="1" u="none" strike="noStrike" cap="none" dirty="0">
                <a:solidFill>
                  <a:srgbClr val="22777B"/>
                </a:solidFill>
                <a:ea typeface="Corbel"/>
                <a:cs typeface="Corbel"/>
                <a:sym typeface="Corbel" panose="020B0503020204020204" pitchFamily="34" charset="0"/>
              </a:rPr>
              <a:t>Jan Willem</a:t>
            </a:r>
          </a:p>
        </p:txBody>
      </p:sp>
      <p:sp>
        <p:nvSpPr>
          <p:cNvPr id="27" name="Rectangle 26">
            <a:extLst>
              <a:ext uri="{FF2B5EF4-FFF2-40B4-BE49-F238E27FC236}">
                <a16:creationId xmlns:a16="http://schemas.microsoft.com/office/drawing/2014/main" id="{44377ED0-A02C-41AC-B65E-2948BABBB09E}"/>
              </a:ext>
            </a:extLst>
          </p:cNvPr>
          <p:cNvSpPr/>
          <p:nvPr/>
        </p:nvSpPr>
        <p:spPr>
          <a:xfrm>
            <a:off x="7566654" y="4183478"/>
            <a:ext cx="72000" cy="288000"/>
          </a:xfrm>
          <a:prstGeom prst="rect">
            <a:avLst/>
          </a:prstGeom>
          <a:solidFill>
            <a:srgbClr val="22777B"/>
          </a:solidFill>
          <a:ln w="4266" cap="flat">
            <a:noFill/>
            <a:prstDash val="solid"/>
            <a:miter/>
          </a:ln>
        </p:spPr>
        <p:txBody>
          <a:bodyPr vert="horz" lIns="72000" tIns="72000" rIns="72000" bIns="72000" rtlCol="0" anchor="ctr">
            <a:noAutofit/>
          </a:bodyPr>
          <a:lstStyle/>
          <a:p>
            <a:pPr marL="0" indent="0" algn="ctr">
              <a:buNone/>
            </a:pPr>
            <a:endParaRPr lang="nl-NL" dirty="0">
              <a:sym typeface="Corbel" panose="020B0503020204020204" pitchFamily="34" charset="0"/>
            </a:endParaRPr>
          </a:p>
        </p:txBody>
      </p:sp>
      <p:sp>
        <p:nvSpPr>
          <p:cNvPr id="47" name="Google Shape;544;p9">
            <a:extLst>
              <a:ext uri="{FF2B5EF4-FFF2-40B4-BE49-F238E27FC236}">
                <a16:creationId xmlns:a16="http://schemas.microsoft.com/office/drawing/2014/main" id="{31553291-31D7-42DC-881A-A4AEC3AE431D}"/>
              </a:ext>
            </a:extLst>
          </p:cNvPr>
          <p:cNvSpPr/>
          <p:nvPr/>
        </p:nvSpPr>
        <p:spPr>
          <a:xfrm>
            <a:off x="-1671967" y="-1763396"/>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Tree>
    <p:extLst>
      <p:ext uri="{BB962C8B-B14F-4D97-AF65-F5344CB8AC3E}">
        <p14:creationId xmlns:p14="http://schemas.microsoft.com/office/powerpoint/2010/main" val="35671402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29</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pic>
        <p:nvPicPr>
          <p:cNvPr id="10" name="Picture 9">
            <a:extLst>
              <a:ext uri="{FF2B5EF4-FFF2-40B4-BE49-F238E27FC236}">
                <a16:creationId xmlns:a16="http://schemas.microsoft.com/office/drawing/2014/main" id="{5AC6E922-DEED-44AD-8A52-A926BD683490}"/>
              </a:ext>
            </a:extLst>
          </p:cNvPr>
          <p:cNvPicPr>
            <a:picLocks noChangeAspect="1"/>
          </p:cNvPicPr>
          <p:nvPr/>
        </p:nvPicPr>
        <p:blipFill>
          <a:blip r:embed="rId7"/>
          <a:srcRect/>
          <a:stretch/>
        </p:blipFill>
        <p:spPr>
          <a:xfrm flipH="1">
            <a:off x="929577" y="1594887"/>
            <a:ext cx="8956276" cy="6717208"/>
          </a:xfrm>
          <a:prstGeom prst="rect">
            <a:avLst/>
          </a:prstGeom>
        </p:spPr>
      </p:pic>
      <p:sp>
        <p:nvSpPr>
          <p:cNvPr id="18" name="Google Shape;542;p9">
            <a:extLst>
              <a:ext uri="{FF2B5EF4-FFF2-40B4-BE49-F238E27FC236}">
                <a16:creationId xmlns:a16="http://schemas.microsoft.com/office/drawing/2014/main" id="{F74ADEAF-93E3-474A-B70C-80B33C1E93F7}"/>
              </a:ext>
            </a:extLst>
          </p:cNvPr>
          <p:cNvSpPr/>
          <p:nvPr/>
        </p:nvSpPr>
        <p:spPr>
          <a:xfrm flipH="1">
            <a:off x="2286165" y="1691582"/>
            <a:ext cx="7619669" cy="4654796"/>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114300" cap="flat" cmpd="sng">
            <a:noFill/>
            <a:prstDash val="solid"/>
            <a:round/>
            <a:headEnd type="none" w="sm" len="sm"/>
            <a:tailEnd type="none" w="sm" len="sm"/>
          </a:ln>
          <a:extLst>
            <a:ext uri="{909E8E84-426E-40DD-AFC4-6F175D3DCCD1}">
              <a14:hiddenFill xmlns:a14="http://schemas.microsoft.com/office/drawing/2010/main">
                <a:gradFill flip="none" rotWithShape="1">
                  <a:gsLst>
                    <a:gs pos="0">
                      <a:srgbClr val="FFBD42">
                        <a:alpha val="0"/>
                      </a:srgbClr>
                    </a:gs>
                    <a:gs pos="75000">
                      <a:srgbClr val="EC6224">
                        <a:alpha val="53000"/>
                      </a:srgbClr>
                    </a:gs>
                    <a:gs pos="93000">
                      <a:srgbClr val="D64221"/>
                    </a:gs>
                    <a:gs pos="100000">
                      <a:srgbClr val="BF211E"/>
                    </a:gs>
                  </a:gsLst>
                  <a:lin ang="10800000" scaled="1"/>
                  <a:tileRect/>
                </a:gra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1" i="0" u="none" strike="noStrike" cap="none" dirty="0">
              <a:solidFill>
                <a:srgbClr val="000000"/>
              </a:solidFill>
              <a:latin typeface="Garamond" panose="02020404030301010803" pitchFamily="18" charset="0"/>
              <a:ea typeface="Corbel"/>
              <a:cs typeface="Corbel"/>
              <a:sym typeface="Corbel" panose="020B0503020204020204" pitchFamily="34" charset="0"/>
            </a:endParaRPr>
          </a:p>
        </p:txBody>
      </p:sp>
      <p:sp>
        <p:nvSpPr>
          <p:cNvPr id="544" name="Google Shape;544;p9"/>
          <p:cNvSpPr/>
          <p:nvPr/>
        </p:nvSpPr>
        <p:spPr>
          <a:xfrm>
            <a:off x="-1312205" y="-1691533"/>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sp>
        <p:nvSpPr>
          <p:cNvPr id="11" name="Google Shape;624;p13">
            <a:extLst>
              <a:ext uri="{FF2B5EF4-FFF2-40B4-BE49-F238E27FC236}">
                <a16:creationId xmlns:a16="http://schemas.microsoft.com/office/drawing/2014/main" id="{64C3F90F-126D-45C6-AAA8-5DB29A3F91F8}"/>
              </a:ext>
            </a:extLst>
          </p:cNvPr>
          <p:cNvSpPr/>
          <p:nvPr/>
        </p:nvSpPr>
        <p:spPr>
          <a:xfrm>
            <a:off x="5996764" y="2318458"/>
            <a:ext cx="2872145" cy="1379768"/>
          </a:xfrm>
          <a:prstGeom prst="rect">
            <a:avLst/>
          </a:prstGeom>
          <a:solidFill>
            <a:srgbClr val="FFFFFF">
              <a:alpha val="90000"/>
            </a:srgbClr>
          </a:solidFill>
          <a:ln>
            <a:noFill/>
          </a:ln>
          <a:effectLst>
            <a:outerShdw blurRad="50800" dist="38100" dir="2700000" algn="tl" rotWithShape="0">
              <a:srgbClr val="000000">
                <a:alpha val="40000"/>
              </a:srgbClr>
            </a:outerShdw>
          </a:effectLst>
        </p:spPr>
        <p:txBody>
          <a:bodyPr spcFirstLastPara="1" wrap="square" lIns="72000" tIns="72000" rIns="72000" bIns="72000" anchor="ctr" anchorCtr="0">
            <a:noAutofit/>
          </a:bodyPr>
          <a:lstStyle/>
          <a:p>
            <a:pPr marL="0" marR="0" lvl="0" indent="0" algn="l">
              <a:lnSpc>
                <a:spcPct val="90000"/>
              </a:lnSpc>
              <a:spcBef>
                <a:spcPts val="0"/>
              </a:spcBef>
              <a:spcAft>
                <a:spcPts val="0"/>
              </a:spcAft>
              <a:buClr>
                <a:srgbClr val="FF0000"/>
              </a:buClr>
              <a:buSzPts val="1400"/>
              <a:buFont typeface="Noto Sans Symbols"/>
              <a:buNone/>
            </a:pPr>
            <a:r>
              <a:rPr lang="nl-NL" sz="1800" b="1" i="0" u="none" strike="noStrike" cap="none" dirty="0">
                <a:solidFill>
                  <a:srgbClr val="22777B"/>
                </a:solidFill>
                <a:ea typeface="Corbel"/>
                <a:cs typeface="Corbel"/>
                <a:sym typeface="Corbel" panose="020B0503020204020204" pitchFamily="34" charset="0"/>
              </a:rPr>
              <a:t>Welkom bij It’s Public</a:t>
            </a:r>
          </a:p>
          <a:p>
            <a:pPr marL="0" marR="0" lvl="0" indent="0" algn="l">
              <a:lnSpc>
                <a:spcPct val="90000"/>
              </a:lnSpc>
              <a:spcBef>
                <a:spcPts val="0"/>
              </a:spcBef>
              <a:spcAft>
                <a:spcPts val="0"/>
              </a:spcAft>
              <a:buClr>
                <a:srgbClr val="FF0000"/>
              </a:buClr>
              <a:buSzPts val="1400"/>
              <a:buFont typeface="Noto Sans Symbols"/>
              <a:buNone/>
            </a:pPr>
            <a:r>
              <a:rPr lang="nl-NL" sz="4400" b="1" dirty="0">
                <a:solidFill>
                  <a:srgbClr val="22777B"/>
                </a:solidFill>
                <a:ea typeface="Corbel"/>
                <a:cs typeface="Corbel"/>
                <a:sym typeface="Corbel" panose="020B0503020204020204" pitchFamily="34" charset="0"/>
              </a:rPr>
              <a:t>Tom!</a:t>
            </a:r>
            <a:endParaRPr lang="nl-NL" sz="4400" b="1" i="0" u="none" strike="noStrike" cap="none" dirty="0">
              <a:solidFill>
                <a:srgbClr val="22777B"/>
              </a:solidFill>
              <a:ea typeface="Corbel"/>
              <a:cs typeface="Corbel"/>
              <a:sym typeface="Corbel" panose="020B0503020204020204" pitchFamily="34" charset="0"/>
            </a:endParaRPr>
          </a:p>
        </p:txBody>
      </p:sp>
      <p:pic>
        <p:nvPicPr>
          <p:cNvPr id="47" name="Picture 46">
            <a:extLst>
              <a:ext uri="{FF2B5EF4-FFF2-40B4-BE49-F238E27FC236}">
                <a16:creationId xmlns:a16="http://schemas.microsoft.com/office/drawing/2014/main" id="{9901B273-6BD9-4606-B37D-730F13091ED3}"/>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8387271" y="2382256"/>
            <a:ext cx="481638" cy="481638"/>
          </a:xfrm>
          <a:prstGeom prst="rect">
            <a:avLst/>
          </a:prstGeom>
        </p:spPr>
      </p:pic>
    </p:spTree>
    <p:extLst>
      <p:ext uri="{BB962C8B-B14F-4D97-AF65-F5344CB8AC3E}">
        <p14:creationId xmlns:p14="http://schemas.microsoft.com/office/powerpoint/2010/main" val="35269648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0CC04F-08D5-0BF7-BAD3-99AD527799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960CC04F-08D5-0BF7-BAD3-99AD527799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F232D2E2-7F6A-64EF-0585-70B3B6AEC85C}"/>
              </a:ext>
            </a:extLst>
          </p:cNvPr>
          <p:cNvSpPr>
            <a:spLocks noGrp="1"/>
          </p:cNvSpPr>
          <p:nvPr>
            <p:ph type="sldNum" sz="quarter" idx="12"/>
          </p:nvPr>
        </p:nvSpPr>
        <p:spPr/>
        <p:txBody>
          <a:bodyPr/>
          <a:lstStyle/>
          <a:p>
            <a:fld id="{992CD0B2-8AB2-4C6C-8876-E15753662C9B}" type="slidenum">
              <a:rPr lang="nl-NL" smtClean="0"/>
              <a:pPr/>
              <a:t>3</a:t>
            </a:fld>
            <a:endParaRPr lang="nl-NL" dirty="0"/>
          </a:p>
        </p:txBody>
      </p:sp>
      <p:pic>
        <p:nvPicPr>
          <p:cNvPr id="3" name="Picture 2" descr="Shape, square&#10;&#10;Description automatically generated">
            <a:extLst>
              <a:ext uri="{FF2B5EF4-FFF2-40B4-BE49-F238E27FC236}">
                <a16:creationId xmlns:a16="http://schemas.microsoft.com/office/drawing/2014/main" id="{6E0CFE43-0528-65B0-98A5-FEED0A14498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4432300" y="2881128"/>
            <a:ext cx="3325123" cy="1737377"/>
          </a:xfrm>
          <a:prstGeom prst="rect">
            <a:avLst/>
          </a:prstGeom>
          <a:solidFill>
            <a:srgbClr val="FFFF00"/>
          </a:solidFill>
        </p:spPr>
      </p:pic>
      <p:pic>
        <p:nvPicPr>
          <p:cNvPr id="4" name="Picture 3" descr="A picture containing building, outdoor, sky, tall&#10;&#10;Description automatically generated">
            <a:extLst>
              <a:ext uri="{FF2B5EF4-FFF2-40B4-BE49-F238E27FC236}">
                <a16:creationId xmlns:a16="http://schemas.microsoft.com/office/drawing/2014/main" id="{8DB843B4-2CB7-7880-AB70-BC9ED9427A5E}"/>
              </a:ext>
            </a:extLst>
          </p:cNvPr>
          <p:cNvPicPr>
            <a:picLocks noChangeAspect="1"/>
          </p:cNvPicPr>
          <p:nvPr/>
        </p:nvPicPr>
        <p:blipFill rotWithShape="1">
          <a:blip r:embed="rId7"/>
          <a:srcRect l="72" t="16485" r="-72" b="5153"/>
          <a:stretch/>
        </p:blipFill>
        <p:spPr>
          <a:xfrm>
            <a:off x="4431506" y="2881314"/>
            <a:ext cx="3328988" cy="1738311"/>
          </a:xfrm>
          <a:prstGeom prst="rect">
            <a:avLst/>
          </a:prstGeom>
        </p:spPr>
      </p:pic>
      <p:pic>
        <p:nvPicPr>
          <p:cNvPr id="9" name="Picture 8" descr="A picture containing building, outdoor, sky, tall&#10;&#10;Description automatically generated">
            <a:extLst>
              <a:ext uri="{FF2B5EF4-FFF2-40B4-BE49-F238E27FC236}">
                <a16:creationId xmlns:a16="http://schemas.microsoft.com/office/drawing/2014/main" id="{FDB3D5F5-674E-B068-C899-4284EF0A751D}"/>
              </a:ext>
            </a:extLst>
          </p:cNvPr>
          <p:cNvPicPr>
            <a:picLocks noChangeAspect="1"/>
          </p:cNvPicPr>
          <p:nvPr/>
        </p:nvPicPr>
        <p:blipFill rotWithShape="1">
          <a:blip r:embed="rId8"/>
          <a:srcRect l="-72" t="18928" r="72" b="2788"/>
          <a:stretch/>
        </p:blipFill>
        <p:spPr>
          <a:xfrm>
            <a:off x="4429125" y="2881313"/>
            <a:ext cx="3328988" cy="1738312"/>
          </a:xfrm>
          <a:prstGeom prst="rect">
            <a:avLst/>
          </a:prstGeom>
        </p:spPr>
      </p:pic>
      <p:sp>
        <p:nvSpPr>
          <p:cNvPr id="10" name="Google Shape;624;p13">
            <a:extLst>
              <a:ext uri="{FF2B5EF4-FFF2-40B4-BE49-F238E27FC236}">
                <a16:creationId xmlns:a16="http://schemas.microsoft.com/office/drawing/2014/main" id="{57B69E14-5F87-FBE8-C25E-CEBA5E6BBDC4}"/>
              </a:ext>
            </a:extLst>
          </p:cNvPr>
          <p:cNvSpPr/>
          <p:nvPr/>
        </p:nvSpPr>
        <p:spPr>
          <a:xfrm>
            <a:off x="4431506" y="4157668"/>
            <a:ext cx="1243013" cy="166687"/>
          </a:xfrm>
          <a:prstGeom prst="rect">
            <a:avLst/>
          </a:prstGeom>
          <a:solidFill>
            <a:schemeClr val="bg1">
              <a:alpha val="90000"/>
            </a:schemeClr>
          </a:solidFill>
          <a:ln>
            <a:noFill/>
          </a:ln>
          <a:effectLst>
            <a:outerShdw blurRad="50800" dist="38100" dir="2700000" algn="tl" rotWithShape="0">
              <a:srgbClr val="000000">
                <a:alpha val="40000"/>
              </a:srgbClr>
            </a:outerShdw>
          </a:effectLst>
        </p:spPr>
        <p:txBody>
          <a:bodyPr spcFirstLastPara="1" wrap="square" lIns="54000" tIns="72000" rIns="54000" bIns="72000" anchor="ctr" anchorCtr="0">
            <a:noAutofit/>
          </a:bodyPr>
          <a:lstStyle/>
          <a:p>
            <a:pPr marL="0" marR="0" lvl="0" indent="0">
              <a:lnSpc>
                <a:spcPct val="90000"/>
              </a:lnSpc>
              <a:spcBef>
                <a:spcPts val="0"/>
              </a:spcBef>
              <a:spcAft>
                <a:spcPts val="0"/>
              </a:spcAft>
              <a:buClr>
                <a:srgbClr val="FF0000"/>
              </a:buClr>
              <a:buSzPts val="1400"/>
              <a:buFont typeface="Noto Sans Symbols"/>
              <a:buNone/>
            </a:pPr>
            <a:r>
              <a:rPr lang="nl-NL" sz="900" b="1" i="0" u="none" strike="noStrike" cap="none" dirty="0">
                <a:solidFill>
                  <a:srgbClr val="22777B"/>
                </a:solidFill>
                <a:ea typeface="Corbel"/>
                <a:cs typeface="Corbel"/>
                <a:sym typeface="Corbel" panose="020B0503020204020204" pitchFamily="34" charset="0"/>
              </a:rPr>
              <a:t>Prins Hendrikkade 21</a:t>
            </a:r>
            <a:endParaRPr lang="nl-NL" sz="1800" b="1" i="0" u="none" strike="noStrike" cap="none" dirty="0">
              <a:solidFill>
                <a:srgbClr val="22777B"/>
              </a:solidFill>
              <a:ea typeface="Corbel"/>
              <a:cs typeface="Corbel"/>
              <a:sym typeface="Corbel" panose="020B0503020204020204" pitchFamily="34" charset="0"/>
            </a:endParaRPr>
          </a:p>
        </p:txBody>
      </p:sp>
      <p:pic>
        <p:nvPicPr>
          <p:cNvPr id="58" name="Picture 57" descr="Icon&#10;&#10;Description automatically generated">
            <a:extLst>
              <a:ext uri="{FF2B5EF4-FFF2-40B4-BE49-F238E27FC236}">
                <a16:creationId xmlns:a16="http://schemas.microsoft.com/office/drawing/2014/main" id="{EA09650D-1F7E-02F1-4DA6-E37A22DAE7A1}"/>
              </a:ext>
            </a:extLst>
          </p:cNvPr>
          <p:cNvPicPr>
            <a:picLocks noChangeAspect="1"/>
          </p:cNvPicPr>
          <p:nvPr/>
        </p:nvPicPr>
        <p:blipFill>
          <a:blip r:embed="rId9"/>
          <a:stretch>
            <a:fillRect/>
          </a:stretch>
        </p:blipFill>
        <p:spPr>
          <a:xfrm>
            <a:off x="7496175" y="2962274"/>
            <a:ext cx="202379" cy="202379"/>
          </a:xfrm>
          <a:prstGeom prst="rect">
            <a:avLst/>
          </a:prstGeom>
        </p:spPr>
      </p:pic>
      <p:sp>
        <p:nvSpPr>
          <p:cNvPr id="61" name="Isosceles Triangle 60">
            <a:extLst>
              <a:ext uri="{FF2B5EF4-FFF2-40B4-BE49-F238E27FC236}">
                <a16:creationId xmlns:a16="http://schemas.microsoft.com/office/drawing/2014/main" id="{6D010E55-2108-95D6-7B35-A9F5C6ADA6A2}"/>
              </a:ext>
            </a:extLst>
          </p:cNvPr>
          <p:cNvSpPr/>
          <p:nvPr/>
        </p:nvSpPr>
        <p:spPr>
          <a:xfrm rot="10800000">
            <a:off x="7584006" y="2881314"/>
            <a:ext cx="177541" cy="66674"/>
          </a:xfrm>
          <a:custGeom>
            <a:avLst/>
            <a:gdLst>
              <a:gd name="connsiteX0" fmla="*/ 0 w 174106"/>
              <a:gd name="connsiteY0" fmla="*/ 150661 h 150661"/>
              <a:gd name="connsiteX1" fmla="*/ 87053 w 174106"/>
              <a:gd name="connsiteY1" fmla="*/ 0 h 150661"/>
              <a:gd name="connsiteX2" fmla="*/ 174106 w 174106"/>
              <a:gd name="connsiteY2" fmla="*/ 150661 h 150661"/>
              <a:gd name="connsiteX3" fmla="*/ 0 w 174106"/>
              <a:gd name="connsiteY3" fmla="*/ 150661 h 150661"/>
              <a:gd name="connsiteX0" fmla="*/ 0 w 174106"/>
              <a:gd name="connsiteY0" fmla="*/ 136373 h 136373"/>
              <a:gd name="connsiteX1" fmla="*/ 10853 w 174106"/>
              <a:gd name="connsiteY1" fmla="*/ 0 h 136373"/>
              <a:gd name="connsiteX2" fmla="*/ 174106 w 174106"/>
              <a:gd name="connsiteY2" fmla="*/ 136373 h 136373"/>
              <a:gd name="connsiteX3" fmla="*/ 0 w 174106"/>
              <a:gd name="connsiteY3" fmla="*/ 136373 h 136373"/>
              <a:gd name="connsiteX0" fmla="*/ 3435 w 177541"/>
              <a:gd name="connsiteY0" fmla="*/ 528698 h 528698"/>
              <a:gd name="connsiteX1" fmla="*/ 0 w 177541"/>
              <a:gd name="connsiteY1" fmla="*/ 0 h 528698"/>
              <a:gd name="connsiteX2" fmla="*/ 177541 w 177541"/>
              <a:gd name="connsiteY2" fmla="*/ 528698 h 528698"/>
              <a:gd name="connsiteX3" fmla="*/ 3435 w 177541"/>
              <a:gd name="connsiteY3" fmla="*/ 528698 h 528698"/>
            </a:gdLst>
            <a:ahLst/>
            <a:cxnLst>
              <a:cxn ang="0">
                <a:pos x="connsiteX0" y="connsiteY0"/>
              </a:cxn>
              <a:cxn ang="0">
                <a:pos x="connsiteX1" y="connsiteY1"/>
              </a:cxn>
              <a:cxn ang="0">
                <a:pos x="connsiteX2" y="connsiteY2"/>
              </a:cxn>
              <a:cxn ang="0">
                <a:pos x="connsiteX3" y="connsiteY3"/>
              </a:cxn>
            </a:cxnLst>
            <a:rect l="l" t="t" r="r" b="b"/>
            <a:pathLst>
              <a:path w="177541" h="528698">
                <a:moveTo>
                  <a:pt x="3435" y="528698"/>
                </a:moveTo>
                <a:lnTo>
                  <a:pt x="0" y="0"/>
                </a:lnTo>
                <a:lnTo>
                  <a:pt x="177541" y="528698"/>
                </a:lnTo>
                <a:lnTo>
                  <a:pt x="3435" y="528698"/>
                </a:lnTo>
                <a:close/>
              </a:path>
            </a:pathLst>
          </a:custGeom>
          <a:solidFill>
            <a:srgbClr val="DCE7F9"/>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endParaRPr lang="nl-NL"/>
          </a:p>
        </p:txBody>
      </p:sp>
      <p:sp>
        <p:nvSpPr>
          <p:cNvPr id="15" name="Rectangle 14">
            <a:extLst>
              <a:ext uri="{FF2B5EF4-FFF2-40B4-BE49-F238E27FC236}">
                <a16:creationId xmlns:a16="http://schemas.microsoft.com/office/drawing/2014/main" id="{C303A799-D72E-9397-EF0A-A9559C29A9B9}"/>
              </a:ext>
            </a:extLst>
          </p:cNvPr>
          <p:cNvSpPr/>
          <p:nvPr/>
        </p:nvSpPr>
        <p:spPr>
          <a:xfrm>
            <a:off x="4431506" y="3819530"/>
            <a:ext cx="1044000" cy="271464"/>
          </a:xfrm>
          <a:prstGeom prst="rect">
            <a:avLst/>
          </a:prstGeom>
          <a:solidFill>
            <a:srgbClr val="5454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16" name="Group 15">
            <a:extLst>
              <a:ext uri="{FF2B5EF4-FFF2-40B4-BE49-F238E27FC236}">
                <a16:creationId xmlns:a16="http://schemas.microsoft.com/office/drawing/2014/main" id="{19EF3DFC-27B3-21C7-65E6-910D9D3B1134}"/>
              </a:ext>
            </a:extLst>
          </p:cNvPr>
          <p:cNvGrpSpPr/>
          <p:nvPr/>
        </p:nvGrpSpPr>
        <p:grpSpPr>
          <a:xfrm>
            <a:off x="4491473" y="3854175"/>
            <a:ext cx="919304" cy="208540"/>
            <a:chOff x="2836862" y="3068799"/>
            <a:chExt cx="3837128" cy="877845"/>
          </a:xfrm>
          <a:solidFill>
            <a:schemeClr val="bg1"/>
          </a:solidFill>
        </p:grpSpPr>
        <p:sp>
          <p:nvSpPr>
            <p:cNvPr id="17" name="TextBox 16">
              <a:extLst>
                <a:ext uri="{FF2B5EF4-FFF2-40B4-BE49-F238E27FC236}">
                  <a16:creationId xmlns:a16="http://schemas.microsoft.com/office/drawing/2014/main" id="{87233463-10A9-5AF1-1BA8-96EB3EFDB69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TextBox 17">
              <a:extLst>
                <a:ext uri="{FF2B5EF4-FFF2-40B4-BE49-F238E27FC236}">
                  <a16:creationId xmlns:a16="http://schemas.microsoft.com/office/drawing/2014/main" id="{32340182-173E-B224-C5FF-D1581293E6E8}"/>
                </a:ext>
              </a:extLst>
            </p:cNvPr>
            <p:cNvSpPr txBox="1"/>
            <p:nvPr/>
          </p:nvSpPr>
          <p:spPr>
            <a:xfrm>
              <a:off x="5342366" y="3072289"/>
              <a:ext cx="412051"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9" name="TextBox 18">
              <a:extLst>
                <a:ext uri="{FF2B5EF4-FFF2-40B4-BE49-F238E27FC236}">
                  <a16:creationId xmlns:a16="http://schemas.microsoft.com/office/drawing/2014/main" id="{94079F75-EAF9-4F30-81C0-6E39A651058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0" name="TextBox 19">
              <a:extLst>
                <a:ext uri="{FF2B5EF4-FFF2-40B4-BE49-F238E27FC236}">
                  <a16:creationId xmlns:a16="http://schemas.microsoft.com/office/drawing/2014/main" id="{236E9187-633D-4177-4663-D5AD1532DB36}"/>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FF571451-B72D-B513-8710-7E7F8B797C16}"/>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AB40F103-7DCF-3644-03E2-85DC86321BB5}"/>
                </a:ext>
              </a:extLst>
            </p:cNvPr>
            <p:cNvSpPr txBox="1"/>
            <p:nvPr/>
          </p:nvSpPr>
          <p:spPr>
            <a:xfrm>
              <a:off x="3025221" y="3169820"/>
              <a:ext cx="292614" cy="604141"/>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36037628-57A9-9EFA-5D04-5715E2E4A2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CF8CFA8-075B-6CF4-E758-6CBD20971200}"/>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BE40405-36C0-8836-F07F-A6E3A0445D55}"/>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85CD19B4-6701-9BBD-61A7-B4AD89743289}"/>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7" name="TextBox 26">
              <a:extLst>
                <a:ext uri="{FF2B5EF4-FFF2-40B4-BE49-F238E27FC236}">
                  <a16:creationId xmlns:a16="http://schemas.microsoft.com/office/drawing/2014/main" id="{FC04E902-E07D-7570-F123-9768AAF902C8}"/>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182BA0CF-61BA-0ECE-0C1C-BD0DF9CE0CB4}"/>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21824913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532"/>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70802A4-28CF-4CD0-BDAF-092CC7C15CDC}"/>
              </a:ext>
            </a:extLst>
          </p:cNvPr>
          <p:cNvGraphicFramePr>
            <a:graphicFrameLocks noChangeAspect="1"/>
          </p:cNvGraphicFramePr>
          <p:nvPr>
            <p:custDataLst>
              <p:tags r:id="rId1"/>
            </p:custDataLst>
            <p:extLst>
              <p:ext uri="{D42A27DB-BD31-4B8C-83A1-F6EECF244321}">
                <p14:modId xmlns:p14="http://schemas.microsoft.com/office/powerpoint/2010/main" val="460535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B70802A4-28CF-4CD0-BDAF-092CC7C15CD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33" name="Google Shape;533;p8"/>
          <p:cNvSpPr txBox="1">
            <a:spLocks noGrp="1"/>
          </p:cNvSpPr>
          <p:nvPr>
            <p:ph type="ftr" idx="4294967295"/>
          </p:nvPr>
        </p:nvSpPr>
        <p:spPr>
          <a:xfrm>
            <a:off x="658813" y="6619875"/>
            <a:ext cx="9753023" cy="163512"/>
          </a:xfrm>
          <a:prstGeom prst="rect">
            <a:avLst/>
          </a:prstGeom>
          <a:noFill/>
          <a:ln>
            <a:noFill/>
          </a:ln>
        </p:spPr>
        <p:txBody>
          <a:bodyPr spcFirstLastPara="1" wrap="square" lIns="91425" tIns="45700" rIns="91425" bIns="45700" anchor="ctr" anchorCtr="0">
            <a:noAutofit/>
          </a:bodyPr>
          <a:lstStyle/>
          <a:p>
            <a:pPr marL="180000" marR="0" lvl="0" indent="-129200" algn="l">
              <a:lnSpc>
                <a:spcPct val="90000"/>
              </a:lnSpc>
              <a:spcBef>
                <a:spcPts val="0"/>
              </a:spcBef>
              <a:spcAft>
                <a:spcPts val="0"/>
              </a:spcAft>
              <a:buClr>
                <a:schemeClr val="dk2"/>
              </a:buClr>
              <a:buSzPts val="800"/>
              <a:buFont typeface="Noto Sans Symbols"/>
              <a:buNone/>
            </a:pPr>
            <a:endParaRPr lang="nl-NL" sz="800" b="0" i="0" u="none" strike="noStrike" cap="none" dirty="0">
              <a:solidFill>
                <a:srgbClr val="000000"/>
              </a:solidFill>
              <a:ea typeface="Corbel"/>
              <a:cs typeface="Corbel"/>
              <a:sym typeface="Corbel" panose="020B0503020204020204" pitchFamily="34" charset="0"/>
            </a:endParaRPr>
          </a:p>
        </p:txBody>
      </p:sp>
      <p:sp>
        <p:nvSpPr>
          <p:cNvPr id="534" name="Google Shape;534;p8"/>
          <p:cNvSpPr txBox="1">
            <a:spLocks noGrp="1"/>
          </p:cNvSpPr>
          <p:nvPr>
            <p:ph type="sldNum" idx="12"/>
          </p:nvPr>
        </p:nvSpPr>
        <p:spPr>
          <a:xfrm>
            <a:off x="10510048" y="6578762"/>
            <a:ext cx="1023140" cy="168275"/>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0</a:t>
            </a:fld>
            <a:endParaRPr lang="nl-NL" dirty="0">
              <a:sym typeface="Corbel" panose="020B0503020204020204" pitchFamily="34" charset="0"/>
            </a:endParaRPr>
          </a:p>
        </p:txBody>
      </p:sp>
      <p:sp>
        <p:nvSpPr>
          <p:cNvPr id="535" name="Google Shape;535;p8"/>
          <p:cNvSpPr txBox="1">
            <a:spLocks noGrp="1"/>
          </p:cNvSpPr>
          <p:nvPr>
            <p:ph type="body" idx="1"/>
          </p:nvPr>
        </p:nvSpPr>
        <p:spPr>
          <a:xfrm>
            <a:off x="658814" y="2019300"/>
            <a:ext cx="10874374" cy="4953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4000"/>
              <a:buNone/>
            </a:pPr>
            <a:r>
              <a:rPr lang="nl-NL">
                <a:sym typeface="Corbel" panose="020B0503020204020204" pitchFamily="34" charset="0"/>
              </a:rPr>
              <a:t>Templates</a:t>
            </a:r>
            <a:endParaRPr lang="nl-NL" dirty="0">
              <a:sym typeface="Corbel" panose="020B0503020204020204" pitchFamily="34" charset="0"/>
            </a:endParaRPr>
          </a:p>
        </p:txBody>
      </p:sp>
      <p:sp>
        <p:nvSpPr>
          <p:cNvPr id="536" name="Google Shape;536;p8"/>
          <p:cNvSpPr txBox="1">
            <a:spLocks noGrp="1"/>
          </p:cNvSpPr>
          <p:nvPr>
            <p:ph type="body" idx="2"/>
          </p:nvPr>
        </p:nvSpPr>
        <p:spPr>
          <a:xfrm>
            <a:off x="658813" y="2514600"/>
            <a:ext cx="10874374" cy="9144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5400"/>
              <a:buNone/>
            </a:pPr>
            <a:r>
              <a:rPr lang="nl-NL" dirty="0">
                <a:sym typeface="Corbel" panose="020B0503020204020204" pitchFamily="34" charset="0"/>
              </a:rPr>
              <a:t>4. Recruitment &amp; overig</a:t>
            </a:r>
          </a:p>
        </p:txBody>
      </p:sp>
    </p:spTree>
    <p:extLst>
      <p:ext uri="{BB962C8B-B14F-4D97-AF65-F5344CB8AC3E}">
        <p14:creationId xmlns:p14="http://schemas.microsoft.com/office/powerpoint/2010/main" val="30522258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1</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pic>
        <p:nvPicPr>
          <p:cNvPr id="10" name="Picture 9">
            <a:extLst>
              <a:ext uri="{FF2B5EF4-FFF2-40B4-BE49-F238E27FC236}">
                <a16:creationId xmlns:a16="http://schemas.microsoft.com/office/drawing/2014/main" id="{5AC6E922-DEED-44AD-8A52-A926BD683490}"/>
              </a:ext>
            </a:extLst>
          </p:cNvPr>
          <p:cNvPicPr>
            <a:picLocks noChangeAspect="1"/>
          </p:cNvPicPr>
          <p:nvPr/>
        </p:nvPicPr>
        <p:blipFill>
          <a:blip r:embed="rId7" cstate="hqprint">
            <a:extLst>
              <a:ext uri="{28A0092B-C50C-407E-A947-70E740481C1C}">
                <a14:useLocalDpi xmlns:a14="http://schemas.microsoft.com/office/drawing/2010/main"/>
              </a:ext>
            </a:extLst>
          </a:blip>
          <a:srcRect/>
          <a:stretch/>
        </p:blipFill>
        <p:spPr>
          <a:xfrm flipH="1">
            <a:off x="856878" y="1691582"/>
            <a:ext cx="6881434" cy="4596648"/>
          </a:xfrm>
          <a:prstGeom prst="rect">
            <a:avLst/>
          </a:prstGeom>
        </p:spPr>
      </p:pic>
      <p:sp>
        <p:nvSpPr>
          <p:cNvPr id="18" name="Google Shape;542;p9">
            <a:extLst>
              <a:ext uri="{FF2B5EF4-FFF2-40B4-BE49-F238E27FC236}">
                <a16:creationId xmlns:a16="http://schemas.microsoft.com/office/drawing/2014/main" id="{F74ADEAF-93E3-474A-B70C-80B33C1E93F7}"/>
              </a:ext>
            </a:extLst>
          </p:cNvPr>
          <p:cNvSpPr/>
          <p:nvPr/>
        </p:nvSpPr>
        <p:spPr>
          <a:xfrm flipH="1">
            <a:off x="2286165" y="1662508"/>
            <a:ext cx="7619669" cy="4654796"/>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rgbClr val="FFBD42">
                  <a:alpha val="0"/>
                </a:srgbClr>
              </a:gs>
              <a:gs pos="74840">
                <a:srgbClr val="BF211E"/>
              </a:gs>
              <a:gs pos="63000">
                <a:srgbClr val="BF211E">
                  <a:alpha val="98000"/>
                </a:srgbClr>
              </a:gs>
              <a:gs pos="53000">
                <a:srgbClr val="EC6224">
                  <a:alpha val="60000"/>
                </a:srgbClr>
              </a:gs>
              <a:gs pos="100000">
                <a:srgbClr val="BF211E"/>
              </a:gs>
            </a:gsLst>
            <a:lin ang="10800000" scaled="1"/>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28" name="Rectangle 27">
            <a:extLst>
              <a:ext uri="{FF2B5EF4-FFF2-40B4-BE49-F238E27FC236}">
                <a16:creationId xmlns:a16="http://schemas.microsoft.com/office/drawing/2014/main" id="{B856DF29-5CA7-4318-9157-072B6430AC7D}"/>
              </a:ext>
            </a:extLst>
          </p:cNvPr>
          <p:cNvSpPr/>
          <p:nvPr/>
        </p:nvSpPr>
        <p:spPr>
          <a:xfrm>
            <a:off x="7325833" y="2964643"/>
            <a:ext cx="2248484" cy="900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a:spcBef>
                <a:spcPts val="0"/>
              </a:spcBef>
              <a:buClr>
                <a:srgbClr val="FF0000"/>
              </a:buClr>
              <a:buNone/>
            </a:pPr>
            <a:r>
              <a:rPr lang="nl-NL" sz="1600" dirty="0">
                <a:solidFill>
                  <a:srgbClr val="FFFFFF"/>
                </a:solidFill>
              </a:rPr>
              <a:t>Ben je </a:t>
            </a:r>
            <a:r>
              <a:rPr lang="nl-NL" sz="1600" b="1" dirty="0">
                <a:solidFill>
                  <a:srgbClr val="FFFFFF"/>
                </a:solidFill>
              </a:rPr>
              <a:t>maatschappelijk betrokken </a:t>
            </a:r>
            <a:r>
              <a:rPr lang="nl-NL" sz="1600" dirty="0">
                <a:solidFill>
                  <a:srgbClr val="FFFFFF"/>
                </a:solidFill>
              </a:rPr>
              <a:t>en </a:t>
            </a:r>
            <a:r>
              <a:rPr lang="nl-NL" sz="1600" b="1" dirty="0">
                <a:solidFill>
                  <a:srgbClr val="FFFFFF"/>
                </a:solidFill>
              </a:rPr>
              <a:t>analytisch?</a:t>
            </a:r>
          </a:p>
        </p:txBody>
      </p:sp>
      <p:sp>
        <p:nvSpPr>
          <p:cNvPr id="29" name="Rectangle 28">
            <a:extLst>
              <a:ext uri="{FF2B5EF4-FFF2-40B4-BE49-F238E27FC236}">
                <a16:creationId xmlns:a16="http://schemas.microsoft.com/office/drawing/2014/main" id="{34962EB8-ADDD-4956-9DCE-90F3AEABCA33}"/>
              </a:ext>
            </a:extLst>
          </p:cNvPr>
          <p:cNvSpPr/>
          <p:nvPr/>
        </p:nvSpPr>
        <p:spPr>
          <a:xfrm>
            <a:off x="7325833" y="4112662"/>
            <a:ext cx="2248484" cy="900000"/>
          </a:xfrm>
          <a:prstGeom prst="rect">
            <a:avLst/>
          </a:prstGeom>
          <a:noFill/>
          <a:ln w="28575">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defTabSz="685800" fontAlgn="auto">
              <a:lnSpc>
                <a:spcPct val="90000"/>
              </a:lnSpc>
              <a:spcBef>
                <a:spcPts val="0"/>
              </a:spcBef>
              <a:spcAft>
                <a:spcPts val="0"/>
              </a:spcAft>
              <a:buClr>
                <a:srgbClr val="FF0000"/>
              </a:buClr>
              <a:buNone/>
            </a:pPr>
            <a:r>
              <a:rPr lang="nl-NL" sz="1600" b="1" dirty="0">
                <a:solidFill>
                  <a:srgbClr val="FFFFFF"/>
                </a:solidFill>
                <a:latin typeface="Corbel" panose="020B0503020204020204" pitchFamily="34" charset="0"/>
                <a:cs typeface="+mn-cs"/>
              </a:rPr>
              <a:t>Solliciteer </a:t>
            </a:r>
            <a:r>
              <a:rPr lang="nl-NL" sz="1600" dirty="0">
                <a:solidFill>
                  <a:srgbClr val="FFFFFF"/>
                </a:solidFill>
                <a:latin typeface="Corbel" panose="020B0503020204020204" pitchFamily="34" charset="0"/>
                <a:cs typeface="+mn-cs"/>
              </a:rPr>
              <a:t>dan uiterlijk </a:t>
            </a:r>
            <a:r>
              <a:rPr lang="nl-NL" sz="1600" b="1" dirty="0">
                <a:solidFill>
                  <a:srgbClr val="FFFFFF"/>
                </a:solidFill>
                <a:latin typeface="Corbel" panose="020B0503020204020204" pitchFamily="34" charset="0"/>
                <a:cs typeface="+mn-cs"/>
              </a:rPr>
              <a:t>20 februari </a:t>
            </a:r>
            <a:r>
              <a:rPr lang="nl-NL" sz="1600" dirty="0">
                <a:solidFill>
                  <a:srgbClr val="FFFFFF"/>
                </a:solidFill>
                <a:latin typeface="Corbel" panose="020B0503020204020204" pitchFamily="34" charset="0"/>
                <a:cs typeface="+mn-cs"/>
              </a:rPr>
              <a:t>bij It’s Public</a:t>
            </a:r>
            <a:endParaRPr lang="nl-NL" sz="1200" dirty="0">
              <a:solidFill>
                <a:srgbClr val="FFFFFF"/>
              </a:solidFill>
              <a:latin typeface="Corbel" panose="020B0503020204020204" pitchFamily="34" charset="0"/>
              <a:cs typeface="+mn-cs"/>
            </a:endParaRPr>
          </a:p>
        </p:txBody>
      </p:sp>
      <p:sp>
        <p:nvSpPr>
          <p:cNvPr id="34" name="TextBox 33">
            <a:extLst>
              <a:ext uri="{FF2B5EF4-FFF2-40B4-BE49-F238E27FC236}">
                <a16:creationId xmlns:a16="http://schemas.microsoft.com/office/drawing/2014/main" id="{7A8DCAC3-B94F-4B87-B2D7-99F79D1EB531}"/>
              </a:ext>
            </a:extLst>
          </p:cNvPr>
          <p:cNvSpPr txBox="1"/>
          <p:nvPr/>
        </p:nvSpPr>
        <p:spPr>
          <a:xfrm>
            <a:off x="6823485" y="2125812"/>
            <a:ext cx="2750834" cy="888660"/>
          </a:xfrm>
          <a:prstGeom prst="rect">
            <a:avLst/>
          </a:prstGeom>
        </p:spPr>
        <p:txBody>
          <a:bodyPr vert="horz" wrap="square" lIns="91440" tIns="45720" rIns="91440" bIns="45720" rtlCol="0" anchor="ctr">
            <a:noAutofit/>
          </a:bodyPr>
          <a:lstStyle/>
          <a:p>
            <a:pPr marL="0" indent="0" algn="ctr">
              <a:lnSpc>
                <a:spcPct val="100000"/>
              </a:lnSpc>
              <a:buNone/>
            </a:pPr>
            <a:r>
              <a:rPr lang="nl-NL" sz="2000" b="1" dirty="0">
                <a:solidFill>
                  <a:srgbClr val="FFFFFF"/>
                </a:solidFill>
                <a:latin typeface="+mj-lt"/>
                <a:ea typeface="Cambria" panose="02040503050406030204" pitchFamily="18" charset="0"/>
                <a:cs typeface="Aharoni" panose="02010803020104030203" pitchFamily="2" charset="-79"/>
                <a:sym typeface="Corbel" panose="020B0503020204020204" pitchFamily="34" charset="0"/>
              </a:rPr>
              <a:t>Kom bij It’s Public werken!</a:t>
            </a:r>
            <a:endParaRPr lang="nl-NL" sz="3200" b="1" dirty="0">
              <a:solidFill>
                <a:srgbClr val="FFFFFF"/>
              </a:solidFill>
              <a:latin typeface="+mj-lt"/>
              <a:ea typeface="Cambria" panose="02040503050406030204" pitchFamily="18" charset="0"/>
              <a:cs typeface="Aharoni" panose="02010803020104030203" pitchFamily="2" charset="-79"/>
              <a:sym typeface="Corbel" panose="020B0503020204020204" pitchFamily="34" charset="0"/>
            </a:endParaRPr>
          </a:p>
        </p:txBody>
      </p:sp>
      <p:sp>
        <p:nvSpPr>
          <p:cNvPr id="544" name="Google Shape;544;p9"/>
          <p:cNvSpPr/>
          <p:nvPr/>
        </p:nvSpPr>
        <p:spPr>
          <a:xfrm>
            <a:off x="-1419486" y="-1776757"/>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sp>
        <p:nvSpPr>
          <p:cNvPr id="21" name="Rectangle 20">
            <a:extLst>
              <a:ext uri="{FF2B5EF4-FFF2-40B4-BE49-F238E27FC236}">
                <a16:creationId xmlns:a16="http://schemas.microsoft.com/office/drawing/2014/main" id="{863D8FAB-D3FC-4612-AB93-03CC50B37C2A}"/>
              </a:ext>
            </a:extLst>
          </p:cNvPr>
          <p:cNvSpPr/>
          <p:nvPr/>
        </p:nvSpPr>
        <p:spPr>
          <a:xfrm>
            <a:off x="7325833" y="5260681"/>
            <a:ext cx="2248484" cy="900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a:spcBef>
                <a:spcPts val="0"/>
              </a:spcBef>
              <a:buClr>
                <a:srgbClr val="FF0000"/>
              </a:buClr>
              <a:buNone/>
            </a:pPr>
            <a:r>
              <a:rPr lang="nl-NL" sz="1600" b="1" dirty="0">
                <a:solidFill>
                  <a:srgbClr val="FFFFFF"/>
                </a:solidFill>
              </a:rPr>
              <a:t>Vragen? </a:t>
            </a:r>
            <a:r>
              <a:rPr lang="nl-NL" sz="1600" dirty="0">
                <a:solidFill>
                  <a:srgbClr val="FFFFFF"/>
                </a:solidFill>
              </a:rPr>
              <a:t>Neem contact met ons op!</a:t>
            </a:r>
            <a:endParaRPr lang="nl-NL" sz="1200" dirty="0">
              <a:solidFill>
                <a:srgbClr val="FFFFFF"/>
              </a:solidFill>
            </a:endParaRPr>
          </a:p>
        </p:txBody>
      </p:sp>
      <p:grpSp>
        <p:nvGrpSpPr>
          <p:cNvPr id="22" name="Group 21">
            <a:extLst>
              <a:ext uri="{FF2B5EF4-FFF2-40B4-BE49-F238E27FC236}">
                <a16:creationId xmlns:a16="http://schemas.microsoft.com/office/drawing/2014/main" id="{337CB10B-0ABC-4905-8B01-A0C15B3C976B}"/>
              </a:ext>
            </a:extLst>
          </p:cNvPr>
          <p:cNvGrpSpPr/>
          <p:nvPr/>
        </p:nvGrpSpPr>
        <p:grpSpPr>
          <a:xfrm>
            <a:off x="6823485" y="3219856"/>
            <a:ext cx="323306" cy="389574"/>
            <a:chOff x="1486076" y="3453096"/>
            <a:chExt cx="442869" cy="533645"/>
          </a:xfrm>
          <a:solidFill>
            <a:srgbClr val="DBDBDB"/>
          </a:solidFill>
        </p:grpSpPr>
        <p:sp>
          <p:nvSpPr>
            <p:cNvPr id="23" name="Heart 22">
              <a:extLst>
                <a:ext uri="{FF2B5EF4-FFF2-40B4-BE49-F238E27FC236}">
                  <a16:creationId xmlns:a16="http://schemas.microsoft.com/office/drawing/2014/main" id="{114DF08E-249E-45C6-973F-C788F1DC5577}"/>
                </a:ext>
              </a:extLst>
            </p:cNvPr>
            <p:cNvSpPr/>
            <p:nvPr/>
          </p:nvSpPr>
          <p:spPr>
            <a:xfrm>
              <a:off x="1591762" y="3453096"/>
              <a:ext cx="228552" cy="201850"/>
            </a:xfrm>
            <a:prstGeom prst="heart">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grpSp>
          <p:nvGrpSpPr>
            <p:cNvPr id="24" name="Group 23">
              <a:extLst>
                <a:ext uri="{FF2B5EF4-FFF2-40B4-BE49-F238E27FC236}">
                  <a16:creationId xmlns:a16="http://schemas.microsoft.com/office/drawing/2014/main" id="{FDA566D0-CCC0-4569-87E8-4C9A7087BA73}"/>
                </a:ext>
              </a:extLst>
            </p:cNvPr>
            <p:cNvGrpSpPr/>
            <p:nvPr/>
          </p:nvGrpSpPr>
          <p:grpSpPr>
            <a:xfrm>
              <a:off x="1486076" y="3639296"/>
              <a:ext cx="442869" cy="347445"/>
              <a:chOff x="1463227" y="3623131"/>
              <a:chExt cx="3131553" cy="2456798"/>
            </a:xfrm>
            <a:grpFill/>
          </p:grpSpPr>
          <p:sp>
            <p:nvSpPr>
              <p:cNvPr id="25" name="Rectangle: Rounded Corners 24">
                <a:extLst>
                  <a:ext uri="{FF2B5EF4-FFF2-40B4-BE49-F238E27FC236}">
                    <a16:creationId xmlns:a16="http://schemas.microsoft.com/office/drawing/2014/main" id="{67443FE8-3AAD-4AB4-874B-F04C06695987}"/>
                  </a:ext>
                </a:extLst>
              </p:cNvPr>
              <p:cNvSpPr/>
              <p:nvPr/>
            </p:nvSpPr>
            <p:spPr>
              <a:xfrm rot="2700000">
                <a:off x="926961" y="4159397"/>
                <a:ext cx="1476233" cy="403702"/>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26" name="Rectangle: Rounded Corners 25">
                <a:extLst>
                  <a:ext uri="{FF2B5EF4-FFF2-40B4-BE49-F238E27FC236}">
                    <a16:creationId xmlns:a16="http://schemas.microsoft.com/office/drawing/2014/main" id="{3ECA511B-CADE-449A-BF39-5E9F5EBA0346}"/>
                  </a:ext>
                </a:extLst>
              </p:cNvPr>
              <p:cNvSpPr/>
              <p:nvPr/>
            </p:nvSpPr>
            <p:spPr>
              <a:xfrm>
                <a:off x="2210540" y="3993469"/>
                <a:ext cx="1476233" cy="403702"/>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9D9ED868-FDF8-4ECC-840A-1F4BA486FCEA}"/>
                  </a:ext>
                </a:extLst>
              </p:cNvPr>
              <p:cNvSpPr/>
              <p:nvPr/>
            </p:nvSpPr>
            <p:spPr>
              <a:xfrm>
                <a:off x="1894110" y="4513649"/>
                <a:ext cx="1992188" cy="544799"/>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32" name="Rectangle: Rounded Corners 31">
                <a:extLst>
                  <a:ext uri="{FF2B5EF4-FFF2-40B4-BE49-F238E27FC236}">
                    <a16:creationId xmlns:a16="http://schemas.microsoft.com/office/drawing/2014/main" id="{1525BE33-47FF-46E2-B88C-8C27AB5060DE}"/>
                  </a:ext>
                </a:extLst>
              </p:cNvPr>
              <p:cNvSpPr/>
              <p:nvPr/>
            </p:nvSpPr>
            <p:spPr>
              <a:xfrm rot="2700000">
                <a:off x="3224726" y="4381204"/>
                <a:ext cx="1476233" cy="403702"/>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33" name="Rectangle 4">
                <a:extLst>
                  <a:ext uri="{FF2B5EF4-FFF2-40B4-BE49-F238E27FC236}">
                    <a16:creationId xmlns:a16="http://schemas.microsoft.com/office/drawing/2014/main" id="{99CB296D-CB80-4CFA-A414-6567A7BBA84F}"/>
                  </a:ext>
                </a:extLst>
              </p:cNvPr>
              <p:cNvSpPr/>
              <p:nvPr/>
            </p:nvSpPr>
            <p:spPr>
              <a:xfrm rot="2700000">
                <a:off x="3067232" y="4552380"/>
                <a:ext cx="1761384" cy="1293713"/>
              </a:xfrm>
              <a:custGeom>
                <a:avLst/>
                <a:gdLst>
                  <a:gd name="connsiteX0" fmla="*/ 0 w 1227058"/>
                  <a:gd name="connsiteY0" fmla="*/ 0 h 467529"/>
                  <a:gd name="connsiteX1" fmla="*/ 1227058 w 1227058"/>
                  <a:gd name="connsiteY1" fmla="*/ 0 h 467529"/>
                  <a:gd name="connsiteX2" fmla="*/ 1227058 w 1227058"/>
                  <a:gd name="connsiteY2" fmla="*/ 467529 h 467529"/>
                  <a:gd name="connsiteX3" fmla="*/ 0 w 1227058"/>
                  <a:gd name="connsiteY3" fmla="*/ 467529 h 467529"/>
                  <a:gd name="connsiteX4" fmla="*/ 0 w 1227058"/>
                  <a:gd name="connsiteY4" fmla="*/ 0 h 467529"/>
                  <a:gd name="connsiteX0" fmla="*/ 26940 w 1253998"/>
                  <a:gd name="connsiteY0" fmla="*/ 0 h 1293713"/>
                  <a:gd name="connsiteX1" fmla="*/ 1253998 w 1253998"/>
                  <a:gd name="connsiteY1" fmla="*/ 0 h 1293713"/>
                  <a:gd name="connsiteX2" fmla="*/ 1253998 w 1253998"/>
                  <a:gd name="connsiteY2" fmla="*/ 467529 h 1293713"/>
                  <a:gd name="connsiteX3" fmla="*/ 0 w 1253998"/>
                  <a:gd name="connsiteY3" fmla="*/ 1293713 h 1293713"/>
                  <a:gd name="connsiteX4" fmla="*/ 26940 w 1253998"/>
                  <a:gd name="connsiteY4" fmla="*/ 0 h 1293713"/>
                  <a:gd name="connsiteX0" fmla="*/ 26940 w 1253998"/>
                  <a:gd name="connsiteY0" fmla="*/ 0 h 1293713"/>
                  <a:gd name="connsiteX1" fmla="*/ 1253998 w 1253998"/>
                  <a:gd name="connsiteY1" fmla="*/ 0 h 1293713"/>
                  <a:gd name="connsiteX2" fmla="*/ 1253998 w 1253998"/>
                  <a:gd name="connsiteY2" fmla="*/ 467529 h 1293713"/>
                  <a:gd name="connsiteX3" fmla="*/ 0 w 1253998"/>
                  <a:gd name="connsiteY3" fmla="*/ 1293713 h 1293713"/>
                  <a:gd name="connsiteX4" fmla="*/ 26940 w 1253998"/>
                  <a:gd name="connsiteY4" fmla="*/ 0 h 1293713"/>
                  <a:gd name="connsiteX0" fmla="*/ 26940 w 1792814"/>
                  <a:gd name="connsiteY0" fmla="*/ 0 h 1293713"/>
                  <a:gd name="connsiteX1" fmla="*/ 1253998 w 1792814"/>
                  <a:gd name="connsiteY1" fmla="*/ 0 h 1293713"/>
                  <a:gd name="connsiteX2" fmla="*/ 1792814 w 1792814"/>
                  <a:gd name="connsiteY2" fmla="*/ 512429 h 1293713"/>
                  <a:gd name="connsiteX3" fmla="*/ 0 w 1792814"/>
                  <a:gd name="connsiteY3" fmla="*/ 1293713 h 1293713"/>
                  <a:gd name="connsiteX4" fmla="*/ 26940 w 1792814"/>
                  <a:gd name="connsiteY4" fmla="*/ 0 h 1293713"/>
                  <a:gd name="connsiteX0" fmla="*/ 26940 w 1792814"/>
                  <a:gd name="connsiteY0" fmla="*/ 0 h 1293713"/>
                  <a:gd name="connsiteX1" fmla="*/ 1253998 w 1792814"/>
                  <a:gd name="connsiteY1" fmla="*/ 0 h 1293713"/>
                  <a:gd name="connsiteX2" fmla="*/ 1792814 w 1792814"/>
                  <a:gd name="connsiteY2" fmla="*/ 512429 h 1293713"/>
                  <a:gd name="connsiteX3" fmla="*/ 0 w 1792814"/>
                  <a:gd name="connsiteY3" fmla="*/ 1293713 h 1293713"/>
                  <a:gd name="connsiteX4" fmla="*/ 26940 w 1792814"/>
                  <a:gd name="connsiteY4" fmla="*/ 0 h 1293713"/>
                  <a:gd name="connsiteX0" fmla="*/ 26940 w 1761384"/>
                  <a:gd name="connsiteY0" fmla="*/ 0 h 1293713"/>
                  <a:gd name="connsiteX1" fmla="*/ 1253998 w 1761384"/>
                  <a:gd name="connsiteY1" fmla="*/ 0 h 1293713"/>
                  <a:gd name="connsiteX2" fmla="*/ 1761384 w 1761384"/>
                  <a:gd name="connsiteY2" fmla="*/ 525900 h 1293713"/>
                  <a:gd name="connsiteX3" fmla="*/ 0 w 1761384"/>
                  <a:gd name="connsiteY3" fmla="*/ 1293713 h 1293713"/>
                  <a:gd name="connsiteX4" fmla="*/ 26940 w 1761384"/>
                  <a:gd name="connsiteY4" fmla="*/ 0 h 1293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1384" h="1293713">
                    <a:moveTo>
                      <a:pt x="26940" y="0"/>
                    </a:moveTo>
                    <a:lnTo>
                      <a:pt x="1253998" y="0"/>
                    </a:lnTo>
                    <a:lnTo>
                      <a:pt x="1761384" y="525900"/>
                    </a:lnTo>
                    <a:cubicBezTo>
                      <a:pt x="1002135" y="657611"/>
                      <a:pt x="884973" y="398681"/>
                      <a:pt x="0" y="1293713"/>
                    </a:cubicBezTo>
                    <a:lnTo>
                      <a:pt x="26940" y="0"/>
                    </a:lnTo>
                    <a:close/>
                  </a:path>
                </a:pathLst>
              </a:cu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grpSp>
      </p:grpSp>
      <p:pic>
        <p:nvPicPr>
          <p:cNvPr id="8" name="Graphic 7" descr="Pen with solid fill">
            <a:extLst>
              <a:ext uri="{FF2B5EF4-FFF2-40B4-BE49-F238E27FC236}">
                <a16:creationId xmlns:a16="http://schemas.microsoft.com/office/drawing/2014/main" id="{87518193-A533-4B94-9D66-DDBCE699A1D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23485" y="4364662"/>
            <a:ext cx="396000" cy="396000"/>
          </a:xfrm>
          <a:prstGeom prst="rect">
            <a:avLst/>
          </a:prstGeom>
        </p:spPr>
      </p:pic>
      <p:pic>
        <p:nvPicPr>
          <p:cNvPr id="11" name="Graphic 10" descr="Questions with solid fill">
            <a:extLst>
              <a:ext uri="{FF2B5EF4-FFF2-40B4-BE49-F238E27FC236}">
                <a16:creationId xmlns:a16="http://schemas.microsoft.com/office/drawing/2014/main" id="{0283FE90-BDA6-4221-BECC-BF0D91FA006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23485" y="5512681"/>
            <a:ext cx="396000" cy="396000"/>
          </a:xfrm>
          <a:prstGeom prst="rect">
            <a:avLst/>
          </a:prstGeom>
        </p:spPr>
      </p:pic>
      <p:pic>
        <p:nvPicPr>
          <p:cNvPr id="47" name="Picture 46">
            <a:extLst>
              <a:ext uri="{FF2B5EF4-FFF2-40B4-BE49-F238E27FC236}">
                <a16:creationId xmlns:a16="http://schemas.microsoft.com/office/drawing/2014/main" id="{9901B273-6BD9-4606-B37D-730F13091ED3}"/>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52356" y="1797358"/>
            <a:ext cx="287720" cy="287720"/>
          </a:xfrm>
          <a:prstGeom prst="rect">
            <a:avLst/>
          </a:prstGeom>
        </p:spPr>
      </p:pic>
    </p:spTree>
    <p:extLst>
      <p:ext uri="{BB962C8B-B14F-4D97-AF65-F5344CB8AC3E}">
        <p14:creationId xmlns:p14="http://schemas.microsoft.com/office/powerpoint/2010/main" val="34151436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2" name="Google Shape;542;p9"/>
          <p:cNvSpPr/>
          <p:nvPr/>
        </p:nvSpPr>
        <p:spPr>
          <a:xfrm>
            <a:off x="2349230" y="1690863"/>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25200">
                <a:schemeClr val="tx2"/>
              </a:gs>
              <a:gs pos="0">
                <a:schemeClr val="tx2"/>
              </a:gs>
              <a:gs pos="100000">
                <a:schemeClr val="accent5"/>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pic>
        <p:nvPicPr>
          <p:cNvPr id="32" name="Picture 2">
            <a:extLst>
              <a:ext uri="{FF2B5EF4-FFF2-40B4-BE49-F238E27FC236}">
                <a16:creationId xmlns:a16="http://schemas.microsoft.com/office/drawing/2014/main" id="{3D92B608-7663-42A5-A128-9515A1AB1C7D}"/>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p:blipFill>
        <p:spPr bwMode="auto">
          <a:xfrm>
            <a:off x="1105958" y="1200251"/>
            <a:ext cx="5500486" cy="5500486"/>
          </a:xfrm>
          <a:prstGeom prst="ellipse">
            <a:avLst/>
          </a:prstGeom>
          <a:solidFill>
            <a:srgbClr val="FFFFFF"/>
          </a:solidFill>
          <a:ln w="28575">
            <a:solidFill>
              <a:srgbClr val="FFFFFF"/>
            </a:solidFill>
          </a:ln>
        </p:spPr>
      </p:pic>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2</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7"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grpSp>
        <p:nvGrpSpPr>
          <p:cNvPr id="10" name="Group 9">
            <a:extLst>
              <a:ext uri="{FF2B5EF4-FFF2-40B4-BE49-F238E27FC236}">
                <a16:creationId xmlns:a16="http://schemas.microsoft.com/office/drawing/2014/main" id="{D9D0FF75-0368-4BFA-BFBD-F57104E00A0D}"/>
              </a:ext>
            </a:extLst>
          </p:cNvPr>
          <p:cNvGrpSpPr/>
          <p:nvPr/>
        </p:nvGrpSpPr>
        <p:grpSpPr>
          <a:xfrm>
            <a:off x="6861587" y="5322788"/>
            <a:ext cx="386027" cy="423275"/>
            <a:chOff x="5247960" y="2896849"/>
            <a:chExt cx="602667" cy="656839"/>
          </a:xfrm>
        </p:grpSpPr>
        <p:sp>
          <p:nvSpPr>
            <p:cNvPr id="11" name="Freeform 365">
              <a:extLst>
                <a:ext uri="{FF2B5EF4-FFF2-40B4-BE49-F238E27FC236}">
                  <a16:creationId xmlns:a16="http://schemas.microsoft.com/office/drawing/2014/main" id="{D9AB2534-D0FD-4019-B4FF-EA65911E4C34}"/>
                </a:ext>
              </a:extLst>
            </p:cNvPr>
            <p:cNvSpPr>
              <a:spLocks noChangeArrowheads="1"/>
            </p:cNvSpPr>
            <p:nvPr/>
          </p:nvSpPr>
          <p:spPr bwMode="auto">
            <a:xfrm>
              <a:off x="5247960" y="2896849"/>
              <a:ext cx="602667" cy="656839"/>
            </a:xfrm>
            <a:custGeom>
              <a:avLst/>
              <a:gdLst>
                <a:gd name="T0" fmla="*/ 2275 w 2746"/>
                <a:gd name="T1" fmla="*/ 2991 h 2992"/>
                <a:gd name="T2" fmla="*/ 2275 w 2746"/>
                <a:gd name="T3" fmla="*/ 2991 h 2992"/>
                <a:gd name="T4" fmla="*/ 952 w 2746"/>
                <a:gd name="T5" fmla="*/ 2991 h 2992"/>
                <a:gd name="T6" fmla="*/ 885 w 2746"/>
                <a:gd name="T7" fmla="*/ 2913 h 2992"/>
                <a:gd name="T8" fmla="*/ 863 w 2746"/>
                <a:gd name="T9" fmla="*/ 2655 h 2992"/>
                <a:gd name="T10" fmla="*/ 762 w 2746"/>
                <a:gd name="T11" fmla="*/ 2611 h 2992"/>
                <a:gd name="T12" fmla="*/ 302 w 2746"/>
                <a:gd name="T13" fmla="*/ 2297 h 2992"/>
                <a:gd name="T14" fmla="*/ 280 w 2746"/>
                <a:gd name="T15" fmla="*/ 1938 h 2992"/>
                <a:gd name="T16" fmla="*/ 89 w 2746"/>
                <a:gd name="T17" fmla="*/ 1647 h 2992"/>
                <a:gd name="T18" fmla="*/ 336 w 2746"/>
                <a:gd name="T19" fmla="*/ 1244 h 2992"/>
                <a:gd name="T20" fmla="*/ 1479 w 2746"/>
                <a:gd name="T21" fmla="*/ 23 h 2992"/>
                <a:gd name="T22" fmla="*/ 2656 w 2746"/>
                <a:gd name="T23" fmla="*/ 863 h 2992"/>
                <a:gd name="T24" fmla="*/ 2387 w 2746"/>
                <a:gd name="T25" fmla="*/ 1882 h 2992"/>
                <a:gd name="T26" fmla="*/ 2252 w 2746"/>
                <a:gd name="T27" fmla="*/ 2174 h 2992"/>
                <a:gd name="T28" fmla="*/ 2342 w 2746"/>
                <a:gd name="T29" fmla="*/ 2891 h 2992"/>
                <a:gd name="T30" fmla="*/ 2319 w 2746"/>
                <a:gd name="T31" fmla="*/ 2969 h 2992"/>
                <a:gd name="T32" fmla="*/ 2275 w 2746"/>
                <a:gd name="T33" fmla="*/ 2991 h 2992"/>
                <a:gd name="T34" fmla="*/ 1031 w 2746"/>
                <a:gd name="T35" fmla="*/ 2846 h 2992"/>
                <a:gd name="T36" fmla="*/ 1031 w 2746"/>
                <a:gd name="T37" fmla="*/ 2846 h 2992"/>
                <a:gd name="T38" fmla="*/ 2196 w 2746"/>
                <a:gd name="T39" fmla="*/ 2846 h 2992"/>
                <a:gd name="T40" fmla="*/ 2107 w 2746"/>
                <a:gd name="T41" fmla="*/ 2129 h 2992"/>
                <a:gd name="T42" fmla="*/ 2510 w 2746"/>
                <a:gd name="T43" fmla="*/ 885 h 2992"/>
                <a:gd name="T44" fmla="*/ 2107 w 2746"/>
                <a:gd name="T45" fmla="*/ 303 h 2992"/>
                <a:gd name="T46" fmla="*/ 1479 w 2746"/>
                <a:gd name="T47" fmla="*/ 135 h 2992"/>
                <a:gd name="T48" fmla="*/ 448 w 2746"/>
                <a:gd name="T49" fmla="*/ 1221 h 2992"/>
                <a:gd name="T50" fmla="*/ 426 w 2746"/>
                <a:gd name="T51" fmla="*/ 1333 h 2992"/>
                <a:gd name="T52" fmla="*/ 213 w 2746"/>
                <a:gd name="T53" fmla="*/ 1669 h 2992"/>
                <a:gd name="T54" fmla="*/ 336 w 2746"/>
                <a:gd name="T55" fmla="*/ 1815 h 2992"/>
                <a:gd name="T56" fmla="*/ 448 w 2746"/>
                <a:gd name="T57" fmla="*/ 2196 h 2992"/>
                <a:gd name="T58" fmla="*/ 448 w 2746"/>
                <a:gd name="T59" fmla="*/ 2196 h 2992"/>
                <a:gd name="T60" fmla="*/ 448 w 2746"/>
                <a:gd name="T61" fmla="*/ 2297 h 2992"/>
                <a:gd name="T62" fmla="*/ 739 w 2746"/>
                <a:gd name="T63" fmla="*/ 2465 h 2992"/>
                <a:gd name="T64" fmla="*/ 975 w 2746"/>
                <a:gd name="T65" fmla="*/ 2655 h 2992"/>
                <a:gd name="T66" fmla="*/ 1031 w 2746"/>
                <a:gd name="T67" fmla="*/ 2846 h 2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46" h="2992">
                  <a:moveTo>
                    <a:pt x="2275" y="2991"/>
                  </a:moveTo>
                  <a:lnTo>
                    <a:pt x="2275" y="2991"/>
                  </a:lnTo>
                  <a:cubicBezTo>
                    <a:pt x="952" y="2991"/>
                    <a:pt x="952" y="2991"/>
                    <a:pt x="952" y="2991"/>
                  </a:cubicBezTo>
                  <a:cubicBezTo>
                    <a:pt x="930" y="2991"/>
                    <a:pt x="908" y="2969"/>
                    <a:pt x="885" y="2913"/>
                  </a:cubicBezTo>
                  <a:cubicBezTo>
                    <a:pt x="885" y="2913"/>
                    <a:pt x="863" y="2767"/>
                    <a:pt x="863" y="2655"/>
                  </a:cubicBezTo>
                  <a:cubicBezTo>
                    <a:pt x="829" y="2611"/>
                    <a:pt x="807" y="2577"/>
                    <a:pt x="762" y="2611"/>
                  </a:cubicBezTo>
                  <a:cubicBezTo>
                    <a:pt x="594" y="2655"/>
                    <a:pt x="302" y="2577"/>
                    <a:pt x="302" y="2297"/>
                  </a:cubicBezTo>
                  <a:cubicBezTo>
                    <a:pt x="302" y="2274"/>
                    <a:pt x="302" y="1983"/>
                    <a:pt x="280" y="1938"/>
                  </a:cubicBezTo>
                  <a:cubicBezTo>
                    <a:pt x="190" y="1916"/>
                    <a:pt x="0" y="1860"/>
                    <a:pt x="89" y="1647"/>
                  </a:cubicBezTo>
                  <a:cubicBezTo>
                    <a:pt x="168" y="1457"/>
                    <a:pt x="258" y="1311"/>
                    <a:pt x="336" y="1244"/>
                  </a:cubicBezTo>
                  <a:cubicBezTo>
                    <a:pt x="190" y="303"/>
                    <a:pt x="975" y="23"/>
                    <a:pt x="1479" y="23"/>
                  </a:cubicBezTo>
                  <a:cubicBezTo>
                    <a:pt x="2084" y="0"/>
                    <a:pt x="2555" y="381"/>
                    <a:pt x="2656" y="863"/>
                  </a:cubicBezTo>
                  <a:cubicBezTo>
                    <a:pt x="2745" y="1389"/>
                    <a:pt x="2555" y="1669"/>
                    <a:pt x="2387" y="1882"/>
                  </a:cubicBezTo>
                  <a:cubicBezTo>
                    <a:pt x="2319" y="1983"/>
                    <a:pt x="2275" y="2084"/>
                    <a:pt x="2252" y="2174"/>
                  </a:cubicBezTo>
                  <a:cubicBezTo>
                    <a:pt x="2219" y="2274"/>
                    <a:pt x="2219" y="2442"/>
                    <a:pt x="2342" y="2891"/>
                  </a:cubicBezTo>
                  <a:cubicBezTo>
                    <a:pt x="2342" y="2913"/>
                    <a:pt x="2342" y="2935"/>
                    <a:pt x="2319" y="2969"/>
                  </a:cubicBezTo>
                  <a:cubicBezTo>
                    <a:pt x="2319" y="2969"/>
                    <a:pt x="2297" y="2991"/>
                    <a:pt x="2275" y="2991"/>
                  </a:cubicBezTo>
                  <a:close/>
                  <a:moveTo>
                    <a:pt x="1031" y="2846"/>
                  </a:moveTo>
                  <a:lnTo>
                    <a:pt x="1031" y="2846"/>
                  </a:lnTo>
                  <a:cubicBezTo>
                    <a:pt x="2196" y="2846"/>
                    <a:pt x="2196" y="2846"/>
                    <a:pt x="2196" y="2846"/>
                  </a:cubicBezTo>
                  <a:cubicBezTo>
                    <a:pt x="2084" y="2409"/>
                    <a:pt x="2107" y="2252"/>
                    <a:pt x="2107" y="2129"/>
                  </a:cubicBezTo>
                  <a:cubicBezTo>
                    <a:pt x="2151" y="1815"/>
                    <a:pt x="2678" y="1524"/>
                    <a:pt x="2510" y="885"/>
                  </a:cubicBezTo>
                  <a:cubicBezTo>
                    <a:pt x="2465" y="616"/>
                    <a:pt x="2319" y="426"/>
                    <a:pt x="2107" y="303"/>
                  </a:cubicBezTo>
                  <a:cubicBezTo>
                    <a:pt x="1882" y="191"/>
                    <a:pt x="1647" y="135"/>
                    <a:pt x="1479" y="135"/>
                  </a:cubicBezTo>
                  <a:cubicBezTo>
                    <a:pt x="863" y="168"/>
                    <a:pt x="358" y="572"/>
                    <a:pt x="448" y="1221"/>
                  </a:cubicBezTo>
                  <a:cubicBezTo>
                    <a:pt x="448" y="1266"/>
                    <a:pt x="448" y="1289"/>
                    <a:pt x="426" y="1333"/>
                  </a:cubicBezTo>
                  <a:cubicBezTo>
                    <a:pt x="403" y="1356"/>
                    <a:pt x="280" y="1524"/>
                    <a:pt x="213" y="1669"/>
                  </a:cubicBezTo>
                  <a:cubicBezTo>
                    <a:pt x="190" y="1770"/>
                    <a:pt x="280" y="1793"/>
                    <a:pt x="336" y="1815"/>
                  </a:cubicBezTo>
                  <a:cubicBezTo>
                    <a:pt x="448" y="1838"/>
                    <a:pt x="448" y="1938"/>
                    <a:pt x="448" y="2196"/>
                  </a:cubicBezTo>
                  <a:lnTo>
                    <a:pt x="448" y="2196"/>
                  </a:lnTo>
                  <a:cubicBezTo>
                    <a:pt x="448" y="2252"/>
                    <a:pt x="448" y="2274"/>
                    <a:pt x="448" y="2297"/>
                  </a:cubicBezTo>
                  <a:cubicBezTo>
                    <a:pt x="448" y="2465"/>
                    <a:pt x="616" y="2510"/>
                    <a:pt x="739" y="2465"/>
                  </a:cubicBezTo>
                  <a:cubicBezTo>
                    <a:pt x="908" y="2409"/>
                    <a:pt x="975" y="2577"/>
                    <a:pt x="975" y="2655"/>
                  </a:cubicBezTo>
                  <a:cubicBezTo>
                    <a:pt x="997" y="2700"/>
                    <a:pt x="997" y="2801"/>
                    <a:pt x="1031" y="2846"/>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kern="1200" dirty="0"/>
            </a:p>
          </p:txBody>
        </p:sp>
        <p:grpSp>
          <p:nvGrpSpPr>
            <p:cNvPr id="12" name="Group 11">
              <a:extLst>
                <a:ext uri="{FF2B5EF4-FFF2-40B4-BE49-F238E27FC236}">
                  <a16:creationId xmlns:a16="http://schemas.microsoft.com/office/drawing/2014/main" id="{593E642A-4555-40D3-8862-51A2A9DC489C}"/>
                </a:ext>
              </a:extLst>
            </p:cNvPr>
            <p:cNvGrpSpPr/>
            <p:nvPr/>
          </p:nvGrpSpPr>
          <p:grpSpPr>
            <a:xfrm>
              <a:off x="5475618" y="2981969"/>
              <a:ext cx="228191" cy="314416"/>
              <a:chOff x="1922463" y="2209800"/>
              <a:chExt cx="831850" cy="1146175"/>
            </a:xfrm>
          </p:grpSpPr>
          <p:sp>
            <p:nvSpPr>
              <p:cNvPr id="13" name="Freeform 400">
                <a:extLst>
                  <a:ext uri="{FF2B5EF4-FFF2-40B4-BE49-F238E27FC236}">
                    <a16:creationId xmlns:a16="http://schemas.microsoft.com/office/drawing/2014/main" id="{6311BCDC-D1B2-44FA-93BD-BC74C6638D33}"/>
                  </a:ext>
                </a:extLst>
              </p:cNvPr>
              <p:cNvSpPr>
                <a:spLocks noChangeArrowheads="1"/>
              </p:cNvSpPr>
              <p:nvPr/>
            </p:nvSpPr>
            <p:spPr bwMode="auto">
              <a:xfrm>
                <a:off x="2201863" y="2209800"/>
                <a:ext cx="552450" cy="552450"/>
              </a:xfrm>
              <a:custGeom>
                <a:avLst/>
                <a:gdLst>
                  <a:gd name="T0" fmla="*/ 1367 w 1536"/>
                  <a:gd name="T1" fmla="*/ 818 h 1536"/>
                  <a:gd name="T2" fmla="*/ 1367 w 1536"/>
                  <a:gd name="T3" fmla="*/ 818 h 1536"/>
                  <a:gd name="T4" fmla="*/ 1535 w 1536"/>
                  <a:gd name="T5" fmla="*/ 717 h 1536"/>
                  <a:gd name="T6" fmla="*/ 1479 w 1536"/>
                  <a:gd name="T7" fmla="*/ 526 h 1536"/>
                  <a:gd name="T8" fmla="*/ 1288 w 1536"/>
                  <a:gd name="T9" fmla="*/ 504 h 1536"/>
                  <a:gd name="T10" fmla="*/ 1221 w 1536"/>
                  <a:gd name="T11" fmla="*/ 381 h 1536"/>
                  <a:gd name="T12" fmla="*/ 1266 w 1536"/>
                  <a:gd name="T13" fmla="*/ 190 h 1536"/>
                  <a:gd name="T14" fmla="*/ 1098 w 1536"/>
                  <a:gd name="T15" fmla="*/ 67 h 1536"/>
                  <a:gd name="T16" fmla="*/ 952 w 1536"/>
                  <a:gd name="T17" fmla="*/ 190 h 1536"/>
                  <a:gd name="T18" fmla="*/ 806 w 1536"/>
                  <a:gd name="T19" fmla="*/ 168 h 1536"/>
                  <a:gd name="T20" fmla="*/ 717 w 1536"/>
                  <a:gd name="T21" fmla="*/ 0 h 1536"/>
                  <a:gd name="T22" fmla="*/ 504 w 1536"/>
                  <a:gd name="T23" fmla="*/ 45 h 1536"/>
                  <a:gd name="T24" fmla="*/ 481 w 1536"/>
                  <a:gd name="T25" fmla="*/ 235 h 1536"/>
                  <a:gd name="T26" fmla="*/ 358 w 1536"/>
                  <a:gd name="T27" fmla="*/ 314 h 1536"/>
                  <a:gd name="T28" fmla="*/ 190 w 1536"/>
                  <a:gd name="T29" fmla="*/ 269 h 1536"/>
                  <a:gd name="T30" fmla="*/ 67 w 1536"/>
                  <a:gd name="T31" fmla="*/ 437 h 1536"/>
                  <a:gd name="T32" fmla="*/ 190 w 1536"/>
                  <a:gd name="T33" fmla="*/ 594 h 1536"/>
                  <a:gd name="T34" fmla="*/ 168 w 1536"/>
                  <a:gd name="T35" fmla="*/ 739 h 1536"/>
                  <a:gd name="T36" fmla="*/ 0 w 1536"/>
                  <a:gd name="T37" fmla="*/ 818 h 1536"/>
                  <a:gd name="T38" fmla="*/ 44 w 1536"/>
                  <a:gd name="T39" fmla="*/ 1031 h 1536"/>
                  <a:gd name="T40" fmla="*/ 235 w 1536"/>
                  <a:gd name="T41" fmla="*/ 1053 h 1536"/>
                  <a:gd name="T42" fmla="*/ 313 w 1536"/>
                  <a:gd name="T43" fmla="*/ 1176 h 1536"/>
                  <a:gd name="T44" fmla="*/ 257 w 1536"/>
                  <a:gd name="T45" fmla="*/ 1344 h 1536"/>
                  <a:gd name="T46" fmla="*/ 425 w 1536"/>
                  <a:gd name="T47" fmla="*/ 1456 h 1536"/>
                  <a:gd name="T48" fmla="*/ 571 w 1536"/>
                  <a:gd name="T49" fmla="*/ 1344 h 1536"/>
                  <a:gd name="T50" fmla="*/ 717 w 1536"/>
                  <a:gd name="T51" fmla="*/ 1367 h 1536"/>
                  <a:gd name="T52" fmla="*/ 806 w 1536"/>
                  <a:gd name="T53" fmla="*/ 1535 h 1536"/>
                  <a:gd name="T54" fmla="*/ 1030 w 1536"/>
                  <a:gd name="T55" fmla="*/ 1512 h 1536"/>
                  <a:gd name="T56" fmla="*/ 1030 w 1536"/>
                  <a:gd name="T57" fmla="*/ 1322 h 1536"/>
                  <a:gd name="T58" fmla="*/ 1143 w 1536"/>
                  <a:gd name="T59" fmla="*/ 1221 h 1536"/>
                  <a:gd name="T60" fmla="*/ 1333 w 1536"/>
                  <a:gd name="T61" fmla="*/ 1288 h 1536"/>
                  <a:gd name="T62" fmla="*/ 1456 w 1536"/>
                  <a:gd name="T63" fmla="*/ 1098 h 1536"/>
                  <a:gd name="T64" fmla="*/ 1333 w 1536"/>
                  <a:gd name="T65" fmla="*/ 952 h 1536"/>
                  <a:gd name="T66" fmla="*/ 1367 w 1536"/>
                  <a:gd name="T67" fmla="*/ 818 h 1536"/>
                  <a:gd name="T68" fmla="*/ 739 w 1536"/>
                  <a:gd name="T69" fmla="*/ 1098 h 1536"/>
                  <a:gd name="T70" fmla="*/ 739 w 1536"/>
                  <a:gd name="T71" fmla="*/ 1098 h 1536"/>
                  <a:gd name="T72" fmla="*/ 381 w 1536"/>
                  <a:gd name="T73" fmla="*/ 762 h 1536"/>
                  <a:gd name="T74" fmla="*/ 739 w 1536"/>
                  <a:gd name="T75" fmla="*/ 403 h 1536"/>
                  <a:gd name="T76" fmla="*/ 1075 w 1536"/>
                  <a:gd name="T77" fmla="*/ 762 h 1536"/>
                  <a:gd name="T78" fmla="*/ 739 w 1536"/>
                  <a:gd name="T79" fmla="*/ 1098 h 1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36" h="1536">
                    <a:moveTo>
                      <a:pt x="1367" y="818"/>
                    </a:moveTo>
                    <a:lnTo>
                      <a:pt x="1367" y="818"/>
                    </a:lnTo>
                    <a:cubicBezTo>
                      <a:pt x="1535" y="717"/>
                      <a:pt x="1535" y="717"/>
                      <a:pt x="1535" y="717"/>
                    </a:cubicBezTo>
                    <a:cubicBezTo>
                      <a:pt x="1479" y="526"/>
                      <a:pt x="1479" y="526"/>
                      <a:pt x="1479" y="526"/>
                    </a:cubicBezTo>
                    <a:cubicBezTo>
                      <a:pt x="1288" y="504"/>
                      <a:pt x="1288" y="504"/>
                      <a:pt x="1288" y="504"/>
                    </a:cubicBezTo>
                    <a:cubicBezTo>
                      <a:pt x="1266" y="459"/>
                      <a:pt x="1243" y="403"/>
                      <a:pt x="1221" y="381"/>
                    </a:cubicBezTo>
                    <a:cubicBezTo>
                      <a:pt x="1266" y="190"/>
                      <a:pt x="1266" y="190"/>
                      <a:pt x="1266" y="190"/>
                    </a:cubicBezTo>
                    <a:cubicBezTo>
                      <a:pt x="1098" y="67"/>
                      <a:pt x="1098" y="67"/>
                      <a:pt x="1098" y="67"/>
                    </a:cubicBezTo>
                    <a:cubicBezTo>
                      <a:pt x="952" y="190"/>
                      <a:pt x="952" y="190"/>
                      <a:pt x="952" y="190"/>
                    </a:cubicBezTo>
                    <a:cubicBezTo>
                      <a:pt x="907" y="190"/>
                      <a:pt x="862" y="168"/>
                      <a:pt x="806" y="168"/>
                    </a:cubicBezTo>
                    <a:cubicBezTo>
                      <a:pt x="717" y="0"/>
                      <a:pt x="717" y="0"/>
                      <a:pt x="717" y="0"/>
                    </a:cubicBezTo>
                    <a:cubicBezTo>
                      <a:pt x="504" y="45"/>
                      <a:pt x="504" y="45"/>
                      <a:pt x="504" y="45"/>
                    </a:cubicBezTo>
                    <a:cubicBezTo>
                      <a:pt x="481" y="235"/>
                      <a:pt x="481" y="235"/>
                      <a:pt x="481" y="235"/>
                    </a:cubicBezTo>
                    <a:cubicBezTo>
                      <a:pt x="448" y="269"/>
                      <a:pt x="403" y="291"/>
                      <a:pt x="358" y="314"/>
                    </a:cubicBezTo>
                    <a:cubicBezTo>
                      <a:pt x="190" y="269"/>
                      <a:pt x="190" y="269"/>
                      <a:pt x="190" y="269"/>
                    </a:cubicBezTo>
                    <a:cubicBezTo>
                      <a:pt x="67" y="437"/>
                      <a:pt x="67" y="437"/>
                      <a:pt x="67" y="437"/>
                    </a:cubicBezTo>
                    <a:cubicBezTo>
                      <a:pt x="190" y="594"/>
                      <a:pt x="190" y="594"/>
                      <a:pt x="190" y="594"/>
                    </a:cubicBezTo>
                    <a:cubicBezTo>
                      <a:pt x="168" y="627"/>
                      <a:pt x="168" y="672"/>
                      <a:pt x="168" y="739"/>
                    </a:cubicBezTo>
                    <a:cubicBezTo>
                      <a:pt x="0" y="818"/>
                      <a:pt x="0" y="818"/>
                      <a:pt x="0" y="818"/>
                    </a:cubicBezTo>
                    <a:cubicBezTo>
                      <a:pt x="44" y="1031"/>
                      <a:pt x="44" y="1031"/>
                      <a:pt x="44" y="1031"/>
                    </a:cubicBezTo>
                    <a:cubicBezTo>
                      <a:pt x="235" y="1053"/>
                      <a:pt x="235" y="1053"/>
                      <a:pt x="235" y="1053"/>
                    </a:cubicBezTo>
                    <a:cubicBezTo>
                      <a:pt x="257" y="1075"/>
                      <a:pt x="280" y="1120"/>
                      <a:pt x="313" y="1176"/>
                    </a:cubicBezTo>
                    <a:cubicBezTo>
                      <a:pt x="257" y="1344"/>
                      <a:pt x="257" y="1344"/>
                      <a:pt x="257" y="1344"/>
                    </a:cubicBezTo>
                    <a:cubicBezTo>
                      <a:pt x="425" y="1456"/>
                      <a:pt x="425" y="1456"/>
                      <a:pt x="425" y="1456"/>
                    </a:cubicBezTo>
                    <a:cubicBezTo>
                      <a:pt x="571" y="1344"/>
                      <a:pt x="571" y="1344"/>
                      <a:pt x="571" y="1344"/>
                    </a:cubicBezTo>
                    <a:cubicBezTo>
                      <a:pt x="616" y="1367"/>
                      <a:pt x="672" y="1367"/>
                      <a:pt x="717" y="1367"/>
                    </a:cubicBezTo>
                    <a:cubicBezTo>
                      <a:pt x="806" y="1535"/>
                      <a:pt x="806" y="1535"/>
                      <a:pt x="806" y="1535"/>
                    </a:cubicBezTo>
                    <a:cubicBezTo>
                      <a:pt x="1030" y="1512"/>
                      <a:pt x="1030" y="1512"/>
                      <a:pt x="1030" y="1512"/>
                    </a:cubicBezTo>
                    <a:cubicBezTo>
                      <a:pt x="1030" y="1322"/>
                      <a:pt x="1030" y="1322"/>
                      <a:pt x="1030" y="1322"/>
                    </a:cubicBezTo>
                    <a:cubicBezTo>
                      <a:pt x="1075" y="1288"/>
                      <a:pt x="1120" y="1243"/>
                      <a:pt x="1143" y="1221"/>
                    </a:cubicBezTo>
                    <a:cubicBezTo>
                      <a:pt x="1333" y="1288"/>
                      <a:pt x="1333" y="1288"/>
                      <a:pt x="1333" y="1288"/>
                    </a:cubicBezTo>
                    <a:cubicBezTo>
                      <a:pt x="1456" y="1098"/>
                      <a:pt x="1456" y="1098"/>
                      <a:pt x="1456" y="1098"/>
                    </a:cubicBezTo>
                    <a:cubicBezTo>
                      <a:pt x="1333" y="952"/>
                      <a:pt x="1333" y="952"/>
                      <a:pt x="1333" y="952"/>
                    </a:cubicBezTo>
                    <a:cubicBezTo>
                      <a:pt x="1333" y="907"/>
                      <a:pt x="1367" y="863"/>
                      <a:pt x="1367" y="818"/>
                    </a:cubicBezTo>
                    <a:close/>
                    <a:moveTo>
                      <a:pt x="739" y="1098"/>
                    </a:moveTo>
                    <a:lnTo>
                      <a:pt x="739" y="1098"/>
                    </a:lnTo>
                    <a:cubicBezTo>
                      <a:pt x="549" y="1098"/>
                      <a:pt x="381" y="952"/>
                      <a:pt x="381" y="762"/>
                    </a:cubicBezTo>
                    <a:cubicBezTo>
                      <a:pt x="381" y="571"/>
                      <a:pt x="549" y="403"/>
                      <a:pt x="739" y="403"/>
                    </a:cubicBezTo>
                    <a:cubicBezTo>
                      <a:pt x="930" y="403"/>
                      <a:pt x="1075" y="571"/>
                      <a:pt x="1075" y="762"/>
                    </a:cubicBezTo>
                    <a:cubicBezTo>
                      <a:pt x="1075" y="952"/>
                      <a:pt x="930" y="1098"/>
                      <a:pt x="739" y="1098"/>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kern="1200" dirty="0"/>
              </a:p>
            </p:txBody>
          </p:sp>
          <p:sp>
            <p:nvSpPr>
              <p:cNvPr id="15" name="Freeform 401">
                <a:extLst>
                  <a:ext uri="{FF2B5EF4-FFF2-40B4-BE49-F238E27FC236}">
                    <a16:creationId xmlns:a16="http://schemas.microsoft.com/office/drawing/2014/main" id="{FCE28DA3-6F77-4D31-A5A2-76B5A131C707}"/>
                  </a:ext>
                </a:extLst>
              </p:cNvPr>
              <p:cNvSpPr>
                <a:spLocks noChangeArrowheads="1"/>
              </p:cNvSpPr>
              <p:nvPr/>
            </p:nvSpPr>
            <p:spPr bwMode="auto">
              <a:xfrm>
                <a:off x="2390775" y="2406650"/>
                <a:ext cx="153988" cy="157163"/>
              </a:xfrm>
              <a:custGeom>
                <a:avLst/>
                <a:gdLst>
                  <a:gd name="T0" fmla="*/ 426 w 427"/>
                  <a:gd name="T1" fmla="*/ 213 h 438"/>
                  <a:gd name="T2" fmla="*/ 426 w 427"/>
                  <a:gd name="T3" fmla="*/ 213 h 438"/>
                  <a:gd name="T4" fmla="*/ 213 w 427"/>
                  <a:gd name="T5" fmla="*/ 437 h 438"/>
                  <a:gd name="T6" fmla="*/ 0 w 427"/>
                  <a:gd name="T7" fmla="*/ 213 h 438"/>
                  <a:gd name="T8" fmla="*/ 213 w 427"/>
                  <a:gd name="T9" fmla="*/ 0 h 438"/>
                  <a:gd name="T10" fmla="*/ 426 w 427"/>
                  <a:gd name="T11" fmla="*/ 213 h 438"/>
                </a:gdLst>
                <a:ahLst/>
                <a:cxnLst>
                  <a:cxn ang="0">
                    <a:pos x="T0" y="T1"/>
                  </a:cxn>
                  <a:cxn ang="0">
                    <a:pos x="T2" y="T3"/>
                  </a:cxn>
                  <a:cxn ang="0">
                    <a:pos x="T4" y="T5"/>
                  </a:cxn>
                  <a:cxn ang="0">
                    <a:pos x="T6" y="T7"/>
                  </a:cxn>
                  <a:cxn ang="0">
                    <a:pos x="T8" y="T9"/>
                  </a:cxn>
                  <a:cxn ang="0">
                    <a:pos x="T10" y="T11"/>
                  </a:cxn>
                </a:cxnLst>
                <a:rect l="0" t="0" r="r" b="b"/>
                <a:pathLst>
                  <a:path w="427" h="438">
                    <a:moveTo>
                      <a:pt x="426" y="213"/>
                    </a:moveTo>
                    <a:lnTo>
                      <a:pt x="426" y="213"/>
                    </a:lnTo>
                    <a:cubicBezTo>
                      <a:pt x="426" y="336"/>
                      <a:pt x="336" y="437"/>
                      <a:pt x="213" y="437"/>
                    </a:cubicBezTo>
                    <a:cubicBezTo>
                      <a:pt x="90" y="437"/>
                      <a:pt x="0" y="336"/>
                      <a:pt x="0" y="213"/>
                    </a:cubicBezTo>
                    <a:cubicBezTo>
                      <a:pt x="0" y="101"/>
                      <a:pt x="90" y="0"/>
                      <a:pt x="213" y="0"/>
                    </a:cubicBezTo>
                    <a:cubicBezTo>
                      <a:pt x="336" y="0"/>
                      <a:pt x="426" y="101"/>
                      <a:pt x="426" y="213"/>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kern="1200" dirty="0"/>
              </a:p>
            </p:txBody>
          </p:sp>
          <p:sp>
            <p:nvSpPr>
              <p:cNvPr id="17" name="Freeform 402">
                <a:extLst>
                  <a:ext uri="{FF2B5EF4-FFF2-40B4-BE49-F238E27FC236}">
                    <a16:creationId xmlns:a16="http://schemas.microsoft.com/office/drawing/2014/main" id="{CDB184AA-80F9-4316-A6E0-2CEA4E224708}"/>
                  </a:ext>
                </a:extLst>
              </p:cNvPr>
              <p:cNvSpPr>
                <a:spLocks noChangeArrowheads="1"/>
              </p:cNvSpPr>
              <p:nvPr/>
            </p:nvSpPr>
            <p:spPr bwMode="auto">
              <a:xfrm>
                <a:off x="2149475" y="2930525"/>
                <a:ext cx="198438" cy="201613"/>
              </a:xfrm>
              <a:custGeom>
                <a:avLst/>
                <a:gdLst>
                  <a:gd name="T0" fmla="*/ 549 w 550"/>
                  <a:gd name="T1" fmla="*/ 269 h 561"/>
                  <a:gd name="T2" fmla="*/ 549 w 550"/>
                  <a:gd name="T3" fmla="*/ 269 h 561"/>
                  <a:gd name="T4" fmla="*/ 291 w 550"/>
                  <a:gd name="T5" fmla="*/ 560 h 561"/>
                  <a:gd name="T6" fmla="*/ 0 w 550"/>
                  <a:gd name="T7" fmla="*/ 269 h 561"/>
                  <a:gd name="T8" fmla="*/ 291 w 550"/>
                  <a:gd name="T9" fmla="*/ 0 h 561"/>
                  <a:gd name="T10" fmla="*/ 549 w 550"/>
                  <a:gd name="T11" fmla="*/ 269 h 561"/>
                </a:gdLst>
                <a:ahLst/>
                <a:cxnLst>
                  <a:cxn ang="0">
                    <a:pos x="T0" y="T1"/>
                  </a:cxn>
                  <a:cxn ang="0">
                    <a:pos x="T2" y="T3"/>
                  </a:cxn>
                  <a:cxn ang="0">
                    <a:pos x="T4" y="T5"/>
                  </a:cxn>
                  <a:cxn ang="0">
                    <a:pos x="T6" y="T7"/>
                  </a:cxn>
                  <a:cxn ang="0">
                    <a:pos x="T8" y="T9"/>
                  </a:cxn>
                  <a:cxn ang="0">
                    <a:pos x="T10" y="T11"/>
                  </a:cxn>
                </a:cxnLst>
                <a:rect l="0" t="0" r="r" b="b"/>
                <a:pathLst>
                  <a:path w="550" h="561">
                    <a:moveTo>
                      <a:pt x="549" y="269"/>
                    </a:moveTo>
                    <a:lnTo>
                      <a:pt x="549" y="269"/>
                    </a:lnTo>
                    <a:cubicBezTo>
                      <a:pt x="549" y="437"/>
                      <a:pt x="426" y="560"/>
                      <a:pt x="291" y="560"/>
                    </a:cubicBezTo>
                    <a:cubicBezTo>
                      <a:pt x="123" y="560"/>
                      <a:pt x="0" y="437"/>
                      <a:pt x="0" y="269"/>
                    </a:cubicBezTo>
                    <a:cubicBezTo>
                      <a:pt x="0" y="124"/>
                      <a:pt x="123" y="0"/>
                      <a:pt x="291" y="0"/>
                    </a:cubicBezTo>
                    <a:cubicBezTo>
                      <a:pt x="426" y="0"/>
                      <a:pt x="549" y="124"/>
                      <a:pt x="549" y="269"/>
                    </a:cubicBez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kern="1200" dirty="0"/>
              </a:p>
            </p:txBody>
          </p:sp>
          <p:sp>
            <p:nvSpPr>
              <p:cNvPr id="18" name="Freeform 403">
                <a:extLst>
                  <a:ext uri="{FF2B5EF4-FFF2-40B4-BE49-F238E27FC236}">
                    <a16:creationId xmlns:a16="http://schemas.microsoft.com/office/drawing/2014/main" id="{FFD0B65C-63B7-4BBA-885C-C846BB074AE3}"/>
                  </a:ext>
                </a:extLst>
              </p:cNvPr>
              <p:cNvSpPr>
                <a:spLocks noChangeArrowheads="1"/>
              </p:cNvSpPr>
              <p:nvPr/>
            </p:nvSpPr>
            <p:spPr bwMode="auto">
              <a:xfrm>
                <a:off x="1922463" y="2701925"/>
                <a:ext cx="658812" cy="654050"/>
              </a:xfrm>
              <a:custGeom>
                <a:avLst/>
                <a:gdLst>
                  <a:gd name="T0" fmla="*/ 1614 w 1828"/>
                  <a:gd name="T1" fmla="*/ 952 h 1816"/>
                  <a:gd name="T2" fmla="*/ 1614 w 1828"/>
                  <a:gd name="T3" fmla="*/ 952 h 1816"/>
                  <a:gd name="T4" fmla="*/ 1827 w 1828"/>
                  <a:gd name="T5" fmla="*/ 862 h 1816"/>
                  <a:gd name="T6" fmla="*/ 1782 w 1828"/>
                  <a:gd name="T7" fmla="*/ 616 h 1816"/>
                  <a:gd name="T8" fmla="*/ 1536 w 1828"/>
                  <a:gd name="T9" fmla="*/ 593 h 1816"/>
                  <a:gd name="T10" fmla="*/ 1446 w 1828"/>
                  <a:gd name="T11" fmla="*/ 448 h 1816"/>
                  <a:gd name="T12" fmla="*/ 1513 w 1828"/>
                  <a:gd name="T13" fmla="*/ 235 h 1816"/>
                  <a:gd name="T14" fmla="*/ 1300 w 1828"/>
                  <a:gd name="T15" fmla="*/ 89 h 1816"/>
                  <a:gd name="T16" fmla="*/ 1132 w 1828"/>
                  <a:gd name="T17" fmla="*/ 235 h 1816"/>
                  <a:gd name="T18" fmla="*/ 964 w 1828"/>
                  <a:gd name="T19" fmla="*/ 213 h 1816"/>
                  <a:gd name="T20" fmla="*/ 841 w 1828"/>
                  <a:gd name="T21" fmla="*/ 0 h 1816"/>
                  <a:gd name="T22" fmla="*/ 605 w 1828"/>
                  <a:gd name="T23" fmla="*/ 67 h 1816"/>
                  <a:gd name="T24" fmla="*/ 583 w 1828"/>
                  <a:gd name="T25" fmla="*/ 280 h 1816"/>
                  <a:gd name="T26" fmla="*/ 437 w 1828"/>
                  <a:gd name="T27" fmla="*/ 381 h 1816"/>
                  <a:gd name="T28" fmla="*/ 224 w 1828"/>
                  <a:gd name="T29" fmla="*/ 313 h 1816"/>
                  <a:gd name="T30" fmla="*/ 101 w 1828"/>
                  <a:gd name="T31" fmla="*/ 526 h 1816"/>
                  <a:gd name="T32" fmla="*/ 247 w 1828"/>
                  <a:gd name="T33" fmla="*/ 694 h 1816"/>
                  <a:gd name="T34" fmla="*/ 191 w 1828"/>
                  <a:gd name="T35" fmla="*/ 862 h 1816"/>
                  <a:gd name="T36" fmla="*/ 0 w 1828"/>
                  <a:gd name="T37" fmla="*/ 974 h 1816"/>
                  <a:gd name="T38" fmla="*/ 56 w 1828"/>
                  <a:gd name="T39" fmla="*/ 1221 h 1816"/>
                  <a:gd name="T40" fmla="*/ 292 w 1828"/>
                  <a:gd name="T41" fmla="*/ 1243 h 1816"/>
                  <a:gd name="T42" fmla="*/ 393 w 1828"/>
                  <a:gd name="T43" fmla="*/ 1389 h 1816"/>
                  <a:gd name="T44" fmla="*/ 314 w 1828"/>
                  <a:gd name="T45" fmla="*/ 1602 h 1816"/>
                  <a:gd name="T46" fmla="*/ 505 w 1828"/>
                  <a:gd name="T47" fmla="*/ 1747 h 1816"/>
                  <a:gd name="T48" fmla="*/ 695 w 1828"/>
                  <a:gd name="T49" fmla="*/ 1579 h 1816"/>
                  <a:gd name="T50" fmla="*/ 863 w 1828"/>
                  <a:gd name="T51" fmla="*/ 1624 h 1816"/>
                  <a:gd name="T52" fmla="*/ 964 w 1828"/>
                  <a:gd name="T53" fmla="*/ 1815 h 1816"/>
                  <a:gd name="T54" fmla="*/ 1222 w 1828"/>
                  <a:gd name="T55" fmla="*/ 1770 h 1816"/>
                  <a:gd name="T56" fmla="*/ 1222 w 1828"/>
                  <a:gd name="T57" fmla="*/ 1557 h 1816"/>
                  <a:gd name="T58" fmla="*/ 1367 w 1828"/>
                  <a:gd name="T59" fmla="*/ 1456 h 1816"/>
                  <a:gd name="T60" fmla="*/ 1580 w 1828"/>
                  <a:gd name="T61" fmla="*/ 1501 h 1816"/>
                  <a:gd name="T62" fmla="*/ 1726 w 1828"/>
                  <a:gd name="T63" fmla="*/ 1310 h 1816"/>
                  <a:gd name="T64" fmla="*/ 1580 w 1828"/>
                  <a:gd name="T65" fmla="*/ 1142 h 1816"/>
                  <a:gd name="T66" fmla="*/ 1614 w 1828"/>
                  <a:gd name="T67" fmla="*/ 952 h 1816"/>
                  <a:gd name="T68" fmla="*/ 919 w 1828"/>
                  <a:gd name="T69" fmla="*/ 1344 h 1816"/>
                  <a:gd name="T70" fmla="*/ 919 w 1828"/>
                  <a:gd name="T71" fmla="*/ 1344 h 1816"/>
                  <a:gd name="T72" fmla="*/ 482 w 1828"/>
                  <a:gd name="T73" fmla="*/ 907 h 1816"/>
                  <a:gd name="T74" fmla="*/ 919 w 1828"/>
                  <a:gd name="T75" fmla="*/ 504 h 1816"/>
                  <a:gd name="T76" fmla="*/ 1323 w 1828"/>
                  <a:gd name="T77" fmla="*/ 907 h 1816"/>
                  <a:gd name="T78" fmla="*/ 919 w 1828"/>
                  <a:gd name="T79" fmla="*/ 1344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8" h="1816">
                    <a:moveTo>
                      <a:pt x="1614" y="952"/>
                    </a:moveTo>
                    <a:lnTo>
                      <a:pt x="1614" y="952"/>
                    </a:lnTo>
                    <a:cubicBezTo>
                      <a:pt x="1827" y="862"/>
                      <a:pt x="1827" y="862"/>
                      <a:pt x="1827" y="862"/>
                    </a:cubicBezTo>
                    <a:cubicBezTo>
                      <a:pt x="1782" y="616"/>
                      <a:pt x="1782" y="616"/>
                      <a:pt x="1782" y="616"/>
                    </a:cubicBezTo>
                    <a:cubicBezTo>
                      <a:pt x="1536" y="593"/>
                      <a:pt x="1536" y="593"/>
                      <a:pt x="1536" y="593"/>
                    </a:cubicBezTo>
                    <a:cubicBezTo>
                      <a:pt x="1513" y="549"/>
                      <a:pt x="1491" y="504"/>
                      <a:pt x="1446" y="448"/>
                    </a:cubicBezTo>
                    <a:cubicBezTo>
                      <a:pt x="1513" y="235"/>
                      <a:pt x="1513" y="235"/>
                      <a:pt x="1513" y="235"/>
                    </a:cubicBezTo>
                    <a:cubicBezTo>
                      <a:pt x="1300" y="89"/>
                      <a:pt x="1300" y="89"/>
                      <a:pt x="1300" y="89"/>
                    </a:cubicBezTo>
                    <a:cubicBezTo>
                      <a:pt x="1132" y="235"/>
                      <a:pt x="1132" y="235"/>
                      <a:pt x="1132" y="235"/>
                    </a:cubicBezTo>
                    <a:cubicBezTo>
                      <a:pt x="1087" y="213"/>
                      <a:pt x="1009" y="213"/>
                      <a:pt x="964" y="213"/>
                    </a:cubicBezTo>
                    <a:cubicBezTo>
                      <a:pt x="841" y="0"/>
                      <a:pt x="841" y="0"/>
                      <a:pt x="841" y="0"/>
                    </a:cubicBezTo>
                    <a:cubicBezTo>
                      <a:pt x="605" y="67"/>
                      <a:pt x="605" y="67"/>
                      <a:pt x="605" y="67"/>
                    </a:cubicBezTo>
                    <a:cubicBezTo>
                      <a:pt x="583" y="280"/>
                      <a:pt x="583" y="280"/>
                      <a:pt x="583" y="280"/>
                    </a:cubicBezTo>
                    <a:cubicBezTo>
                      <a:pt x="527" y="313"/>
                      <a:pt x="482" y="358"/>
                      <a:pt x="437" y="381"/>
                    </a:cubicBezTo>
                    <a:cubicBezTo>
                      <a:pt x="224" y="313"/>
                      <a:pt x="224" y="313"/>
                      <a:pt x="224" y="313"/>
                    </a:cubicBezTo>
                    <a:cubicBezTo>
                      <a:pt x="101" y="526"/>
                      <a:pt x="101" y="526"/>
                      <a:pt x="101" y="526"/>
                    </a:cubicBezTo>
                    <a:cubicBezTo>
                      <a:pt x="247" y="694"/>
                      <a:pt x="247" y="694"/>
                      <a:pt x="247" y="694"/>
                    </a:cubicBezTo>
                    <a:cubicBezTo>
                      <a:pt x="224" y="739"/>
                      <a:pt x="224" y="806"/>
                      <a:pt x="191" y="862"/>
                    </a:cubicBezTo>
                    <a:cubicBezTo>
                      <a:pt x="0" y="974"/>
                      <a:pt x="0" y="974"/>
                      <a:pt x="0" y="974"/>
                    </a:cubicBezTo>
                    <a:cubicBezTo>
                      <a:pt x="56" y="1221"/>
                      <a:pt x="56" y="1221"/>
                      <a:pt x="56" y="1221"/>
                    </a:cubicBezTo>
                    <a:cubicBezTo>
                      <a:pt x="292" y="1243"/>
                      <a:pt x="292" y="1243"/>
                      <a:pt x="292" y="1243"/>
                    </a:cubicBezTo>
                    <a:cubicBezTo>
                      <a:pt x="314" y="1288"/>
                      <a:pt x="336" y="1344"/>
                      <a:pt x="393" y="1389"/>
                    </a:cubicBezTo>
                    <a:cubicBezTo>
                      <a:pt x="314" y="1602"/>
                      <a:pt x="314" y="1602"/>
                      <a:pt x="314" y="1602"/>
                    </a:cubicBezTo>
                    <a:cubicBezTo>
                      <a:pt x="505" y="1747"/>
                      <a:pt x="505" y="1747"/>
                      <a:pt x="505" y="1747"/>
                    </a:cubicBezTo>
                    <a:cubicBezTo>
                      <a:pt x="695" y="1579"/>
                      <a:pt x="695" y="1579"/>
                      <a:pt x="695" y="1579"/>
                    </a:cubicBezTo>
                    <a:cubicBezTo>
                      <a:pt x="751" y="1602"/>
                      <a:pt x="796" y="1624"/>
                      <a:pt x="863" y="1624"/>
                    </a:cubicBezTo>
                    <a:cubicBezTo>
                      <a:pt x="964" y="1815"/>
                      <a:pt x="964" y="1815"/>
                      <a:pt x="964" y="1815"/>
                    </a:cubicBezTo>
                    <a:cubicBezTo>
                      <a:pt x="1222" y="1770"/>
                      <a:pt x="1222" y="1770"/>
                      <a:pt x="1222" y="1770"/>
                    </a:cubicBezTo>
                    <a:cubicBezTo>
                      <a:pt x="1222" y="1557"/>
                      <a:pt x="1222" y="1557"/>
                      <a:pt x="1222" y="1557"/>
                    </a:cubicBezTo>
                    <a:cubicBezTo>
                      <a:pt x="1278" y="1535"/>
                      <a:pt x="1323" y="1479"/>
                      <a:pt x="1367" y="1456"/>
                    </a:cubicBezTo>
                    <a:cubicBezTo>
                      <a:pt x="1580" y="1501"/>
                      <a:pt x="1580" y="1501"/>
                      <a:pt x="1580" y="1501"/>
                    </a:cubicBezTo>
                    <a:cubicBezTo>
                      <a:pt x="1726" y="1310"/>
                      <a:pt x="1726" y="1310"/>
                      <a:pt x="1726" y="1310"/>
                    </a:cubicBezTo>
                    <a:cubicBezTo>
                      <a:pt x="1580" y="1142"/>
                      <a:pt x="1580" y="1142"/>
                      <a:pt x="1580" y="1142"/>
                    </a:cubicBezTo>
                    <a:cubicBezTo>
                      <a:pt x="1614" y="1075"/>
                      <a:pt x="1614" y="1030"/>
                      <a:pt x="1614" y="952"/>
                    </a:cubicBezTo>
                    <a:close/>
                    <a:moveTo>
                      <a:pt x="919" y="1344"/>
                    </a:moveTo>
                    <a:lnTo>
                      <a:pt x="919" y="1344"/>
                    </a:lnTo>
                    <a:cubicBezTo>
                      <a:pt x="673" y="1344"/>
                      <a:pt x="482" y="1142"/>
                      <a:pt x="482" y="907"/>
                    </a:cubicBezTo>
                    <a:cubicBezTo>
                      <a:pt x="482" y="694"/>
                      <a:pt x="673" y="504"/>
                      <a:pt x="919" y="504"/>
                    </a:cubicBezTo>
                    <a:cubicBezTo>
                      <a:pt x="1132" y="504"/>
                      <a:pt x="1323" y="694"/>
                      <a:pt x="1323" y="907"/>
                    </a:cubicBezTo>
                    <a:cubicBezTo>
                      <a:pt x="1323" y="1142"/>
                      <a:pt x="1132" y="1344"/>
                      <a:pt x="919" y="1344"/>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wrap="none" anchor="ctr"/>
              <a:lstStyle/>
              <a:p>
                <a:endParaRPr lang="nl-NL" kern="1200" dirty="0"/>
              </a:p>
            </p:txBody>
          </p:sp>
        </p:grpSp>
      </p:grpSp>
      <p:sp>
        <p:nvSpPr>
          <p:cNvPr id="27" name="Rectangle 26">
            <a:extLst>
              <a:ext uri="{FF2B5EF4-FFF2-40B4-BE49-F238E27FC236}">
                <a16:creationId xmlns:a16="http://schemas.microsoft.com/office/drawing/2014/main" id="{EF341F5E-17FB-4E55-BBC4-C88E28BACBC1}"/>
              </a:ext>
            </a:extLst>
          </p:cNvPr>
          <p:cNvSpPr/>
          <p:nvPr/>
        </p:nvSpPr>
        <p:spPr>
          <a:xfrm>
            <a:off x="7247614" y="5241307"/>
            <a:ext cx="1692000"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a:spcBef>
                <a:spcPts val="0"/>
              </a:spcBef>
              <a:buClr>
                <a:srgbClr val="FF0000"/>
              </a:buClr>
              <a:buNone/>
            </a:pPr>
            <a:r>
              <a:rPr lang="nl-NL" sz="1200" b="1" dirty="0">
                <a:solidFill>
                  <a:srgbClr val="FFFFFF"/>
                </a:solidFill>
              </a:rPr>
              <a:t>Probleemoplossend vermogen</a:t>
            </a:r>
          </a:p>
        </p:txBody>
      </p:sp>
      <p:sp>
        <p:nvSpPr>
          <p:cNvPr id="28" name="Rectangle 27">
            <a:extLst>
              <a:ext uri="{FF2B5EF4-FFF2-40B4-BE49-F238E27FC236}">
                <a16:creationId xmlns:a16="http://schemas.microsoft.com/office/drawing/2014/main" id="{B856DF29-5CA7-4318-9157-072B6430AC7D}"/>
              </a:ext>
            </a:extLst>
          </p:cNvPr>
          <p:cNvSpPr/>
          <p:nvPr/>
        </p:nvSpPr>
        <p:spPr>
          <a:xfrm>
            <a:off x="7247614" y="4358634"/>
            <a:ext cx="1692000"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a:spcBef>
                <a:spcPts val="0"/>
              </a:spcBef>
              <a:buClr>
                <a:srgbClr val="FF0000"/>
              </a:buClr>
              <a:buNone/>
            </a:pPr>
            <a:r>
              <a:rPr lang="nl-NL" sz="1200" b="1" dirty="0">
                <a:solidFill>
                  <a:srgbClr val="FFFFFF"/>
                </a:solidFill>
              </a:rPr>
              <a:t>Gedreven &amp; onderzoekend</a:t>
            </a:r>
          </a:p>
        </p:txBody>
      </p:sp>
      <p:sp>
        <p:nvSpPr>
          <p:cNvPr id="29" name="Rectangle 28">
            <a:extLst>
              <a:ext uri="{FF2B5EF4-FFF2-40B4-BE49-F238E27FC236}">
                <a16:creationId xmlns:a16="http://schemas.microsoft.com/office/drawing/2014/main" id="{34962EB8-ADDD-4956-9DCE-90F3AEABCA33}"/>
              </a:ext>
            </a:extLst>
          </p:cNvPr>
          <p:cNvSpPr/>
          <p:nvPr/>
        </p:nvSpPr>
        <p:spPr>
          <a:xfrm>
            <a:off x="7247614" y="3475961"/>
            <a:ext cx="1692000" cy="684000"/>
          </a:xfrm>
          <a:prstGeom prst="rect">
            <a:avLst/>
          </a:prstGeom>
          <a:noFill/>
          <a:ln w="28575">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defTabSz="685800" fontAlgn="auto">
              <a:lnSpc>
                <a:spcPct val="90000"/>
              </a:lnSpc>
              <a:spcBef>
                <a:spcPts val="0"/>
              </a:spcBef>
              <a:spcAft>
                <a:spcPts val="0"/>
              </a:spcAft>
              <a:buClr>
                <a:srgbClr val="FF0000"/>
              </a:buClr>
              <a:buNone/>
            </a:pPr>
            <a:r>
              <a:rPr lang="nl-NL" sz="1200" b="1" dirty="0">
                <a:solidFill>
                  <a:srgbClr val="FFFFFF"/>
                </a:solidFill>
                <a:latin typeface="Corbel" panose="020B0503020204020204" pitchFamily="34" charset="0"/>
                <a:cs typeface="+mn-cs"/>
              </a:rPr>
              <a:t>Maatschappelijk betrokken</a:t>
            </a:r>
          </a:p>
        </p:txBody>
      </p:sp>
      <p:pic>
        <p:nvPicPr>
          <p:cNvPr id="30" name="Graphic 29" descr="Magnifying glass">
            <a:extLst>
              <a:ext uri="{FF2B5EF4-FFF2-40B4-BE49-F238E27FC236}">
                <a16:creationId xmlns:a16="http://schemas.microsoft.com/office/drawing/2014/main" id="{80A78632-0064-4942-8824-3E4ADA93139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1587" y="4420948"/>
            <a:ext cx="423274" cy="423274"/>
          </a:xfrm>
          <a:prstGeom prst="rect">
            <a:avLst/>
          </a:prstGeom>
        </p:spPr>
      </p:pic>
      <p:sp>
        <p:nvSpPr>
          <p:cNvPr id="34" name="TextBox 33">
            <a:extLst>
              <a:ext uri="{FF2B5EF4-FFF2-40B4-BE49-F238E27FC236}">
                <a16:creationId xmlns:a16="http://schemas.microsoft.com/office/drawing/2014/main" id="{7A8DCAC3-B94F-4B87-B2D7-99F79D1EB531}"/>
              </a:ext>
            </a:extLst>
          </p:cNvPr>
          <p:cNvSpPr txBox="1"/>
          <p:nvPr/>
        </p:nvSpPr>
        <p:spPr>
          <a:xfrm>
            <a:off x="6606444" y="2379256"/>
            <a:ext cx="2972562" cy="898032"/>
          </a:xfrm>
          <a:prstGeom prst="rect">
            <a:avLst/>
          </a:prstGeom>
        </p:spPr>
        <p:txBody>
          <a:bodyPr vert="horz" wrap="square" lIns="91440" tIns="45720" rIns="91440" bIns="45720" rtlCol="0">
            <a:noAutofit/>
          </a:bodyPr>
          <a:lstStyle/>
          <a:p>
            <a:pPr marL="0" indent="0" algn="ctr">
              <a:buNone/>
            </a:pPr>
            <a:r>
              <a:rPr lang="nl-NL" sz="16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Bezit jij deze eigenschappen? Solliciteer dan vóór 25 oktober bij It’s Public!</a:t>
            </a:r>
            <a:endParaRPr lang="nl-NL" sz="800" b="1" noProof="0" dirty="0">
              <a:solidFill>
                <a:srgbClr val="FFFFFF"/>
              </a:solidFill>
              <a:latin typeface="Garamond" panose="02020404030301010803" pitchFamily="18" charset="0"/>
            </a:endParaRPr>
          </a:p>
        </p:txBody>
      </p:sp>
      <p:grpSp>
        <p:nvGrpSpPr>
          <p:cNvPr id="19" name="Group 18">
            <a:extLst>
              <a:ext uri="{FF2B5EF4-FFF2-40B4-BE49-F238E27FC236}">
                <a16:creationId xmlns:a16="http://schemas.microsoft.com/office/drawing/2014/main" id="{CC7CD209-432C-4BF5-9B82-3DF2191E2AEE}"/>
              </a:ext>
            </a:extLst>
          </p:cNvPr>
          <p:cNvGrpSpPr/>
          <p:nvPr/>
        </p:nvGrpSpPr>
        <p:grpSpPr>
          <a:xfrm>
            <a:off x="6861587" y="3520912"/>
            <a:ext cx="323306" cy="389574"/>
            <a:chOff x="1486076" y="3453096"/>
            <a:chExt cx="442869" cy="533645"/>
          </a:xfrm>
          <a:solidFill>
            <a:srgbClr val="DBDBDB"/>
          </a:solidFill>
        </p:grpSpPr>
        <p:sp>
          <p:nvSpPr>
            <p:cNvPr id="20" name="Heart 19">
              <a:extLst>
                <a:ext uri="{FF2B5EF4-FFF2-40B4-BE49-F238E27FC236}">
                  <a16:creationId xmlns:a16="http://schemas.microsoft.com/office/drawing/2014/main" id="{781AD82E-231D-4A46-9A90-986DC334D101}"/>
                </a:ext>
              </a:extLst>
            </p:cNvPr>
            <p:cNvSpPr/>
            <p:nvPr/>
          </p:nvSpPr>
          <p:spPr>
            <a:xfrm>
              <a:off x="1591762" y="3453096"/>
              <a:ext cx="228552" cy="201850"/>
            </a:xfrm>
            <a:prstGeom prst="heart">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grpSp>
          <p:nvGrpSpPr>
            <p:cNvPr id="21" name="Group 20">
              <a:extLst>
                <a:ext uri="{FF2B5EF4-FFF2-40B4-BE49-F238E27FC236}">
                  <a16:creationId xmlns:a16="http://schemas.microsoft.com/office/drawing/2014/main" id="{899C77DF-78CA-4BF9-ABA6-650D82B315F3}"/>
                </a:ext>
              </a:extLst>
            </p:cNvPr>
            <p:cNvGrpSpPr/>
            <p:nvPr/>
          </p:nvGrpSpPr>
          <p:grpSpPr>
            <a:xfrm>
              <a:off x="1486076" y="3639296"/>
              <a:ext cx="442869" cy="347445"/>
              <a:chOff x="1463227" y="3623131"/>
              <a:chExt cx="3131553" cy="2456798"/>
            </a:xfrm>
            <a:grpFill/>
          </p:grpSpPr>
          <p:sp>
            <p:nvSpPr>
              <p:cNvPr id="22" name="Rectangle: Rounded Corners 21">
                <a:extLst>
                  <a:ext uri="{FF2B5EF4-FFF2-40B4-BE49-F238E27FC236}">
                    <a16:creationId xmlns:a16="http://schemas.microsoft.com/office/drawing/2014/main" id="{A784FBD2-3A7A-4134-A470-06146947FCBF}"/>
                  </a:ext>
                </a:extLst>
              </p:cNvPr>
              <p:cNvSpPr/>
              <p:nvPr/>
            </p:nvSpPr>
            <p:spPr>
              <a:xfrm rot="2700000">
                <a:off x="926961" y="4159397"/>
                <a:ext cx="1476233" cy="403702"/>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23" name="Rectangle: Rounded Corners 22">
                <a:extLst>
                  <a:ext uri="{FF2B5EF4-FFF2-40B4-BE49-F238E27FC236}">
                    <a16:creationId xmlns:a16="http://schemas.microsoft.com/office/drawing/2014/main" id="{DE0113EC-AD7B-463E-93E7-3A584BDF2CB0}"/>
                  </a:ext>
                </a:extLst>
              </p:cNvPr>
              <p:cNvSpPr/>
              <p:nvPr/>
            </p:nvSpPr>
            <p:spPr>
              <a:xfrm>
                <a:off x="2210540" y="3993469"/>
                <a:ext cx="1476233" cy="403702"/>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24" name="Rectangle: Rounded Corners 23">
                <a:extLst>
                  <a:ext uri="{FF2B5EF4-FFF2-40B4-BE49-F238E27FC236}">
                    <a16:creationId xmlns:a16="http://schemas.microsoft.com/office/drawing/2014/main" id="{BDCF2FEC-E302-4A34-B322-AD5FC1DA7B37}"/>
                  </a:ext>
                </a:extLst>
              </p:cNvPr>
              <p:cNvSpPr/>
              <p:nvPr/>
            </p:nvSpPr>
            <p:spPr>
              <a:xfrm>
                <a:off x="1894110" y="4513649"/>
                <a:ext cx="1992188" cy="544799"/>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25" name="Rectangle: Rounded Corners 24">
                <a:extLst>
                  <a:ext uri="{FF2B5EF4-FFF2-40B4-BE49-F238E27FC236}">
                    <a16:creationId xmlns:a16="http://schemas.microsoft.com/office/drawing/2014/main" id="{E512B8E6-6CDC-4613-8115-F6C83321BD7D}"/>
                  </a:ext>
                </a:extLst>
              </p:cNvPr>
              <p:cNvSpPr/>
              <p:nvPr/>
            </p:nvSpPr>
            <p:spPr>
              <a:xfrm rot="2700000">
                <a:off x="3224726" y="4381204"/>
                <a:ext cx="1476233" cy="403702"/>
              </a:xfrm>
              <a:prstGeom prst="roundRect">
                <a:avLst>
                  <a:gd name="adj" fmla="val 50000"/>
                </a:avLst>
              </a:pr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sp>
            <p:nvSpPr>
              <p:cNvPr id="26" name="Rectangle 4">
                <a:extLst>
                  <a:ext uri="{FF2B5EF4-FFF2-40B4-BE49-F238E27FC236}">
                    <a16:creationId xmlns:a16="http://schemas.microsoft.com/office/drawing/2014/main" id="{C321B1B1-058A-4CFD-BC8F-881115A13E08}"/>
                  </a:ext>
                </a:extLst>
              </p:cNvPr>
              <p:cNvSpPr/>
              <p:nvPr/>
            </p:nvSpPr>
            <p:spPr>
              <a:xfrm rot="2700000">
                <a:off x="3067232" y="4552380"/>
                <a:ext cx="1761384" cy="1293713"/>
              </a:xfrm>
              <a:custGeom>
                <a:avLst/>
                <a:gdLst>
                  <a:gd name="connsiteX0" fmla="*/ 0 w 1227058"/>
                  <a:gd name="connsiteY0" fmla="*/ 0 h 467529"/>
                  <a:gd name="connsiteX1" fmla="*/ 1227058 w 1227058"/>
                  <a:gd name="connsiteY1" fmla="*/ 0 h 467529"/>
                  <a:gd name="connsiteX2" fmla="*/ 1227058 w 1227058"/>
                  <a:gd name="connsiteY2" fmla="*/ 467529 h 467529"/>
                  <a:gd name="connsiteX3" fmla="*/ 0 w 1227058"/>
                  <a:gd name="connsiteY3" fmla="*/ 467529 h 467529"/>
                  <a:gd name="connsiteX4" fmla="*/ 0 w 1227058"/>
                  <a:gd name="connsiteY4" fmla="*/ 0 h 467529"/>
                  <a:gd name="connsiteX0" fmla="*/ 26940 w 1253998"/>
                  <a:gd name="connsiteY0" fmla="*/ 0 h 1293713"/>
                  <a:gd name="connsiteX1" fmla="*/ 1253998 w 1253998"/>
                  <a:gd name="connsiteY1" fmla="*/ 0 h 1293713"/>
                  <a:gd name="connsiteX2" fmla="*/ 1253998 w 1253998"/>
                  <a:gd name="connsiteY2" fmla="*/ 467529 h 1293713"/>
                  <a:gd name="connsiteX3" fmla="*/ 0 w 1253998"/>
                  <a:gd name="connsiteY3" fmla="*/ 1293713 h 1293713"/>
                  <a:gd name="connsiteX4" fmla="*/ 26940 w 1253998"/>
                  <a:gd name="connsiteY4" fmla="*/ 0 h 1293713"/>
                  <a:gd name="connsiteX0" fmla="*/ 26940 w 1253998"/>
                  <a:gd name="connsiteY0" fmla="*/ 0 h 1293713"/>
                  <a:gd name="connsiteX1" fmla="*/ 1253998 w 1253998"/>
                  <a:gd name="connsiteY1" fmla="*/ 0 h 1293713"/>
                  <a:gd name="connsiteX2" fmla="*/ 1253998 w 1253998"/>
                  <a:gd name="connsiteY2" fmla="*/ 467529 h 1293713"/>
                  <a:gd name="connsiteX3" fmla="*/ 0 w 1253998"/>
                  <a:gd name="connsiteY3" fmla="*/ 1293713 h 1293713"/>
                  <a:gd name="connsiteX4" fmla="*/ 26940 w 1253998"/>
                  <a:gd name="connsiteY4" fmla="*/ 0 h 1293713"/>
                  <a:gd name="connsiteX0" fmla="*/ 26940 w 1792814"/>
                  <a:gd name="connsiteY0" fmla="*/ 0 h 1293713"/>
                  <a:gd name="connsiteX1" fmla="*/ 1253998 w 1792814"/>
                  <a:gd name="connsiteY1" fmla="*/ 0 h 1293713"/>
                  <a:gd name="connsiteX2" fmla="*/ 1792814 w 1792814"/>
                  <a:gd name="connsiteY2" fmla="*/ 512429 h 1293713"/>
                  <a:gd name="connsiteX3" fmla="*/ 0 w 1792814"/>
                  <a:gd name="connsiteY3" fmla="*/ 1293713 h 1293713"/>
                  <a:gd name="connsiteX4" fmla="*/ 26940 w 1792814"/>
                  <a:gd name="connsiteY4" fmla="*/ 0 h 1293713"/>
                  <a:gd name="connsiteX0" fmla="*/ 26940 w 1792814"/>
                  <a:gd name="connsiteY0" fmla="*/ 0 h 1293713"/>
                  <a:gd name="connsiteX1" fmla="*/ 1253998 w 1792814"/>
                  <a:gd name="connsiteY1" fmla="*/ 0 h 1293713"/>
                  <a:gd name="connsiteX2" fmla="*/ 1792814 w 1792814"/>
                  <a:gd name="connsiteY2" fmla="*/ 512429 h 1293713"/>
                  <a:gd name="connsiteX3" fmla="*/ 0 w 1792814"/>
                  <a:gd name="connsiteY3" fmla="*/ 1293713 h 1293713"/>
                  <a:gd name="connsiteX4" fmla="*/ 26940 w 1792814"/>
                  <a:gd name="connsiteY4" fmla="*/ 0 h 1293713"/>
                  <a:gd name="connsiteX0" fmla="*/ 26940 w 1761384"/>
                  <a:gd name="connsiteY0" fmla="*/ 0 h 1293713"/>
                  <a:gd name="connsiteX1" fmla="*/ 1253998 w 1761384"/>
                  <a:gd name="connsiteY1" fmla="*/ 0 h 1293713"/>
                  <a:gd name="connsiteX2" fmla="*/ 1761384 w 1761384"/>
                  <a:gd name="connsiteY2" fmla="*/ 525900 h 1293713"/>
                  <a:gd name="connsiteX3" fmla="*/ 0 w 1761384"/>
                  <a:gd name="connsiteY3" fmla="*/ 1293713 h 1293713"/>
                  <a:gd name="connsiteX4" fmla="*/ 26940 w 1761384"/>
                  <a:gd name="connsiteY4" fmla="*/ 0 h 12937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61384" h="1293713">
                    <a:moveTo>
                      <a:pt x="26940" y="0"/>
                    </a:moveTo>
                    <a:lnTo>
                      <a:pt x="1253998" y="0"/>
                    </a:lnTo>
                    <a:lnTo>
                      <a:pt x="1761384" y="525900"/>
                    </a:lnTo>
                    <a:cubicBezTo>
                      <a:pt x="1002135" y="657611"/>
                      <a:pt x="884973" y="398681"/>
                      <a:pt x="0" y="1293713"/>
                    </a:cubicBezTo>
                    <a:lnTo>
                      <a:pt x="26940" y="0"/>
                    </a:lnTo>
                    <a:close/>
                  </a:path>
                </a:pathLst>
              </a:custGeom>
              <a:solidFill>
                <a:srgbClr val="FFFFFF"/>
              </a:solidFill>
            </p:spPr>
            <p:txBody>
              <a:bodyPr rot="0" spcFirstLastPara="0" vertOverflow="overflow" horzOverflow="overflow" vert="horz" wrap="square" lIns="72000" tIns="54000" rIns="72000" bIns="54000" numCol="1" spcCol="0" rtlCol="0" fromWordArt="0" anchor="t" anchorCtr="0" forceAA="0" compatLnSpc="1">
                <a:prstTxWarp prst="textNoShape">
                  <a:avLst/>
                </a:prstTxWarp>
                <a:noAutofit/>
              </a:bodyPr>
              <a:lstStyle/>
              <a:p>
                <a:pPr marL="187200" marR="0" indent="-187200" algn="l" defTabSz="685800" rtl="0" eaLnBrk="1" fontAlgn="auto" latinLnBrk="0" hangingPunct="1">
                  <a:lnSpc>
                    <a:spcPct val="90000"/>
                  </a:lnSpc>
                  <a:spcBef>
                    <a:spcPts val="375"/>
                  </a:spcBef>
                  <a:spcAft>
                    <a:spcPts val="0"/>
                  </a:spcAft>
                  <a:buClr>
                    <a:schemeClr val="accent1"/>
                  </a:buClr>
                  <a:buSzTx/>
                  <a:buFont typeface="Wingdings" panose="05000000000000000000" pitchFamily="2" charset="2"/>
                  <a:buChar char="§"/>
                  <a:tabLst/>
                </a:pPr>
                <a:endParaRPr kumimoji="0" lang="nl-NL" sz="1400" b="0" i="0" u="none" strike="noStrike" kern="1200" cap="none" spc="0" normalizeH="0" baseline="0" noProof="0" dirty="0" err="1">
                  <a:ln>
                    <a:noFill/>
                  </a:ln>
                  <a:solidFill>
                    <a:srgbClr val="000000"/>
                  </a:solidFill>
                  <a:effectLst/>
                  <a:uLnTx/>
                  <a:uFillTx/>
                  <a:latin typeface="Corbel" panose="020B0503020204020204" pitchFamily="34" charset="0"/>
                  <a:ea typeface="+mn-ea"/>
                  <a:cs typeface="+mn-cs"/>
                </a:endParaRPr>
              </a:p>
            </p:txBody>
          </p:sp>
        </p:grpSp>
      </p:grpSp>
      <p:sp>
        <p:nvSpPr>
          <p:cNvPr id="544" name="Google Shape;544;p9"/>
          <p:cNvSpPr/>
          <p:nvPr/>
        </p:nvSpPr>
        <p:spPr>
          <a:xfrm>
            <a:off x="-1419486" y="-1776757"/>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sp>
        <p:nvSpPr>
          <p:cNvPr id="35" name="Google Shape;542;p9">
            <a:extLst>
              <a:ext uri="{FF2B5EF4-FFF2-40B4-BE49-F238E27FC236}">
                <a16:creationId xmlns:a16="http://schemas.microsoft.com/office/drawing/2014/main" id="{C2566826-CD6D-4F72-9093-F56336D84DC9}"/>
              </a:ext>
            </a:extLst>
          </p:cNvPr>
          <p:cNvSpPr/>
          <p:nvPr/>
        </p:nvSpPr>
        <p:spPr>
          <a:xfrm>
            <a:off x="2498581" y="1810977"/>
            <a:ext cx="7185463" cy="4350059"/>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38100" cap="flat" cmpd="sng">
            <a:solidFill>
              <a:srgbClr val="FFFFFF"/>
            </a:solidFill>
            <a:prstDash val="solid"/>
            <a:round/>
            <a:headEnd type="none" w="sm" len="sm"/>
            <a:tailEnd type="none" w="sm" len="sm"/>
          </a:ln>
          <a:extLst>
            <a:ext uri="{909E8E84-426E-40DD-AFC4-6F175D3DCCD1}">
              <a14:hiddenFill xmlns:a14="http://schemas.microsoft.com/office/drawing/2010/main">
                <a:solidFill>
                  <a:schemeClr val="bg1"/>
                </a:soli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Tree>
    <p:extLst>
      <p:ext uri="{BB962C8B-B14F-4D97-AF65-F5344CB8AC3E}">
        <p14:creationId xmlns:p14="http://schemas.microsoft.com/office/powerpoint/2010/main" val="411879445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2901778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599652" y="-1806761"/>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3</a:t>
            </a:fld>
            <a:endParaRPr lang="nl-NL" dirty="0">
              <a:sym typeface="Corbel" panose="020B0503020204020204" pitchFamily="34" charset="0"/>
            </a:endParaRPr>
          </a:p>
        </p:txBody>
      </p:sp>
      <p:grpSp>
        <p:nvGrpSpPr>
          <p:cNvPr id="5" name="Group 4">
            <a:extLst>
              <a:ext uri="{FF2B5EF4-FFF2-40B4-BE49-F238E27FC236}">
                <a16:creationId xmlns:a16="http://schemas.microsoft.com/office/drawing/2014/main" id="{117C5D2D-1917-4D04-8369-D8F788A0DC06}"/>
              </a:ext>
            </a:extLst>
          </p:cNvPr>
          <p:cNvGrpSpPr/>
          <p:nvPr/>
        </p:nvGrpSpPr>
        <p:grpSpPr>
          <a:xfrm>
            <a:off x="2147214" y="1665984"/>
            <a:ext cx="7484164" cy="4590287"/>
            <a:chOff x="2147214" y="1665984"/>
            <a:chExt cx="7484164" cy="4590287"/>
          </a:xfrm>
        </p:grpSpPr>
        <p:sp>
          <p:nvSpPr>
            <p:cNvPr id="542" name="Google Shape;542;p9"/>
            <p:cNvSpPr/>
            <p:nvPr/>
          </p:nvSpPr>
          <p:spPr>
            <a:xfrm>
              <a:off x="2147214" y="1665984"/>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38000">
                  <a:srgbClr val="22777B"/>
                </a:gs>
                <a:gs pos="100000">
                  <a:schemeClr val="accent4">
                    <a:lumMod val="20000"/>
                    <a:lumOff val="80000"/>
                  </a:schemeClr>
                </a:gs>
              </a:gsLst>
              <a:path path="circle">
                <a:fillToRect l="50000" t="50000" r="50000" b="50000"/>
              </a:path>
              <a:tileRect/>
            </a:gradFill>
            <a:ln w="114300" cap="flat" cmpd="sng">
              <a:noFill/>
              <a:prstDash val="solid"/>
              <a:round/>
              <a:headEnd type="none" w="sm" len="sm"/>
              <a:tailEnd type="none" w="sm" len="sm"/>
            </a:ln>
          </p:spPr>
          <p:txBody>
            <a:bodyPr spcFirstLastPara="1" wrap="square" lIns="0" tIns="0" rIns="0" bIns="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8749954" y="2133133"/>
              <a:ext cx="287720" cy="287720"/>
            </a:xfrm>
            <a:prstGeom prst="rect">
              <a:avLst/>
            </a:prstGeom>
          </p:spPr>
        </p:pic>
        <p:pic>
          <p:nvPicPr>
            <p:cNvPr id="11" name="Picture 10" descr="A person standing in front of a brick wall&#10;&#10;Description automatically generated">
              <a:extLst>
                <a:ext uri="{FF2B5EF4-FFF2-40B4-BE49-F238E27FC236}">
                  <a16:creationId xmlns:a16="http://schemas.microsoft.com/office/drawing/2014/main" id="{834BD9E3-1FE4-4E15-A8D4-10854699166C}"/>
                </a:ext>
              </a:extLst>
            </p:cNvPr>
            <p:cNvPicPr>
              <a:picLocks/>
            </p:cNvPicPr>
            <p:nvPr/>
          </p:nvPicPr>
          <p:blipFill rotWithShape="1">
            <a:blip r:embed="rId7" cstate="hqprint">
              <a:grayscl/>
              <a:extLst>
                <a:ext uri="{28A0092B-C50C-407E-A947-70E740481C1C}">
                  <a14:useLocalDpi xmlns:a14="http://schemas.microsoft.com/office/drawing/2010/main"/>
                </a:ext>
              </a:extLst>
            </a:blip>
            <a:srcRect/>
            <a:stretch/>
          </p:blipFill>
          <p:spPr>
            <a:xfrm>
              <a:off x="6558969" y="4679694"/>
              <a:ext cx="1152000" cy="1152000"/>
            </a:xfrm>
            <a:prstGeom prst="rect">
              <a:avLst/>
            </a:prstGeom>
            <a:ln w="28575">
              <a:noFill/>
            </a:ln>
            <a:extLst>
              <a:ext uri="{91240B29-F687-4F45-9708-019B960494DF}">
                <a14:hiddenLine xmlns:a14="http://schemas.microsoft.com/office/drawing/2010/main" w="28575">
                  <a:solidFill>
                    <a:srgbClr val="FFFFFF"/>
                  </a:solidFill>
                </a14:hiddenLine>
              </a:ext>
            </a:extLst>
          </p:spPr>
        </p:pic>
        <p:pic>
          <p:nvPicPr>
            <p:cNvPr id="12" name="Picture 11" descr="A person in a suit standing in front of a brick wall&#10;&#10;Description automatically generated">
              <a:extLst>
                <a:ext uri="{FF2B5EF4-FFF2-40B4-BE49-F238E27FC236}">
                  <a16:creationId xmlns:a16="http://schemas.microsoft.com/office/drawing/2014/main" id="{AA96B722-FB9B-4505-A4EA-3A512AC74FBE}"/>
                </a:ext>
              </a:extLst>
            </p:cNvPr>
            <p:cNvPicPr>
              <a:picLocks/>
            </p:cNvPicPr>
            <p:nvPr/>
          </p:nvPicPr>
          <p:blipFill rotWithShape="1">
            <a:blip r:embed="rId8" cstate="hqprint">
              <a:grayscl/>
              <a:extLst>
                <a:ext uri="{28A0092B-C50C-407E-A947-70E740481C1C}">
                  <a14:useLocalDpi xmlns:a14="http://schemas.microsoft.com/office/drawing/2010/main"/>
                </a:ext>
              </a:extLst>
            </a:blip>
            <a:srcRect/>
            <a:stretch/>
          </p:blipFill>
          <p:spPr>
            <a:xfrm>
              <a:off x="5159026" y="4679694"/>
              <a:ext cx="1152000" cy="1152000"/>
            </a:xfrm>
            <a:prstGeom prst="rect">
              <a:avLst/>
            </a:prstGeom>
            <a:ln w="28575">
              <a:noFill/>
            </a:ln>
            <a:extLst>
              <a:ext uri="{91240B29-F687-4F45-9708-019B960494DF}">
                <a14:hiddenLine xmlns:a14="http://schemas.microsoft.com/office/drawing/2010/main" w="28575">
                  <a:solidFill>
                    <a:srgbClr val="FFFFFF"/>
                  </a:solidFill>
                </a14:hiddenLine>
              </a:ext>
            </a:extLst>
          </p:spPr>
        </p:pic>
        <p:pic>
          <p:nvPicPr>
            <p:cNvPr id="15" name="Picture 14" descr="A person standing in front of a brick building&#10;&#10;Description automatically generated">
              <a:extLst>
                <a:ext uri="{FF2B5EF4-FFF2-40B4-BE49-F238E27FC236}">
                  <a16:creationId xmlns:a16="http://schemas.microsoft.com/office/drawing/2014/main" id="{7E315B0B-0F01-4DCC-B2D3-83BFA35646F8}"/>
                </a:ext>
              </a:extLst>
            </p:cNvPr>
            <p:cNvPicPr>
              <a:picLocks/>
            </p:cNvPicPr>
            <p:nvPr/>
          </p:nvPicPr>
          <p:blipFill rotWithShape="1">
            <a:blip r:embed="rId9" cstate="hqprint">
              <a:grayscl/>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a:stretch/>
          </p:blipFill>
          <p:spPr>
            <a:xfrm>
              <a:off x="3759082" y="3385127"/>
              <a:ext cx="1152000" cy="1152000"/>
            </a:xfrm>
            <a:prstGeom prst="rect">
              <a:avLst/>
            </a:prstGeom>
            <a:ln w="28575">
              <a:noFill/>
            </a:ln>
            <a:extLst>
              <a:ext uri="{91240B29-F687-4F45-9708-019B960494DF}">
                <a14:hiddenLine xmlns:a14="http://schemas.microsoft.com/office/drawing/2010/main" w="28575">
                  <a:solidFill>
                    <a:srgbClr val="FFFFFF"/>
                  </a:solidFill>
                </a14:hiddenLine>
              </a:ext>
            </a:extLst>
          </p:spPr>
        </p:pic>
        <p:pic>
          <p:nvPicPr>
            <p:cNvPr id="17" name="Picture 16" descr="A picture containing outdoor, person, brick, standing&#10;&#10;Description automatically generated">
              <a:extLst>
                <a:ext uri="{FF2B5EF4-FFF2-40B4-BE49-F238E27FC236}">
                  <a16:creationId xmlns:a16="http://schemas.microsoft.com/office/drawing/2014/main" id="{2A0944A6-8368-47D2-9BBB-7D7F7E37CF2C}"/>
                </a:ext>
              </a:extLst>
            </p:cNvPr>
            <p:cNvPicPr>
              <a:picLocks/>
            </p:cNvPicPr>
            <p:nvPr/>
          </p:nvPicPr>
          <p:blipFill rotWithShape="1">
            <a:blip r:embed="rId11" cstate="hqprint">
              <a:grayscl/>
              <a:extLst>
                <a:ext uri="{BEBA8EAE-BF5A-486C-A8C5-ECC9F3942E4B}">
                  <a14:imgProps xmlns:a14="http://schemas.microsoft.com/office/drawing/2010/main">
                    <a14:imgLayer r:embed="rId12">
                      <a14:imgEffect>
                        <a14:saturation sat="0"/>
                      </a14:imgEffect>
                    </a14:imgLayer>
                  </a14:imgProps>
                </a:ext>
                <a:ext uri="{28A0092B-C50C-407E-A947-70E740481C1C}">
                  <a14:useLocalDpi xmlns:a14="http://schemas.microsoft.com/office/drawing/2010/main"/>
                </a:ext>
              </a:extLst>
            </a:blip>
            <a:srcRect/>
            <a:stretch/>
          </p:blipFill>
          <p:spPr>
            <a:xfrm>
              <a:off x="3759082" y="4679694"/>
              <a:ext cx="1152000" cy="1152000"/>
            </a:xfrm>
            <a:prstGeom prst="rect">
              <a:avLst/>
            </a:prstGeom>
            <a:ln w="28575">
              <a:noFill/>
            </a:ln>
            <a:extLst>
              <a:ext uri="{91240B29-F687-4F45-9708-019B960494DF}">
                <a14:hiddenLine xmlns:a14="http://schemas.microsoft.com/office/drawing/2010/main" w="28575">
                  <a:solidFill>
                    <a:srgbClr val="FFFFFF"/>
                  </a:solidFill>
                </a14:hiddenLine>
              </a:ext>
            </a:extLst>
          </p:spPr>
        </p:pic>
        <p:pic>
          <p:nvPicPr>
            <p:cNvPr id="18" name="Picture 17">
              <a:extLst>
                <a:ext uri="{FF2B5EF4-FFF2-40B4-BE49-F238E27FC236}">
                  <a16:creationId xmlns:a16="http://schemas.microsoft.com/office/drawing/2014/main" id="{99041F02-15C6-48F8-BFA4-4897561D3E7D}"/>
                </a:ext>
              </a:extLst>
            </p:cNvPr>
            <p:cNvPicPr>
              <a:picLocks/>
            </p:cNvPicPr>
            <p:nvPr/>
          </p:nvPicPr>
          <p:blipFill rotWithShape="1">
            <a:blip r:embed="rId13" cstate="hqprint">
              <a:grayscl/>
              <a:extLst>
                <a:ext uri="{28A0092B-C50C-407E-A947-70E740481C1C}">
                  <a14:useLocalDpi xmlns:a14="http://schemas.microsoft.com/office/drawing/2010/main"/>
                </a:ext>
              </a:extLst>
            </a:blip>
            <a:srcRect/>
            <a:stretch/>
          </p:blipFill>
          <p:spPr>
            <a:xfrm>
              <a:off x="2359138" y="3385127"/>
              <a:ext cx="1152000" cy="1152000"/>
            </a:xfrm>
            <a:prstGeom prst="rect">
              <a:avLst/>
            </a:prstGeom>
            <a:ln w="28575">
              <a:noFill/>
            </a:ln>
            <a:extLst>
              <a:ext uri="{91240B29-F687-4F45-9708-019B960494DF}">
                <a14:hiddenLine xmlns:a14="http://schemas.microsoft.com/office/drawing/2010/main" w="28575">
                  <a:solidFill>
                    <a:srgbClr val="FFFFFF"/>
                  </a:solidFill>
                </a14:hiddenLine>
              </a:ext>
            </a:extLst>
          </p:spPr>
        </p:pic>
        <p:pic>
          <p:nvPicPr>
            <p:cNvPr id="20" name="Picture 19">
              <a:extLst>
                <a:ext uri="{FF2B5EF4-FFF2-40B4-BE49-F238E27FC236}">
                  <a16:creationId xmlns:a16="http://schemas.microsoft.com/office/drawing/2014/main" id="{74400253-1AA7-45F8-B773-406B6B885FB4}"/>
                </a:ext>
              </a:extLst>
            </p:cNvPr>
            <p:cNvPicPr>
              <a:picLocks/>
            </p:cNvPicPr>
            <p:nvPr/>
          </p:nvPicPr>
          <p:blipFill>
            <a:blip r:embed="rId14" cstate="hqprint">
              <a:extLst>
                <a:ext uri="{28A0092B-C50C-407E-A947-70E740481C1C}">
                  <a14:useLocalDpi xmlns:a14="http://schemas.microsoft.com/office/drawing/2010/main"/>
                </a:ext>
              </a:extLst>
            </a:blip>
            <a:srcRect/>
            <a:stretch/>
          </p:blipFill>
          <p:spPr>
            <a:xfrm>
              <a:off x="2359138" y="2090560"/>
              <a:ext cx="1152000" cy="1152000"/>
            </a:xfrm>
            <a:prstGeom prst="rect">
              <a:avLst/>
            </a:prstGeom>
            <a:ln w="28575">
              <a:noFill/>
            </a:ln>
            <a:extLst>
              <a:ext uri="{91240B29-F687-4F45-9708-019B960494DF}">
                <a14:hiddenLine xmlns:a14="http://schemas.microsoft.com/office/drawing/2010/main" w="28575">
                  <a:solidFill>
                    <a:srgbClr val="FFFFFF"/>
                  </a:solidFill>
                </a14:hiddenLine>
              </a:ext>
            </a:extLst>
          </p:spPr>
        </p:pic>
        <p:pic>
          <p:nvPicPr>
            <p:cNvPr id="21" name="Picture 20" descr="A person standing in front of a brick wall&#10;&#10;Description automatically generated">
              <a:extLst>
                <a:ext uri="{FF2B5EF4-FFF2-40B4-BE49-F238E27FC236}">
                  <a16:creationId xmlns:a16="http://schemas.microsoft.com/office/drawing/2014/main" id="{893D3771-F197-4C61-91F3-BA3450598FBE}"/>
                </a:ext>
              </a:extLst>
            </p:cNvPr>
            <p:cNvPicPr>
              <a:picLocks/>
            </p:cNvPicPr>
            <p:nvPr/>
          </p:nvPicPr>
          <p:blipFill rotWithShape="1">
            <a:blip r:embed="rId15" cstate="hqprint">
              <a:grayscl/>
              <a:extLst>
                <a:ext uri="{BEBA8EAE-BF5A-486C-A8C5-ECC9F3942E4B}">
                  <a14:imgProps xmlns:a14="http://schemas.microsoft.com/office/drawing/2010/main">
                    <a14:imgLayer r:embed="rId16">
                      <a14:imgEffect>
                        <a14:brightnessContrast bright="6000" contrast="-7000"/>
                      </a14:imgEffect>
                    </a14:imgLayer>
                  </a14:imgProps>
                </a:ext>
                <a:ext uri="{28A0092B-C50C-407E-A947-70E740481C1C}">
                  <a14:useLocalDpi xmlns:a14="http://schemas.microsoft.com/office/drawing/2010/main"/>
                </a:ext>
              </a:extLst>
            </a:blip>
            <a:srcRect/>
            <a:stretch/>
          </p:blipFill>
          <p:spPr>
            <a:xfrm>
              <a:off x="2359138" y="4679694"/>
              <a:ext cx="1152000" cy="1152000"/>
            </a:xfrm>
            <a:prstGeom prst="rect">
              <a:avLst/>
            </a:prstGeom>
            <a:ln w="28575">
              <a:noFill/>
            </a:ln>
            <a:extLst>
              <a:ext uri="{91240B29-F687-4F45-9708-019B960494DF}">
                <a14:hiddenLine xmlns:a14="http://schemas.microsoft.com/office/drawing/2010/main" w="28575">
                  <a:solidFill>
                    <a:srgbClr val="FFFFFF"/>
                  </a:solidFill>
                </a14:hiddenLine>
              </a:ext>
            </a:extLst>
          </p:spPr>
        </p:pic>
        <p:pic>
          <p:nvPicPr>
            <p:cNvPr id="24" name="Picture 23" descr="Logo&#10;&#10;Description automatically generated">
              <a:extLst>
                <a:ext uri="{FF2B5EF4-FFF2-40B4-BE49-F238E27FC236}">
                  <a16:creationId xmlns:a16="http://schemas.microsoft.com/office/drawing/2014/main" id="{8DF0D1CB-505D-43D9-9716-96389FD4BEB0}"/>
                </a:ext>
              </a:extLst>
            </p:cNvPr>
            <p:cNvPicPr>
              <a:picLocks noChangeAspect="1"/>
            </p:cNvPicPr>
            <p:nvPr/>
          </p:nvPicPr>
          <p:blipFill>
            <a:blip r:embed="rId1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7919442" y="2177043"/>
              <a:ext cx="761422" cy="199901"/>
            </a:xfrm>
            <a:prstGeom prst="rect">
              <a:avLst/>
            </a:prstGeom>
          </p:spPr>
        </p:pic>
        <p:sp>
          <p:nvSpPr>
            <p:cNvPr id="16" name="Google Shape;545;p9">
              <a:extLst>
                <a:ext uri="{FF2B5EF4-FFF2-40B4-BE49-F238E27FC236}">
                  <a16:creationId xmlns:a16="http://schemas.microsoft.com/office/drawing/2014/main" id="{8CC42EBB-39C7-4CE3-A015-939676939AC8}"/>
                </a:ext>
              </a:extLst>
            </p:cNvPr>
            <p:cNvSpPr/>
            <p:nvPr/>
          </p:nvSpPr>
          <p:spPr>
            <a:xfrm>
              <a:off x="5123006" y="2177044"/>
              <a:ext cx="4169849" cy="2502650"/>
            </a:xfrm>
            <a:prstGeom prst="rect">
              <a:avLst/>
            </a:prstGeom>
            <a:noFill/>
            <a:ln w="38100">
              <a:noFill/>
            </a:ln>
            <a:extLst>
              <a:ext uri="{909E8E84-426E-40DD-AFC4-6F175D3DCCD1}">
                <a14:hiddenFill xmlns:a14="http://schemas.microsoft.com/office/drawing/2010/main">
                  <a:solidFill>
                    <a:schemeClr val="tx2">
                      <a:alpha val="50000"/>
                    </a:schemeClr>
                  </a:solidFill>
                </a14:hiddenFill>
              </a:ext>
            </a:extLst>
          </p:spPr>
          <p:txBody>
            <a:bodyPr spcFirstLastPara="1" wrap="square" lIns="72000" tIns="45700" rIns="72000" bIns="45700" anchor="ctr" anchorCtr="0">
              <a:noAutofit/>
            </a:bodyPr>
            <a:lstStyle/>
            <a:p>
              <a:pPr marL="0" marR="0" lvl="0" indent="0">
                <a:lnSpc>
                  <a:spcPct val="90000"/>
                </a:lnSpc>
                <a:spcBef>
                  <a:spcPts val="0"/>
                </a:spcBef>
                <a:spcAft>
                  <a:spcPts val="0"/>
                </a:spcAft>
                <a:buClr>
                  <a:srgbClr val="FF0000"/>
                </a:buClr>
                <a:buSzPts val="1400"/>
                <a:buFont typeface="Noto Sans Symbols"/>
                <a:buNone/>
              </a:pPr>
              <a:r>
                <a:rPr lang="nl-NL" sz="3800" b="1" dirty="0">
                  <a:solidFill>
                    <a:srgbClr val="FFFFFF"/>
                  </a:solidFill>
                  <a:latin typeface="Garamond" panose="02020404030301010803" pitchFamily="18" charset="0"/>
                  <a:sym typeface="Corbel" panose="020B0503020204020204" pitchFamily="34" charset="0"/>
                </a:rPr>
                <a:t>Kennismaken met </a:t>
              </a:r>
              <a:br>
                <a:rPr lang="nl-NL" sz="3800" b="1" dirty="0">
                  <a:solidFill>
                    <a:srgbClr val="FFFFFF"/>
                  </a:solidFill>
                  <a:latin typeface="Garamond" panose="02020404030301010803" pitchFamily="18" charset="0"/>
                  <a:sym typeface="Corbel" panose="020B0503020204020204" pitchFamily="34" charset="0"/>
                </a:rPr>
              </a:br>
              <a:r>
                <a:rPr lang="nl-NL" sz="3800" b="1" dirty="0">
                  <a:solidFill>
                    <a:srgbClr val="FFFFFF"/>
                  </a:solidFill>
                  <a:latin typeface="Garamond" panose="02020404030301010803" pitchFamily="18" charset="0"/>
                  <a:sym typeface="Corbel" panose="020B0503020204020204" pitchFamily="34" charset="0"/>
                </a:rPr>
                <a:t>It’s Public</a:t>
              </a:r>
              <a:br>
                <a:rPr lang="nl-NL" sz="3000" b="1" dirty="0">
                  <a:solidFill>
                    <a:srgbClr val="FFFFFF"/>
                  </a:solidFill>
                  <a:latin typeface="Garamond" panose="02020404030301010803" pitchFamily="18" charset="0"/>
                  <a:sym typeface="Corbel" panose="020B0503020204020204" pitchFamily="34" charset="0"/>
                </a:rPr>
              </a:br>
              <a:r>
                <a:rPr lang="nl-NL" sz="1600" b="1" i="1" dirty="0">
                  <a:solidFill>
                    <a:srgbClr val="FFFFFF"/>
                  </a:solidFill>
                  <a:latin typeface="+mj-lt"/>
                  <a:sym typeface="Corbel" panose="020B0503020204020204" pitchFamily="34" charset="0"/>
                </a:rPr>
                <a:t>Kijk hier het kennismakingsevenement van 4 februari 2022 terug</a:t>
              </a:r>
              <a:endParaRPr lang="nl-NL" sz="3000" b="1" i="1" dirty="0">
                <a:solidFill>
                  <a:srgbClr val="FFFFFF"/>
                </a:solidFill>
                <a:sym typeface="Corbel" panose="020B0503020204020204" pitchFamily="34" charset="0"/>
              </a:endParaRPr>
            </a:p>
          </p:txBody>
        </p:sp>
      </p:grpSp>
    </p:spTree>
    <p:extLst>
      <p:ext uri="{BB962C8B-B14F-4D97-AF65-F5344CB8AC3E}">
        <p14:creationId xmlns:p14="http://schemas.microsoft.com/office/powerpoint/2010/main" val="402848806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01B3BE0-241F-4430-ADEF-1DD307B20658}"/>
              </a:ext>
            </a:extLst>
          </p:cNvPr>
          <p:cNvGraphicFramePr>
            <a:graphicFrameLocks noChangeAspect="1"/>
          </p:cNvGraphicFramePr>
          <p:nvPr>
            <p:custDataLst>
              <p:tags r:id="rId1"/>
            </p:custDataLst>
            <p:extLst>
              <p:ext uri="{D42A27DB-BD31-4B8C-83A1-F6EECF244321}">
                <p14:modId xmlns:p14="http://schemas.microsoft.com/office/powerpoint/2010/main" val="201740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9B57136E-731D-480C-A0F9-14478CC836E3}"/>
              </a:ext>
            </a:extLst>
          </p:cNvPr>
          <p:cNvSpPr>
            <a:spLocks noGrp="1"/>
          </p:cNvSpPr>
          <p:nvPr>
            <p:ph type="ftr" idx="11"/>
          </p:nvPr>
        </p:nvSpPr>
        <p:spPr/>
        <p:txBody>
          <a:bodyPr/>
          <a:lstStyle/>
          <a:p>
            <a:endParaRPr lang="nl-NL" dirty="0"/>
          </a:p>
        </p:txBody>
      </p:sp>
      <p:sp>
        <p:nvSpPr>
          <p:cNvPr id="3" name="Slide Number Placeholder 2">
            <a:extLst>
              <a:ext uri="{FF2B5EF4-FFF2-40B4-BE49-F238E27FC236}">
                <a16:creationId xmlns:a16="http://schemas.microsoft.com/office/drawing/2014/main" id="{C89BD9E1-EED0-43A3-A2DC-6B7CC4938940}"/>
              </a:ext>
            </a:extLst>
          </p:cNvPr>
          <p:cNvSpPr>
            <a:spLocks noGrp="1"/>
          </p:cNvSpPr>
          <p:nvPr>
            <p:ph type="sldNum" idx="12"/>
          </p:nvPr>
        </p:nvSpPr>
        <p:spPr/>
        <p:txBody>
          <a:bodyPr/>
          <a:lstStyle/>
          <a:p>
            <a:fld id="{00000000-1234-1234-1234-123412341234}" type="slidenum">
              <a:rPr lang="nl-NL" smtClean="0"/>
              <a:pPr/>
              <a:t>34</a:t>
            </a:fld>
            <a:endParaRPr lang="nl-NL" dirty="0"/>
          </a:p>
        </p:txBody>
      </p:sp>
      <p:sp>
        <p:nvSpPr>
          <p:cNvPr id="8" name="Rectangle 7">
            <a:extLst>
              <a:ext uri="{FF2B5EF4-FFF2-40B4-BE49-F238E27FC236}">
                <a16:creationId xmlns:a16="http://schemas.microsoft.com/office/drawing/2014/main" id="{58BF3688-3E0E-407E-AA6D-E4CC92D58730}"/>
              </a:ext>
            </a:extLst>
          </p:cNvPr>
          <p:cNvSpPr>
            <a:spLocks noChangeAspect="1"/>
          </p:cNvSpPr>
          <p:nvPr/>
        </p:nvSpPr>
        <p:spPr>
          <a:xfrm>
            <a:off x="4657622" y="453000"/>
            <a:ext cx="3348000" cy="5952000"/>
          </a:xfrm>
          <a:prstGeom prst="rect">
            <a:avLst/>
          </a:prstGeom>
          <a:solidFill>
            <a:schemeClr val="accent2"/>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endParaRPr lang="nl-NL" dirty="0"/>
          </a:p>
        </p:txBody>
      </p:sp>
      <p:pic>
        <p:nvPicPr>
          <p:cNvPr id="9" name="Picture 8">
            <a:extLst>
              <a:ext uri="{FF2B5EF4-FFF2-40B4-BE49-F238E27FC236}">
                <a16:creationId xmlns:a16="http://schemas.microsoft.com/office/drawing/2014/main" id="{06EA7A38-002B-46A2-A5D0-73003FCF5339}"/>
              </a:ext>
            </a:extLst>
          </p:cNvPr>
          <p:cNvPicPr>
            <a:picLocks noChangeAspect="1"/>
          </p:cNvPicPr>
          <p:nvPr/>
        </p:nvPicPr>
        <p:blipFill rotWithShape="1">
          <a:blip r:embed="rId5" cstate="hqprint">
            <a:extLst>
              <a:ext uri="{28A0092B-C50C-407E-A947-70E740481C1C}">
                <a14:useLocalDpi xmlns:a14="http://schemas.microsoft.com/office/drawing/2010/main"/>
              </a:ext>
            </a:extLst>
          </a:blip>
          <a:srcRect/>
          <a:stretch/>
        </p:blipFill>
        <p:spPr>
          <a:xfrm flipH="1">
            <a:off x="5638188" y="2504028"/>
            <a:ext cx="2344581" cy="1908000"/>
          </a:xfrm>
          <a:prstGeom prst="rect">
            <a:avLst/>
          </a:prstGeom>
          <a:ln w="76200">
            <a:solidFill>
              <a:srgbClr val="FFFFFF"/>
            </a:solidFill>
          </a:ln>
        </p:spPr>
      </p:pic>
      <p:pic>
        <p:nvPicPr>
          <p:cNvPr id="10" name="Picture 9" descr="A large brick building&#10;&#10;Description automatically generated">
            <a:extLst>
              <a:ext uri="{FF2B5EF4-FFF2-40B4-BE49-F238E27FC236}">
                <a16:creationId xmlns:a16="http://schemas.microsoft.com/office/drawing/2014/main" id="{FC3DDA8B-A305-4D33-96EC-D686F00AA924}"/>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4283783" y="4497000"/>
            <a:ext cx="3698986" cy="1908000"/>
          </a:xfrm>
          <a:prstGeom prst="rect">
            <a:avLst/>
          </a:prstGeom>
          <a:ln w="76200">
            <a:solidFill>
              <a:srgbClr val="FFFFFF"/>
            </a:solidFill>
          </a:ln>
        </p:spPr>
      </p:pic>
      <p:pic>
        <p:nvPicPr>
          <p:cNvPr id="11" name="Picture 10">
            <a:extLst>
              <a:ext uri="{FF2B5EF4-FFF2-40B4-BE49-F238E27FC236}">
                <a16:creationId xmlns:a16="http://schemas.microsoft.com/office/drawing/2014/main" id="{7E4FC665-D026-44E0-97FF-F08CF7E80C1F}"/>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a:stretch/>
        </p:blipFill>
        <p:spPr>
          <a:xfrm flipH="1">
            <a:off x="5120770" y="511057"/>
            <a:ext cx="2861999" cy="1908000"/>
          </a:xfrm>
          <a:prstGeom prst="rect">
            <a:avLst/>
          </a:prstGeom>
          <a:ln w="76200">
            <a:solidFill>
              <a:srgbClr val="FFFFFF"/>
            </a:solidFill>
          </a:ln>
        </p:spPr>
      </p:pic>
      <p:sp>
        <p:nvSpPr>
          <p:cNvPr id="12" name="Rectangle 11">
            <a:extLst>
              <a:ext uri="{FF2B5EF4-FFF2-40B4-BE49-F238E27FC236}">
                <a16:creationId xmlns:a16="http://schemas.microsoft.com/office/drawing/2014/main" id="{CC5BCEB2-6B0B-4B46-BFC2-7E43951DF9A2}"/>
              </a:ext>
            </a:extLst>
          </p:cNvPr>
          <p:cNvSpPr>
            <a:spLocks noChangeAspect="1"/>
          </p:cNvSpPr>
          <p:nvPr/>
        </p:nvSpPr>
        <p:spPr>
          <a:xfrm rot="900000">
            <a:off x="190082" y="-562074"/>
            <a:ext cx="6520939" cy="6516000"/>
          </a:xfrm>
          <a:prstGeom prst="rect">
            <a:avLst/>
          </a:prstGeom>
          <a:solidFill>
            <a:srgbClr val="348084"/>
          </a:solidFill>
          <a:ln w="57150">
            <a:solidFill>
              <a:schemeClr val="bg1"/>
            </a:solidFill>
          </a:ln>
        </p:spPr>
        <p:txBody>
          <a:bodyPr lIns="72000" rIns="72000" rtlCol="0" anchor="ctr">
            <a:noAutofit/>
          </a:bodyPr>
          <a:lstStyle/>
          <a:p>
            <a:pPr algn="ctr" defTabSz="685800" fontAlgn="auto">
              <a:lnSpc>
                <a:spcPct val="90000"/>
              </a:lnSpc>
              <a:spcBef>
                <a:spcPts val="750"/>
              </a:spcBef>
              <a:spcAft>
                <a:spcPts val="0"/>
              </a:spcAft>
              <a:buClr>
                <a:srgbClr val="FF0000"/>
              </a:buClr>
            </a:pPr>
            <a:endParaRPr lang="nl-NL" sz="2800" dirty="0">
              <a:solidFill>
                <a:srgbClr val="000000"/>
              </a:solidFill>
              <a:latin typeface="Corbel" panose="020B0503020204020204" pitchFamily="34" charset="0"/>
            </a:endParaRPr>
          </a:p>
        </p:txBody>
      </p:sp>
      <p:sp>
        <p:nvSpPr>
          <p:cNvPr id="13" name="Freeform: Shape 12">
            <a:extLst>
              <a:ext uri="{FF2B5EF4-FFF2-40B4-BE49-F238E27FC236}">
                <a16:creationId xmlns:a16="http://schemas.microsoft.com/office/drawing/2014/main" id="{A792C40B-616B-4355-862D-BD26CC4CA554}"/>
              </a:ext>
            </a:extLst>
          </p:cNvPr>
          <p:cNvSpPr>
            <a:spLocks/>
          </p:cNvSpPr>
          <p:nvPr/>
        </p:nvSpPr>
        <p:spPr>
          <a:xfrm>
            <a:off x="4657622" y="468114"/>
            <a:ext cx="3348000" cy="5950800"/>
          </a:xfrm>
          <a:custGeom>
            <a:avLst/>
            <a:gdLst>
              <a:gd name="connsiteX0" fmla="*/ 0 w 7484164"/>
              <a:gd name="connsiteY0" fmla="*/ 0 h 4590287"/>
              <a:gd name="connsiteX1" fmla="*/ 7484164 w 7484164"/>
              <a:gd name="connsiteY1" fmla="*/ 0 h 4590287"/>
              <a:gd name="connsiteX2" fmla="*/ 7484164 w 7484164"/>
              <a:gd name="connsiteY2" fmla="*/ 4590287 h 4590287"/>
              <a:gd name="connsiteX3" fmla="*/ 0 w 7484164"/>
              <a:gd name="connsiteY3" fmla="*/ 4590287 h 4590287"/>
              <a:gd name="connsiteX4" fmla="*/ 0 w 7484164"/>
              <a:gd name="connsiteY4" fmla="*/ 0 h 45902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84164" h="4590287">
                <a:moveTo>
                  <a:pt x="0" y="0"/>
                </a:moveTo>
                <a:lnTo>
                  <a:pt x="7484164" y="0"/>
                </a:lnTo>
                <a:lnTo>
                  <a:pt x="7484164" y="4590287"/>
                </a:lnTo>
                <a:lnTo>
                  <a:pt x="0" y="4590287"/>
                </a:lnTo>
                <a:lnTo>
                  <a:pt x="0" y="0"/>
                </a:lnTo>
                <a:close/>
              </a:path>
            </a:pathLst>
          </a:custGeom>
          <a:noFill/>
          <a:ln w="57150">
            <a:solidFill>
              <a:schemeClr val="bg1"/>
            </a:solidFill>
          </a:ln>
        </p:spPr>
        <p:txBody>
          <a:bodyPr wrap="square" lIns="72000" rIns="72000" rtlCol="0" anchor="t">
            <a:noAutofit/>
          </a:bodyPr>
          <a:lstStyle/>
          <a:p>
            <a:pPr defTabSz="685800" fontAlgn="auto">
              <a:lnSpc>
                <a:spcPct val="90000"/>
              </a:lnSpc>
              <a:spcBef>
                <a:spcPts val="750"/>
              </a:spcBef>
              <a:spcAft>
                <a:spcPts val="0"/>
              </a:spcAft>
              <a:buClr>
                <a:srgbClr val="FF0000"/>
              </a:buClr>
            </a:pPr>
            <a:endParaRPr lang="nl-NL" sz="1400" dirty="0">
              <a:solidFill>
                <a:srgbClr val="000000"/>
              </a:solidFill>
              <a:latin typeface="Corbel" panose="020B0503020204020204" pitchFamily="34" charset="0"/>
              <a:cs typeface="+mn-cs"/>
            </a:endParaRPr>
          </a:p>
        </p:txBody>
      </p:sp>
      <p:sp>
        <p:nvSpPr>
          <p:cNvPr id="27" name="TextBox 26">
            <a:extLst>
              <a:ext uri="{FF2B5EF4-FFF2-40B4-BE49-F238E27FC236}">
                <a16:creationId xmlns:a16="http://schemas.microsoft.com/office/drawing/2014/main" id="{15638ADF-19D7-4C49-A191-EC54E8904C99}"/>
              </a:ext>
            </a:extLst>
          </p:cNvPr>
          <p:cNvSpPr txBox="1"/>
          <p:nvPr/>
        </p:nvSpPr>
        <p:spPr>
          <a:xfrm>
            <a:off x="4677729" y="597247"/>
            <a:ext cx="2139396" cy="977030"/>
          </a:xfrm>
          <a:prstGeom prst="rect">
            <a:avLst/>
          </a:prstGeom>
        </p:spPr>
        <p:txBody>
          <a:bodyPr vert="horz" wrap="square" lIns="91440" tIns="45720" rIns="91440" bIns="45720" rtlCol="0">
            <a:noAutofit/>
          </a:bodyPr>
          <a:lstStyle/>
          <a:p>
            <a:pPr marL="0" indent="0">
              <a:buNone/>
            </a:pPr>
            <a:r>
              <a:rPr lang="nl-NL" sz="1800" b="1" dirty="0">
                <a:solidFill>
                  <a:srgbClr val="FFFFFF"/>
                </a:solidFill>
                <a:latin typeface="+mj-lt"/>
              </a:rPr>
              <a:t>It’s Public </a:t>
            </a:r>
            <a:r>
              <a:rPr lang="nl-NL" sz="1600" dirty="0">
                <a:solidFill>
                  <a:srgbClr val="FFFFFF"/>
                </a:solidFill>
                <a:latin typeface="+mj-lt"/>
              </a:rPr>
              <a:t>zoekt maatschappelijk gedreven talent… </a:t>
            </a:r>
            <a:br>
              <a:rPr lang="nl-NL" sz="1600" b="1" dirty="0">
                <a:solidFill>
                  <a:srgbClr val="FFFFFF"/>
                </a:solidFill>
                <a:latin typeface="+mj-lt"/>
              </a:rPr>
            </a:br>
            <a:br>
              <a:rPr lang="nl-NL" sz="1600" b="1" dirty="0">
                <a:solidFill>
                  <a:srgbClr val="FFFFFF"/>
                </a:solidFill>
                <a:latin typeface="+mj-lt"/>
              </a:rPr>
            </a:br>
            <a:endParaRPr lang="nl-NL" sz="1600" dirty="0">
              <a:solidFill>
                <a:schemeClr val="tx1">
                  <a:lumMod val="65000"/>
                  <a:lumOff val="35000"/>
                </a:schemeClr>
              </a:solidFill>
              <a:latin typeface="+mj-lt"/>
            </a:endParaRPr>
          </a:p>
        </p:txBody>
      </p:sp>
      <p:sp>
        <p:nvSpPr>
          <p:cNvPr id="29" name="TextBox 28">
            <a:extLst>
              <a:ext uri="{FF2B5EF4-FFF2-40B4-BE49-F238E27FC236}">
                <a16:creationId xmlns:a16="http://schemas.microsoft.com/office/drawing/2014/main" id="{716F15F8-9E3A-4395-9FAD-F710399E9F57}"/>
              </a:ext>
            </a:extLst>
          </p:cNvPr>
          <p:cNvSpPr txBox="1"/>
          <p:nvPr/>
        </p:nvSpPr>
        <p:spPr>
          <a:xfrm>
            <a:off x="4667794" y="3715594"/>
            <a:ext cx="1940787" cy="1281029"/>
          </a:xfrm>
          <a:prstGeom prst="rect">
            <a:avLst/>
          </a:prstGeom>
        </p:spPr>
        <p:txBody>
          <a:bodyPr vert="horz" wrap="square" lIns="91440" tIns="45720" rIns="91440" bIns="45720" rtlCol="0">
            <a:noAutofit/>
          </a:bodyPr>
          <a:lstStyle/>
          <a:p>
            <a:pPr marL="0" indent="0">
              <a:buNone/>
            </a:pPr>
            <a:r>
              <a:rPr lang="nl-NL" sz="1600" dirty="0">
                <a:solidFill>
                  <a:srgbClr val="FFFFFF"/>
                </a:solidFill>
                <a:latin typeface="+mj-lt"/>
              </a:rPr>
              <a:t>Kom naar onze digitale kennismaking op </a:t>
            </a:r>
            <a:br>
              <a:rPr lang="nl-NL" sz="1600" dirty="0">
                <a:solidFill>
                  <a:srgbClr val="FFFFFF"/>
                </a:solidFill>
                <a:latin typeface="+mj-lt"/>
              </a:rPr>
            </a:br>
            <a:r>
              <a:rPr lang="nl-NL" sz="1800" b="1" dirty="0">
                <a:solidFill>
                  <a:srgbClr val="FFFFFF"/>
                </a:solidFill>
                <a:latin typeface="+mj-lt"/>
              </a:rPr>
              <a:t>4 februari</a:t>
            </a:r>
            <a:br>
              <a:rPr lang="nl-NL" sz="1800" b="1" dirty="0">
                <a:solidFill>
                  <a:srgbClr val="FFFFFF"/>
                </a:solidFill>
                <a:latin typeface="+mj-lt"/>
              </a:rPr>
            </a:br>
            <a:r>
              <a:rPr lang="nl-NL" sz="1800" b="1" dirty="0">
                <a:solidFill>
                  <a:srgbClr val="FFFFFF"/>
                </a:solidFill>
                <a:latin typeface="+mj-lt"/>
              </a:rPr>
              <a:t> </a:t>
            </a:r>
          </a:p>
        </p:txBody>
      </p:sp>
      <p:sp>
        <p:nvSpPr>
          <p:cNvPr id="50" name="TextBox 49">
            <a:extLst>
              <a:ext uri="{FF2B5EF4-FFF2-40B4-BE49-F238E27FC236}">
                <a16:creationId xmlns:a16="http://schemas.microsoft.com/office/drawing/2014/main" id="{9E5E982E-652E-4CDA-BA7F-DB075F4AAB4B}"/>
              </a:ext>
            </a:extLst>
          </p:cNvPr>
          <p:cNvSpPr txBox="1"/>
          <p:nvPr/>
        </p:nvSpPr>
        <p:spPr>
          <a:xfrm>
            <a:off x="4677729" y="1924621"/>
            <a:ext cx="2139396" cy="1440630"/>
          </a:xfrm>
          <a:prstGeom prst="rect">
            <a:avLst/>
          </a:prstGeom>
        </p:spPr>
        <p:txBody>
          <a:bodyPr vert="horz" wrap="square" lIns="91440" tIns="45720" rIns="91440" bIns="45720" rtlCol="0">
            <a:noAutofit/>
          </a:bodyPr>
          <a:lstStyle/>
          <a:p>
            <a:pPr marL="0" indent="0">
              <a:buNone/>
            </a:pPr>
            <a:r>
              <a:rPr lang="nl-NL" sz="1600" dirty="0">
                <a:solidFill>
                  <a:srgbClr val="FFFFFF"/>
                </a:solidFill>
                <a:latin typeface="+mj-lt"/>
              </a:rPr>
              <a:t>…. om te werken aan het lerarentekort, problemen in de jeugdhulp, uitbreiding van het OV, …..</a:t>
            </a:r>
            <a:br>
              <a:rPr lang="nl-NL" sz="1200" b="1" dirty="0">
                <a:solidFill>
                  <a:srgbClr val="FFFFFF"/>
                </a:solidFill>
                <a:latin typeface="+mj-lt"/>
              </a:rPr>
            </a:br>
            <a:br>
              <a:rPr lang="nl-NL" sz="1200" b="1" dirty="0">
                <a:solidFill>
                  <a:srgbClr val="FFFFFF"/>
                </a:solidFill>
                <a:latin typeface="+mj-lt"/>
              </a:rPr>
            </a:br>
            <a:endParaRPr lang="nl-NL" sz="1200" dirty="0">
              <a:solidFill>
                <a:schemeClr val="tx1">
                  <a:lumMod val="65000"/>
                  <a:lumOff val="35000"/>
                </a:schemeClr>
              </a:solidFill>
              <a:latin typeface="+mj-lt"/>
            </a:endParaRPr>
          </a:p>
        </p:txBody>
      </p:sp>
    </p:spTree>
    <p:extLst>
      <p:ext uri="{BB962C8B-B14F-4D97-AF65-F5344CB8AC3E}">
        <p14:creationId xmlns:p14="http://schemas.microsoft.com/office/powerpoint/2010/main" val="24471457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2" name="Google Shape;542;p9"/>
          <p:cNvSpPr/>
          <p:nvPr/>
        </p:nvSpPr>
        <p:spPr>
          <a:xfrm>
            <a:off x="2349230" y="1690863"/>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25200">
                <a:schemeClr val="tx2"/>
              </a:gs>
              <a:gs pos="0">
                <a:schemeClr val="tx2"/>
              </a:gs>
              <a:gs pos="100000">
                <a:schemeClr val="accent5"/>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pic>
        <p:nvPicPr>
          <p:cNvPr id="32" name="Picture 2">
            <a:extLst>
              <a:ext uri="{FF2B5EF4-FFF2-40B4-BE49-F238E27FC236}">
                <a16:creationId xmlns:a16="http://schemas.microsoft.com/office/drawing/2014/main" id="{3D92B608-7663-42A5-A128-9515A1AB1C7D}"/>
              </a:ext>
            </a:extLst>
          </p:cNvPr>
          <p:cNvPicPr>
            <a:picLocks noChangeAspect="1" noChangeArrowheads="1"/>
          </p:cNvPicPr>
          <p:nvPr/>
        </p:nvPicPr>
        <p:blipFill>
          <a:blip r:embed="rId6">
            <a:alphaModFix amt="70000"/>
            <a:extLst>
              <a:ext uri="{28A0092B-C50C-407E-A947-70E740481C1C}">
                <a14:useLocalDpi xmlns:a14="http://schemas.microsoft.com/office/drawing/2010/main"/>
              </a:ext>
            </a:extLst>
          </a:blip>
          <a:srcRect/>
          <a:stretch/>
        </p:blipFill>
        <p:spPr bwMode="auto">
          <a:xfrm>
            <a:off x="1101271" y="1269882"/>
            <a:ext cx="5500486" cy="5500486"/>
          </a:xfrm>
          <a:prstGeom prst="ellipse">
            <a:avLst/>
          </a:prstGeom>
          <a:solidFill>
            <a:srgbClr val="FFFFFF"/>
          </a:solidFill>
          <a:ln w="28575">
            <a:solidFill>
              <a:srgbClr val="FFFFFF"/>
            </a:solidFill>
          </a:ln>
        </p:spPr>
      </p:pic>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5</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7"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sp>
        <p:nvSpPr>
          <p:cNvPr id="27" name="Rectangle 26">
            <a:extLst>
              <a:ext uri="{FF2B5EF4-FFF2-40B4-BE49-F238E27FC236}">
                <a16:creationId xmlns:a16="http://schemas.microsoft.com/office/drawing/2014/main" id="{EF341F5E-17FB-4E55-BBC4-C88E28BACBC1}"/>
              </a:ext>
            </a:extLst>
          </p:cNvPr>
          <p:cNvSpPr/>
          <p:nvPr/>
        </p:nvSpPr>
        <p:spPr>
          <a:xfrm>
            <a:off x="7247614" y="5241307"/>
            <a:ext cx="1692000"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a:spcBef>
                <a:spcPts val="0"/>
              </a:spcBef>
              <a:buClr>
                <a:srgbClr val="FF0000"/>
              </a:buClr>
              <a:buNone/>
            </a:pPr>
            <a:r>
              <a:rPr lang="nl-NL" b="1" dirty="0">
                <a:solidFill>
                  <a:srgbClr val="FFFFFF"/>
                </a:solidFill>
              </a:rPr>
              <a:t>Je document structureren</a:t>
            </a:r>
          </a:p>
        </p:txBody>
      </p:sp>
      <p:sp>
        <p:nvSpPr>
          <p:cNvPr id="28" name="Rectangle 27">
            <a:extLst>
              <a:ext uri="{FF2B5EF4-FFF2-40B4-BE49-F238E27FC236}">
                <a16:creationId xmlns:a16="http://schemas.microsoft.com/office/drawing/2014/main" id="{B856DF29-5CA7-4318-9157-072B6430AC7D}"/>
              </a:ext>
            </a:extLst>
          </p:cNvPr>
          <p:cNvSpPr/>
          <p:nvPr/>
        </p:nvSpPr>
        <p:spPr>
          <a:xfrm>
            <a:off x="7247614" y="4358634"/>
            <a:ext cx="1692000"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a:spcBef>
                <a:spcPts val="0"/>
              </a:spcBef>
              <a:buClr>
                <a:srgbClr val="FF0000"/>
              </a:buClr>
              <a:buNone/>
            </a:pPr>
            <a:r>
              <a:rPr lang="nl-NL" b="1" dirty="0">
                <a:solidFill>
                  <a:srgbClr val="FFFFFF"/>
                </a:solidFill>
              </a:rPr>
              <a:t>Werken met grafieken</a:t>
            </a:r>
          </a:p>
        </p:txBody>
      </p:sp>
      <p:sp>
        <p:nvSpPr>
          <p:cNvPr id="29" name="Rectangle 28">
            <a:extLst>
              <a:ext uri="{FF2B5EF4-FFF2-40B4-BE49-F238E27FC236}">
                <a16:creationId xmlns:a16="http://schemas.microsoft.com/office/drawing/2014/main" id="{34962EB8-ADDD-4956-9DCE-90F3AEABCA33}"/>
              </a:ext>
            </a:extLst>
          </p:cNvPr>
          <p:cNvSpPr/>
          <p:nvPr/>
        </p:nvSpPr>
        <p:spPr>
          <a:xfrm>
            <a:off x="7247614" y="3475961"/>
            <a:ext cx="1692000" cy="684000"/>
          </a:xfrm>
          <a:prstGeom prst="rect">
            <a:avLst/>
          </a:prstGeom>
          <a:noFill/>
          <a:ln w="28575">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lgn="ctr" defTabSz="685800" fontAlgn="auto">
              <a:lnSpc>
                <a:spcPct val="90000"/>
              </a:lnSpc>
              <a:spcBef>
                <a:spcPts val="0"/>
              </a:spcBef>
              <a:spcAft>
                <a:spcPts val="0"/>
              </a:spcAft>
              <a:buClr>
                <a:srgbClr val="FF0000"/>
              </a:buClr>
              <a:buNone/>
            </a:pPr>
            <a:r>
              <a:rPr lang="nl-NL" b="1" dirty="0">
                <a:solidFill>
                  <a:srgbClr val="FFFFFF"/>
                </a:solidFill>
                <a:latin typeface="Corbel" panose="020B0503020204020204" pitchFamily="34" charset="0"/>
                <a:cs typeface="+mn-cs"/>
              </a:rPr>
              <a:t>Snel mooie slides maken</a:t>
            </a:r>
          </a:p>
        </p:txBody>
      </p:sp>
      <p:sp>
        <p:nvSpPr>
          <p:cNvPr id="34" name="TextBox 33">
            <a:extLst>
              <a:ext uri="{FF2B5EF4-FFF2-40B4-BE49-F238E27FC236}">
                <a16:creationId xmlns:a16="http://schemas.microsoft.com/office/drawing/2014/main" id="{7A8DCAC3-B94F-4B87-B2D7-99F79D1EB531}"/>
              </a:ext>
            </a:extLst>
          </p:cNvPr>
          <p:cNvSpPr txBox="1"/>
          <p:nvPr/>
        </p:nvSpPr>
        <p:spPr>
          <a:xfrm>
            <a:off x="6606444" y="2379256"/>
            <a:ext cx="2972562" cy="898032"/>
          </a:xfrm>
          <a:prstGeom prst="rect">
            <a:avLst/>
          </a:prstGeom>
        </p:spPr>
        <p:txBody>
          <a:bodyPr vert="horz" wrap="square" lIns="91440" tIns="45720" rIns="91440" bIns="45720" rtlCol="0">
            <a:noAutofit/>
          </a:bodyPr>
          <a:lstStyle/>
          <a:p>
            <a:pPr marL="0" indent="0" algn="ctr">
              <a:buNone/>
            </a:pPr>
            <a:r>
              <a:rPr lang="nl-NL" sz="20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It’s Public PowerPoint training leert jou:</a:t>
            </a:r>
            <a:endParaRPr lang="nl-NL" sz="1000" b="1" noProof="0" dirty="0">
              <a:solidFill>
                <a:srgbClr val="FFFFFF"/>
              </a:solidFill>
              <a:latin typeface="Garamond" panose="02020404030301010803" pitchFamily="18" charset="0"/>
            </a:endParaRPr>
          </a:p>
        </p:txBody>
      </p:sp>
      <p:sp>
        <p:nvSpPr>
          <p:cNvPr id="544" name="Google Shape;544;p9"/>
          <p:cNvSpPr/>
          <p:nvPr/>
        </p:nvSpPr>
        <p:spPr>
          <a:xfrm>
            <a:off x="-1419486" y="-1776757"/>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sp>
        <p:nvSpPr>
          <p:cNvPr id="35" name="Google Shape;542;p9">
            <a:extLst>
              <a:ext uri="{FF2B5EF4-FFF2-40B4-BE49-F238E27FC236}">
                <a16:creationId xmlns:a16="http://schemas.microsoft.com/office/drawing/2014/main" id="{C2566826-CD6D-4F72-9093-F56336D84DC9}"/>
              </a:ext>
            </a:extLst>
          </p:cNvPr>
          <p:cNvSpPr/>
          <p:nvPr/>
        </p:nvSpPr>
        <p:spPr>
          <a:xfrm>
            <a:off x="2498581" y="1810977"/>
            <a:ext cx="7185463" cy="4350059"/>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38100" cap="flat" cmpd="sng">
            <a:solidFill>
              <a:srgbClr val="FFFFFF"/>
            </a:solidFill>
            <a:prstDash val="solid"/>
            <a:round/>
            <a:headEnd type="none" w="sm" len="sm"/>
            <a:tailEnd type="none" w="sm" len="sm"/>
          </a:ln>
          <a:extLst>
            <a:ext uri="{909E8E84-426E-40DD-AFC4-6F175D3DCCD1}">
              <a14:hiddenFill xmlns:a14="http://schemas.microsoft.com/office/drawing/2010/main">
                <a:solidFill>
                  <a:schemeClr val="bg1"/>
                </a:soli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pic>
        <p:nvPicPr>
          <p:cNvPr id="5" name="Graphic 4" descr="Circular flowchart with solid fill">
            <a:extLst>
              <a:ext uri="{FF2B5EF4-FFF2-40B4-BE49-F238E27FC236}">
                <a16:creationId xmlns:a16="http://schemas.microsoft.com/office/drawing/2014/main" id="{3276408E-F48D-417B-A251-6E4C6476EF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61587" y="5385307"/>
            <a:ext cx="396000" cy="396000"/>
          </a:xfrm>
          <a:prstGeom prst="rect">
            <a:avLst/>
          </a:prstGeom>
        </p:spPr>
      </p:pic>
      <p:pic>
        <p:nvPicPr>
          <p:cNvPr id="7" name="Graphic 6" descr="Bar chart with solid fill">
            <a:extLst>
              <a:ext uri="{FF2B5EF4-FFF2-40B4-BE49-F238E27FC236}">
                <a16:creationId xmlns:a16="http://schemas.microsoft.com/office/drawing/2014/main" id="{0828A7DA-B0A1-46E0-B04C-7CE1598897D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61587" y="4502634"/>
            <a:ext cx="396000" cy="396000"/>
          </a:xfrm>
          <a:prstGeom prst="rect">
            <a:avLst/>
          </a:prstGeom>
        </p:spPr>
      </p:pic>
      <p:pic>
        <p:nvPicPr>
          <p:cNvPr id="9" name="Graphic 8" descr="Scribble with solid fill">
            <a:extLst>
              <a:ext uri="{FF2B5EF4-FFF2-40B4-BE49-F238E27FC236}">
                <a16:creationId xmlns:a16="http://schemas.microsoft.com/office/drawing/2014/main" id="{313F012F-AC0E-4791-81D6-0CAB44B6A11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61587" y="3619961"/>
            <a:ext cx="396000" cy="396000"/>
          </a:xfrm>
          <a:prstGeom prst="rect">
            <a:avLst/>
          </a:prstGeom>
        </p:spPr>
      </p:pic>
    </p:spTree>
    <p:extLst>
      <p:ext uri="{BB962C8B-B14F-4D97-AF65-F5344CB8AC3E}">
        <p14:creationId xmlns:p14="http://schemas.microsoft.com/office/powerpoint/2010/main" val="12555760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2" name="Google Shape;542;p9"/>
          <p:cNvSpPr/>
          <p:nvPr/>
        </p:nvSpPr>
        <p:spPr>
          <a:xfrm>
            <a:off x="2349230" y="1690863"/>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solidFill>
            <a:srgbClr val="FFBD42"/>
          </a:soli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pic>
        <p:nvPicPr>
          <p:cNvPr id="32" name="Picture 2">
            <a:extLst>
              <a:ext uri="{FF2B5EF4-FFF2-40B4-BE49-F238E27FC236}">
                <a16:creationId xmlns:a16="http://schemas.microsoft.com/office/drawing/2014/main" id="{3D92B608-7663-42A5-A128-9515A1AB1C7D}"/>
              </a:ext>
            </a:extLst>
          </p:cNvPr>
          <p:cNvPicPr>
            <a:picLocks noChangeAspect="1" noChangeArrowheads="1"/>
          </p:cNvPicPr>
          <p:nvPr/>
        </p:nvPicPr>
        <p:blipFill>
          <a:blip r:embed="rId6"/>
          <a:srcRect t="16667" b="16667"/>
          <a:stretch/>
        </p:blipFill>
        <p:spPr bwMode="auto">
          <a:xfrm>
            <a:off x="1076932" y="1269288"/>
            <a:ext cx="5433435" cy="5433435"/>
          </a:xfrm>
          <a:prstGeom prst="ellipse">
            <a:avLst/>
          </a:prstGeom>
          <a:solidFill>
            <a:srgbClr val="FFFFFF"/>
          </a:solidFill>
          <a:ln w="38100">
            <a:solidFill>
              <a:srgbClr val="FFFFFF"/>
            </a:solidFill>
          </a:ln>
        </p:spPr>
      </p:pic>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6</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7" cstate="hqprint">
            <a:biLevel thresh="25000"/>
            <a:extLst>
              <a:ext uri="{28A0092B-C50C-407E-A947-70E740481C1C}">
                <a14:useLocalDpi xmlns:a14="http://schemas.microsoft.com/office/drawing/2010/main"/>
              </a:ext>
            </a:extLst>
          </a:blip>
          <a:stretch>
            <a:fillRect/>
          </a:stretch>
        </p:blipFill>
        <p:spPr>
          <a:xfrm>
            <a:off x="9263420" y="1914429"/>
            <a:ext cx="287720" cy="287720"/>
          </a:xfrm>
          <a:prstGeom prst="rect">
            <a:avLst/>
          </a:prstGeom>
          <a:noFill/>
          <a:ln w="9525">
            <a:noFill/>
          </a:ln>
          <a:extLst>
            <a:ext uri="{91240B29-F687-4F45-9708-019B960494DF}">
              <a14:hiddenLine xmlns:a14="http://schemas.microsoft.com/office/drawing/2010/main" w="9525">
                <a:solidFill>
                  <a:srgbClr val="95C5C9"/>
                </a:solidFill>
              </a14:hiddenLine>
            </a:ext>
          </a:extLst>
        </p:spPr>
      </p:pic>
      <p:sp>
        <p:nvSpPr>
          <p:cNvPr id="34" name="TextBox 33">
            <a:extLst>
              <a:ext uri="{FF2B5EF4-FFF2-40B4-BE49-F238E27FC236}">
                <a16:creationId xmlns:a16="http://schemas.microsoft.com/office/drawing/2014/main" id="{7A8DCAC3-B94F-4B87-B2D7-99F79D1EB531}"/>
              </a:ext>
            </a:extLst>
          </p:cNvPr>
          <p:cNvSpPr txBox="1"/>
          <p:nvPr/>
        </p:nvSpPr>
        <p:spPr>
          <a:xfrm>
            <a:off x="6517962" y="2333903"/>
            <a:ext cx="3021303" cy="1294076"/>
          </a:xfrm>
          <a:prstGeom prst="rect">
            <a:avLst/>
          </a:prstGeom>
        </p:spPr>
        <p:txBody>
          <a:bodyPr vert="horz" wrap="square" lIns="91440" tIns="45720" rIns="91440" bIns="45720" rtlCol="0">
            <a:noAutofit/>
          </a:bodyPr>
          <a:lstStyle/>
          <a:p>
            <a:pPr marL="0" indent="0" algn="ctr">
              <a:buNone/>
            </a:pPr>
            <a:r>
              <a:rPr lang="nl-NL" sz="16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It’s Public</a:t>
            </a:r>
            <a:endParaRPr lang="nl-NL" sz="20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endParaRPr>
          </a:p>
          <a:p>
            <a:pPr marL="0" indent="0" algn="ctr">
              <a:buNone/>
            </a:pPr>
            <a:r>
              <a:rPr lang="nl-NL" sz="24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Maatschappelijke Kosten Baten Analyse</a:t>
            </a:r>
          </a:p>
          <a:p>
            <a:pPr marL="0" indent="0" algn="ctr">
              <a:buNone/>
            </a:pPr>
            <a:r>
              <a:rPr lang="nl-NL" sz="16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MKBA)</a:t>
            </a:r>
            <a:br>
              <a:rPr lang="nl-NL" sz="16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br>
            <a:br>
              <a:rPr lang="nl-NL" sz="20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br>
            <a:endParaRPr lang="nl-NL" sz="1000" b="1" noProof="0" dirty="0">
              <a:solidFill>
                <a:srgbClr val="FFFFFF"/>
              </a:solidFill>
              <a:latin typeface="Garamond" panose="02020404030301010803" pitchFamily="18" charset="0"/>
            </a:endParaRPr>
          </a:p>
        </p:txBody>
      </p:sp>
      <p:sp>
        <p:nvSpPr>
          <p:cNvPr id="544" name="Google Shape;544;p9"/>
          <p:cNvSpPr/>
          <p:nvPr/>
        </p:nvSpPr>
        <p:spPr>
          <a:xfrm>
            <a:off x="-1477852" y="-1796213"/>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FFFFFF"/>
              </a:solidFill>
              <a:ea typeface="Corbel"/>
              <a:cs typeface="Corbel"/>
              <a:sym typeface="Corbel" panose="020B0503020204020204" pitchFamily="34" charset="0"/>
            </a:endParaRPr>
          </a:p>
        </p:txBody>
      </p:sp>
      <p:sp>
        <p:nvSpPr>
          <p:cNvPr id="35" name="Google Shape;542;p9">
            <a:extLst>
              <a:ext uri="{FF2B5EF4-FFF2-40B4-BE49-F238E27FC236}">
                <a16:creationId xmlns:a16="http://schemas.microsoft.com/office/drawing/2014/main" id="{C2566826-CD6D-4F72-9093-F56336D84DC9}"/>
              </a:ext>
            </a:extLst>
          </p:cNvPr>
          <p:cNvSpPr/>
          <p:nvPr/>
        </p:nvSpPr>
        <p:spPr>
          <a:xfrm>
            <a:off x="2421483" y="1801249"/>
            <a:ext cx="7185463" cy="4350059"/>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noFill/>
          <a:ln w="38100" cap="flat" cmpd="sng">
            <a:solidFill>
              <a:srgbClr val="FFFFFF"/>
            </a:solidFill>
            <a:prstDash val="solid"/>
            <a:round/>
            <a:headEnd type="none" w="sm" len="sm"/>
            <a:tailEnd type="none" w="sm" len="sm"/>
          </a:ln>
          <a:extLst>
            <a:ext uri="{909E8E84-426E-40DD-AFC4-6F175D3DCCD1}">
              <a14:hiddenFill xmlns:a14="http://schemas.microsoft.com/office/drawing/2010/main">
                <a:solidFill>
                  <a:schemeClr val="bg1"/>
                </a:solidFill>
              </a14:hiddenFill>
            </a:ext>
          </a:extLst>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27" name="Rectangle 26">
            <a:extLst>
              <a:ext uri="{FF2B5EF4-FFF2-40B4-BE49-F238E27FC236}">
                <a16:creationId xmlns:a16="http://schemas.microsoft.com/office/drawing/2014/main" id="{EF341F5E-17FB-4E55-BBC4-C88E28BACBC1}"/>
              </a:ext>
            </a:extLst>
          </p:cNvPr>
          <p:cNvSpPr/>
          <p:nvPr/>
        </p:nvSpPr>
        <p:spPr>
          <a:xfrm>
            <a:off x="6993758" y="4878176"/>
            <a:ext cx="2355737"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spcBef>
                <a:spcPts val="0"/>
              </a:spcBef>
              <a:buClr>
                <a:srgbClr val="FF0000"/>
              </a:buClr>
              <a:buNone/>
            </a:pPr>
            <a:r>
              <a:rPr lang="nl-NL" b="1" dirty="0">
                <a:solidFill>
                  <a:srgbClr val="FFFFFF"/>
                </a:solidFill>
              </a:rPr>
              <a:t>Stappenplan: MKBA bij kleine projecten in 7 stappen</a:t>
            </a:r>
          </a:p>
        </p:txBody>
      </p:sp>
      <p:sp>
        <p:nvSpPr>
          <p:cNvPr id="28" name="Rectangle 27">
            <a:extLst>
              <a:ext uri="{FF2B5EF4-FFF2-40B4-BE49-F238E27FC236}">
                <a16:creationId xmlns:a16="http://schemas.microsoft.com/office/drawing/2014/main" id="{B856DF29-5CA7-4318-9157-072B6430AC7D}"/>
              </a:ext>
            </a:extLst>
          </p:cNvPr>
          <p:cNvSpPr/>
          <p:nvPr/>
        </p:nvSpPr>
        <p:spPr>
          <a:xfrm>
            <a:off x="7149405" y="4045512"/>
            <a:ext cx="2285743"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spcBef>
                <a:spcPts val="0"/>
              </a:spcBef>
              <a:buClr>
                <a:srgbClr val="FF0000"/>
              </a:buClr>
              <a:buNone/>
            </a:pPr>
            <a:r>
              <a:rPr lang="nl-NL" b="1" dirty="0">
                <a:solidFill>
                  <a:srgbClr val="FFFFFF"/>
                </a:solidFill>
              </a:rPr>
              <a:t>Werking MKBA’s inzichtelijk</a:t>
            </a:r>
          </a:p>
        </p:txBody>
      </p:sp>
      <p:pic>
        <p:nvPicPr>
          <p:cNvPr id="12" name="Graphic 11" descr="Single gear with solid fill">
            <a:extLst>
              <a:ext uri="{FF2B5EF4-FFF2-40B4-BE49-F238E27FC236}">
                <a16:creationId xmlns:a16="http://schemas.microsoft.com/office/drawing/2014/main" id="{60E7D7BF-0388-AF88-353F-2B028048B21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743922" y="4189511"/>
            <a:ext cx="396001" cy="396001"/>
          </a:xfrm>
          <a:prstGeom prst="rect">
            <a:avLst/>
          </a:prstGeom>
        </p:spPr>
      </p:pic>
      <p:pic>
        <p:nvPicPr>
          <p:cNvPr id="14" name="Graphic 13" descr="Shoe footprints with solid fill">
            <a:extLst>
              <a:ext uri="{FF2B5EF4-FFF2-40B4-BE49-F238E27FC236}">
                <a16:creationId xmlns:a16="http://schemas.microsoft.com/office/drawing/2014/main" id="{004FF26C-D603-A644-BD43-A392C39EFF6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578302" y="5028232"/>
            <a:ext cx="396001" cy="396001"/>
          </a:xfrm>
          <a:prstGeom prst="rect">
            <a:avLst/>
          </a:prstGeom>
        </p:spPr>
      </p:pic>
    </p:spTree>
    <p:extLst>
      <p:ext uri="{BB962C8B-B14F-4D97-AF65-F5344CB8AC3E}">
        <p14:creationId xmlns:p14="http://schemas.microsoft.com/office/powerpoint/2010/main" val="35058792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1630377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7</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401011" y="1933515"/>
            <a:ext cx="287720" cy="287720"/>
          </a:xfrm>
          <a:prstGeom prst="rect">
            <a:avLst/>
          </a:prstGeom>
        </p:spPr>
      </p:pic>
      <p:pic>
        <p:nvPicPr>
          <p:cNvPr id="10" name="Picture 9" descr="A picture containing text, person, people, standing&#10;&#10;Description automatically generated">
            <a:extLst>
              <a:ext uri="{FF2B5EF4-FFF2-40B4-BE49-F238E27FC236}">
                <a16:creationId xmlns:a16="http://schemas.microsoft.com/office/drawing/2014/main" id="{5AC6E922-DEED-44AD-8A52-A926BD683490}"/>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202305" y="1696572"/>
            <a:ext cx="6206395" cy="4654796"/>
          </a:xfrm>
          <a:prstGeom prst="rect">
            <a:avLst/>
          </a:prstGeom>
        </p:spPr>
      </p:pic>
      <p:sp>
        <p:nvSpPr>
          <p:cNvPr id="18" name="Google Shape;542;p9">
            <a:extLst>
              <a:ext uri="{FF2B5EF4-FFF2-40B4-BE49-F238E27FC236}">
                <a16:creationId xmlns:a16="http://schemas.microsoft.com/office/drawing/2014/main" id="{F74ADEAF-93E3-474A-B70C-80B33C1E93F7}"/>
              </a:ext>
            </a:extLst>
          </p:cNvPr>
          <p:cNvSpPr/>
          <p:nvPr/>
        </p:nvSpPr>
        <p:spPr>
          <a:xfrm flipH="1">
            <a:off x="2295525" y="1638612"/>
            <a:ext cx="7619669" cy="4654796"/>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chemeClr val="accent4">
                  <a:alpha val="0"/>
                </a:schemeClr>
              </a:gs>
              <a:gs pos="71000">
                <a:srgbClr val="95C5C9"/>
              </a:gs>
              <a:gs pos="65000">
                <a:schemeClr val="accent4"/>
              </a:gs>
              <a:gs pos="100000">
                <a:schemeClr val="accent2"/>
              </a:gs>
            </a:gsLst>
            <a:lin ang="10800000" scaled="1"/>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27" name="Rectangle 26">
            <a:extLst>
              <a:ext uri="{FF2B5EF4-FFF2-40B4-BE49-F238E27FC236}">
                <a16:creationId xmlns:a16="http://schemas.microsoft.com/office/drawing/2014/main" id="{EF341F5E-17FB-4E55-BBC4-C88E28BACBC1}"/>
              </a:ext>
            </a:extLst>
          </p:cNvPr>
          <p:cNvSpPr/>
          <p:nvPr/>
        </p:nvSpPr>
        <p:spPr>
          <a:xfrm>
            <a:off x="7247613" y="5241307"/>
            <a:ext cx="2153397"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spcBef>
                <a:spcPts val="0"/>
              </a:spcBef>
              <a:buClr>
                <a:srgbClr val="FF0000"/>
              </a:buClr>
              <a:buNone/>
            </a:pPr>
            <a:r>
              <a:rPr lang="nl-NL" sz="1800" b="1" dirty="0">
                <a:solidFill>
                  <a:srgbClr val="FFFFFF"/>
                </a:solidFill>
              </a:rPr>
              <a:t>Xx</a:t>
            </a:r>
            <a:r>
              <a:rPr lang="nl-NL" b="1" dirty="0">
                <a:solidFill>
                  <a:srgbClr val="FFFFFF"/>
                </a:solidFill>
              </a:rPr>
              <a:t> </a:t>
            </a:r>
            <a:r>
              <a:rPr lang="nl-NL" dirty="0">
                <a:solidFill>
                  <a:srgbClr val="FFFFFF"/>
                </a:solidFill>
              </a:rPr>
              <a:t>projecten</a:t>
            </a:r>
          </a:p>
        </p:txBody>
      </p:sp>
      <p:sp>
        <p:nvSpPr>
          <p:cNvPr id="28" name="Rectangle 27">
            <a:extLst>
              <a:ext uri="{FF2B5EF4-FFF2-40B4-BE49-F238E27FC236}">
                <a16:creationId xmlns:a16="http://schemas.microsoft.com/office/drawing/2014/main" id="{B856DF29-5CA7-4318-9157-072B6430AC7D}"/>
              </a:ext>
            </a:extLst>
          </p:cNvPr>
          <p:cNvSpPr/>
          <p:nvPr/>
        </p:nvSpPr>
        <p:spPr>
          <a:xfrm>
            <a:off x="7247613" y="2964643"/>
            <a:ext cx="2153397"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spcBef>
                <a:spcPts val="0"/>
              </a:spcBef>
              <a:buClr>
                <a:srgbClr val="FF0000"/>
              </a:buClr>
              <a:buNone/>
            </a:pPr>
            <a:r>
              <a:rPr lang="nl-NL" dirty="0">
                <a:solidFill>
                  <a:srgbClr val="FFFFFF"/>
                </a:solidFill>
              </a:rPr>
              <a:t>2 nieuwe medewerkers: </a:t>
            </a:r>
            <a:r>
              <a:rPr lang="nl-NL" sz="1800" b="1" dirty="0">
                <a:solidFill>
                  <a:srgbClr val="FFFFFF"/>
                </a:solidFill>
              </a:rPr>
              <a:t>Bas en Jerien!</a:t>
            </a:r>
            <a:endParaRPr lang="nl-NL" b="1" dirty="0">
              <a:solidFill>
                <a:srgbClr val="FFFFFF"/>
              </a:solidFill>
            </a:endParaRPr>
          </a:p>
        </p:txBody>
      </p:sp>
      <p:sp>
        <p:nvSpPr>
          <p:cNvPr id="29" name="Rectangle 28">
            <a:extLst>
              <a:ext uri="{FF2B5EF4-FFF2-40B4-BE49-F238E27FC236}">
                <a16:creationId xmlns:a16="http://schemas.microsoft.com/office/drawing/2014/main" id="{34962EB8-ADDD-4956-9DCE-90F3AEABCA33}"/>
              </a:ext>
            </a:extLst>
          </p:cNvPr>
          <p:cNvSpPr/>
          <p:nvPr/>
        </p:nvSpPr>
        <p:spPr>
          <a:xfrm>
            <a:off x="7247613" y="3723531"/>
            <a:ext cx="2153397" cy="684000"/>
          </a:xfrm>
          <a:prstGeom prst="rect">
            <a:avLst/>
          </a:prstGeom>
          <a:noFill/>
          <a:ln w="28575">
            <a:noFill/>
          </a:ln>
          <a:extLst>
            <a:ext uri="{909E8E84-426E-40DD-AFC4-6F175D3DCCD1}">
              <a14:hiddenFill xmlns:a14="http://schemas.microsoft.com/office/drawing/2010/main">
                <a:solidFill>
                  <a:srgbClr val="95C5C9"/>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defTabSz="685800" fontAlgn="auto">
              <a:lnSpc>
                <a:spcPct val="90000"/>
              </a:lnSpc>
              <a:spcBef>
                <a:spcPts val="0"/>
              </a:spcBef>
              <a:spcAft>
                <a:spcPts val="0"/>
              </a:spcAft>
              <a:buClr>
                <a:srgbClr val="FF0000"/>
              </a:buClr>
              <a:buNone/>
            </a:pPr>
            <a:r>
              <a:rPr lang="nl-NL" sz="1800" b="1" dirty="0">
                <a:solidFill>
                  <a:srgbClr val="FFFFFF"/>
                </a:solidFill>
              </a:rPr>
              <a:t>XX</a:t>
            </a:r>
            <a:r>
              <a:rPr lang="nl-NL" b="1" dirty="0">
                <a:solidFill>
                  <a:srgbClr val="FFFFFF"/>
                </a:solidFill>
              </a:rPr>
              <a:t> </a:t>
            </a:r>
            <a:r>
              <a:rPr lang="nl-NL" dirty="0">
                <a:solidFill>
                  <a:srgbClr val="FFFFFF"/>
                </a:solidFill>
              </a:rPr>
              <a:t>publicaties</a:t>
            </a:r>
            <a:endParaRPr lang="nl-NL" dirty="0">
              <a:solidFill>
                <a:srgbClr val="FFFFFF"/>
              </a:solidFill>
              <a:latin typeface="Corbel" panose="020B0503020204020204" pitchFamily="34" charset="0"/>
              <a:cs typeface="+mn-cs"/>
            </a:endParaRPr>
          </a:p>
        </p:txBody>
      </p:sp>
      <p:sp>
        <p:nvSpPr>
          <p:cNvPr id="34" name="TextBox 33">
            <a:extLst>
              <a:ext uri="{FF2B5EF4-FFF2-40B4-BE49-F238E27FC236}">
                <a16:creationId xmlns:a16="http://schemas.microsoft.com/office/drawing/2014/main" id="{7A8DCAC3-B94F-4B87-B2D7-99F79D1EB531}"/>
              </a:ext>
            </a:extLst>
          </p:cNvPr>
          <p:cNvSpPr txBox="1"/>
          <p:nvPr/>
        </p:nvSpPr>
        <p:spPr>
          <a:xfrm>
            <a:off x="6601757" y="1941218"/>
            <a:ext cx="2972562" cy="898032"/>
          </a:xfrm>
          <a:prstGeom prst="rect">
            <a:avLst/>
          </a:prstGeom>
        </p:spPr>
        <p:txBody>
          <a:bodyPr vert="horz" wrap="square" lIns="91440" tIns="45720" rIns="91440" bIns="45720" rtlCol="0">
            <a:noAutofit/>
          </a:bodyPr>
          <a:lstStyle/>
          <a:p>
            <a:pPr marL="0" indent="0" algn="ctr">
              <a:lnSpc>
                <a:spcPct val="100000"/>
              </a:lnSpc>
              <a:buNone/>
            </a:pPr>
            <a:r>
              <a:rPr lang="nl-NL" sz="1600" dirty="0">
                <a:solidFill>
                  <a:srgbClr val="FFFFFF"/>
                </a:solidFill>
                <a:latin typeface="+mj-lt"/>
                <a:ea typeface="Cambria" panose="02040503050406030204" pitchFamily="18" charset="0"/>
                <a:cs typeface="Aharoni" panose="02010803020104030203" pitchFamily="2" charset="-79"/>
                <a:sym typeface="Corbel" panose="020B0503020204020204" pitchFamily="34" charset="0"/>
              </a:rPr>
              <a:t>It’s Public </a:t>
            </a:r>
          </a:p>
          <a:p>
            <a:pPr marL="0" indent="0" algn="ctr">
              <a:lnSpc>
                <a:spcPct val="100000"/>
              </a:lnSpc>
              <a:buNone/>
            </a:pPr>
            <a:r>
              <a:rPr lang="nl-NL" sz="2400" b="1" dirty="0">
                <a:solidFill>
                  <a:srgbClr val="FFFFFF"/>
                </a:solidFill>
                <a:latin typeface="Garamond" panose="02020404030301010803" pitchFamily="18" charset="0"/>
                <a:ea typeface="Cambria" panose="02040503050406030204" pitchFamily="18" charset="0"/>
                <a:cs typeface="Aharoni" panose="02010803020104030203" pitchFamily="2" charset="-79"/>
                <a:sym typeface="Corbel" panose="020B0503020204020204" pitchFamily="34" charset="0"/>
              </a:rPr>
              <a:t>Highlights 2021</a:t>
            </a:r>
          </a:p>
        </p:txBody>
      </p:sp>
      <p:sp>
        <p:nvSpPr>
          <p:cNvPr id="544" name="Google Shape;544;p9"/>
          <p:cNvSpPr/>
          <p:nvPr/>
        </p:nvSpPr>
        <p:spPr>
          <a:xfrm>
            <a:off x="-1419486" y="-1776757"/>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i="0" u="none" strike="noStrike" cap="none" dirty="0">
              <a:solidFill>
                <a:srgbClr val="595959"/>
              </a:solidFill>
              <a:ea typeface="Corbel"/>
              <a:cs typeface="Corbel"/>
              <a:sym typeface="Corbel" panose="020B0503020204020204" pitchFamily="34" charset="0"/>
            </a:endParaRPr>
          </a:p>
        </p:txBody>
      </p:sp>
      <p:cxnSp>
        <p:nvCxnSpPr>
          <p:cNvPr id="6" name="Straight Connector 5">
            <a:extLst>
              <a:ext uri="{FF2B5EF4-FFF2-40B4-BE49-F238E27FC236}">
                <a16:creationId xmlns:a16="http://schemas.microsoft.com/office/drawing/2014/main" id="{A63CDBC5-7CBB-4440-8DD0-5F8A846E0560}"/>
              </a:ext>
            </a:extLst>
          </p:cNvPr>
          <p:cNvCxnSpPr/>
          <p:nvPr/>
        </p:nvCxnSpPr>
        <p:spPr>
          <a:xfrm>
            <a:off x="7424813" y="2735697"/>
            <a:ext cx="132397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863D8FAB-D3FC-4612-AB93-03CC50B37C2A}"/>
              </a:ext>
            </a:extLst>
          </p:cNvPr>
          <p:cNvSpPr/>
          <p:nvPr/>
        </p:nvSpPr>
        <p:spPr>
          <a:xfrm>
            <a:off x="7247613" y="4482419"/>
            <a:ext cx="2153397" cy="684000"/>
          </a:xfrm>
          <a:prstGeom prst="rect">
            <a:avLst/>
          </a:prstGeom>
          <a:noFill/>
          <a:ln w="28575">
            <a:noFill/>
          </a:ln>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8575">
                <a:solidFill>
                  <a:srgbClr val="FFFFFF"/>
                </a:solidFill>
              </a14:hiddenLine>
            </a:ext>
          </a:extLst>
        </p:spPr>
        <p:txBody>
          <a:bodyPr lIns="72000" rIns="72000" rtlCol="0" anchor="ctr">
            <a:noAutofit/>
          </a:bodyPr>
          <a:lstStyle/>
          <a:p>
            <a:pPr marL="0" indent="0">
              <a:spcBef>
                <a:spcPts val="0"/>
              </a:spcBef>
              <a:buClr>
                <a:srgbClr val="FF0000"/>
              </a:buClr>
              <a:buNone/>
            </a:pPr>
            <a:r>
              <a:rPr lang="nl-NL" sz="1800" b="1" dirty="0">
                <a:solidFill>
                  <a:srgbClr val="FFFFFF"/>
                </a:solidFill>
              </a:rPr>
              <a:t>Xx</a:t>
            </a:r>
            <a:r>
              <a:rPr lang="nl-NL" b="1" dirty="0">
                <a:solidFill>
                  <a:srgbClr val="FFFFFF"/>
                </a:solidFill>
              </a:rPr>
              <a:t> </a:t>
            </a:r>
            <a:r>
              <a:rPr lang="nl-NL" dirty="0">
                <a:solidFill>
                  <a:srgbClr val="FFFFFF"/>
                </a:solidFill>
              </a:rPr>
              <a:t>downloads van onze website</a:t>
            </a:r>
          </a:p>
        </p:txBody>
      </p:sp>
      <p:pic>
        <p:nvPicPr>
          <p:cNvPr id="12" name="Graphic 11" descr="Teacher with solid fill">
            <a:extLst>
              <a:ext uri="{FF2B5EF4-FFF2-40B4-BE49-F238E27FC236}">
                <a16:creationId xmlns:a16="http://schemas.microsoft.com/office/drawing/2014/main" id="{E0576E38-3244-45B8-B4BA-631DB24222F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823487" y="5385307"/>
            <a:ext cx="396000" cy="396000"/>
          </a:xfrm>
          <a:prstGeom prst="rect">
            <a:avLst/>
          </a:prstGeom>
        </p:spPr>
      </p:pic>
      <p:pic>
        <p:nvPicPr>
          <p:cNvPr id="16" name="Graphic 15" descr="Books with solid fill">
            <a:extLst>
              <a:ext uri="{FF2B5EF4-FFF2-40B4-BE49-F238E27FC236}">
                <a16:creationId xmlns:a16="http://schemas.microsoft.com/office/drawing/2014/main" id="{28E9A6F4-B52D-448B-95FF-BF00125C6FA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823487" y="3867531"/>
            <a:ext cx="396000" cy="396000"/>
          </a:xfrm>
          <a:prstGeom prst="rect">
            <a:avLst/>
          </a:prstGeom>
        </p:spPr>
      </p:pic>
      <p:pic>
        <p:nvPicPr>
          <p:cNvPr id="19" name="Graphic 18" descr="Download from cloud with solid fill">
            <a:extLst>
              <a:ext uri="{FF2B5EF4-FFF2-40B4-BE49-F238E27FC236}">
                <a16:creationId xmlns:a16="http://schemas.microsoft.com/office/drawing/2014/main" id="{CD8F0A89-A9CE-4AC6-B981-5E2F4B5DE14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823487" y="4626419"/>
            <a:ext cx="396000" cy="396000"/>
          </a:xfrm>
          <a:prstGeom prst="rect">
            <a:avLst/>
          </a:prstGeom>
        </p:spPr>
      </p:pic>
      <p:grpSp>
        <p:nvGrpSpPr>
          <p:cNvPr id="20" name="Group 19">
            <a:extLst>
              <a:ext uri="{FF2B5EF4-FFF2-40B4-BE49-F238E27FC236}">
                <a16:creationId xmlns:a16="http://schemas.microsoft.com/office/drawing/2014/main" id="{F8D0F351-0CE4-4510-A326-ECA89392D0D8}"/>
              </a:ext>
            </a:extLst>
          </p:cNvPr>
          <p:cNvGrpSpPr/>
          <p:nvPr/>
        </p:nvGrpSpPr>
        <p:grpSpPr>
          <a:xfrm>
            <a:off x="6823487" y="3108643"/>
            <a:ext cx="468000" cy="396000"/>
            <a:chOff x="4985463" y="3973928"/>
            <a:chExt cx="565228" cy="424981"/>
          </a:xfrm>
        </p:grpSpPr>
        <p:pic>
          <p:nvPicPr>
            <p:cNvPr id="14" name="Graphic 13" descr="Male profile with solid fill">
              <a:extLst>
                <a:ext uri="{FF2B5EF4-FFF2-40B4-BE49-F238E27FC236}">
                  <a16:creationId xmlns:a16="http://schemas.microsoft.com/office/drawing/2014/main" id="{AA3B6F8B-E242-4617-A9D2-05859B3AF14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985463" y="3973928"/>
              <a:ext cx="396001" cy="396001"/>
            </a:xfrm>
            <a:prstGeom prst="rect">
              <a:avLst/>
            </a:prstGeom>
          </p:spPr>
        </p:pic>
        <p:pic>
          <p:nvPicPr>
            <p:cNvPr id="30" name="Graphic 29" descr="Male profile with solid fill">
              <a:extLst>
                <a:ext uri="{FF2B5EF4-FFF2-40B4-BE49-F238E27FC236}">
                  <a16:creationId xmlns:a16="http://schemas.microsoft.com/office/drawing/2014/main" id="{283B4FFE-E55D-4FE9-8D12-1C3D66BAA18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154690" y="4002908"/>
              <a:ext cx="396001" cy="396001"/>
            </a:xfrm>
            <a:prstGeom prst="rect">
              <a:avLst/>
            </a:prstGeom>
          </p:spPr>
        </p:pic>
      </p:grpSp>
    </p:spTree>
    <p:extLst>
      <p:ext uri="{BB962C8B-B14F-4D97-AF65-F5344CB8AC3E}">
        <p14:creationId xmlns:p14="http://schemas.microsoft.com/office/powerpoint/2010/main" val="319309800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extLst>
              <p:ext uri="{D42A27DB-BD31-4B8C-83A1-F6EECF244321}">
                <p14:modId xmlns:p14="http://schemas.microsoft.com/office/powerpoint/2010/main" val="610589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1B3E2C83-E650-4435-A9BB-5F71567BE134}"/>
              </a:ext>
            </a:extLst>
          </p:cNvPr>
          <p:cNvGrpSpPr/>
          <p:nvPr/>
        </p:nvGrpSpPr>
        <p:grpSpPr>
          <a:xfrm>
            <a:off x="2405764" y="1626776"/>
            <a:ext cx="7484164" cy="4590287"/>
            <a:chOff x="2329566" y="1655351"/>
            <a:chExt cx="7484164" cy="4590287"/>
          </a:xfrm>
        </p:grpSpPr>
        <p:sp>
          <p:nvSpPr>
            <p:cNvPr id="542" name="Google Shape;542;p9"/>
            <p:cNvSpPr/>
            <p:nvPr/>
          </p:nvSpPr>
          <p:spPr>
            <a:xfrm>
              <a:off x="2329566"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0">
                  <a:schemeClr val="tx2"/>
                </a:gs>
                <a:gs pos="100000">
                  <a:schemeClr val="accent4"/>
                </a:gs>
              </a:gsLst>
              <a:path path="circle">
                <a:fillToRect l="50000" t="50000" r="50000" b="50000"/>
              </a:path>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grpSp>
          <p:nvGrpSpPr>
            <p:cNvPr id="3" name="Group 2">
              <a:extLst>
                <a:ext uri="{FF2B5EF4-FFF2-40B4-BE49-F238E27FC236}">
                  <a16:creationId xmlns:a16="http://schemas.microsoft.com/office/drawing/2014/main" id="{06068A5A-0B61-45CC-A95C-B3847725FBB4}"/>
                </a:ext>
              </a:extLst>
            </p:cNvPr>
            <p:cNvGrpSpPr/>
            <p:nvPr/>
          </p:nvGrpSpPr>
          <p:grpSpPr>
            <a:xfrm>
              <a:off x="9005565" y="1722843"/>
              <a:ext cx="808165" cy="287720"/>
              <a:chOff x="9068403" y="1721793"/>
              <a:chExt cx="808165" cy="287720"/>
            </a:xfrm>
          </p:grpSpPr>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588848" y="1721793"/>
                <a:ext cx="287720" cy="287720"/>
              </a:xfrm>
              <a:prstGeom prst="rect">
                <a:avLst/>
              </a:prstGeom>
            </p:spPr>
          </p:pic>
          <p:pic>
            <p:nvPicPr>
              <p:cNvPr id="6" name="Picture 5" descr="Logo&#10;&#10;Description automatically generated">
                <a:extLst>
                  <a:ext uri="{FF2B5EF4-FFF2-40B4-BE49-F238E27FC236}">
                    <a16:creationId xmlns:a16="http://schemas.microsoft.com/office/drawing/2014/main" id="{A9E1912C-6B00-40DC-8F07-300F68D7F746}"/>
                  </a:ext>
                </a:extLst>
              </p:cNvPr>
              <p:cNvPicPr>
                <a:picLocks noChangeAspect="1"/>
              </p:cNvPicPr>
              <p:nvPr/>
            </p:nvPicPr>
            <p:blipFill>
              <a:blip r:embed="rId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9068403" y="1747838"/>
                <a:ext cx="585485" cy="153711"/>
              </a:xfrm>
              <a:prstGeom prst="rect">
                <a:avLst/>
              </a:prstGeom>
            </p:spPr>
          </p:pic>
        </p:grpSp>
      </p:grpSp>
      <p:sp>
        <p:nvSpPr>
          <p:cNvPr id="544" name="Google Shape;544;p9"/>
          <p:cNvSpPr/>
          <p:nvPr/>
        </p:nvSpPr>
        <p:spPr>
          <a:xfrm>
            <a:off x="-1316653" y="-1887008"/>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8</a:t>
            </a:fld>
            <a:endParaRPr lang="nl-NL" dirty="0">
              <a:sym typeface="Corbel" panose="020B0503020204020204" pitchFamily="34" charset="0"/>
            </a:endParaRPr>
          </a:p>
        </p:txBody>
      </p:sp>
      <p:pic>
        <p:nvPicPr>
          <p:cNvPr id="34" name="Graphic 33" descr="Books with solid fill">
            <a:extLst>
              <a:ext uri="{FF2B5EF4-FFF2-40B4-BE49-F238E27FC236}">
                <a16:creationId xmlns:a16="http://schemas.microsoft.com/office/drawing/2014/main" id="{415E6D9C-90CD-44FA-B518-B62081E6AD0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571793" y="5067299"/>
            <a:ext cx="848636" cy="848636"/>
          </a:xfrm>
          <a:prstGeom prst="rect">
            <a:avLst/>
          </a:prstGeom>
        </p:spPr>
      </p:pic>
      <p:sp>
        <p:nvSpPr>
          <p:cNvPr id="23" name="Rectangle 22">
            <a:extLst>
              <a:ext uri="{FF2B5EF4-FFF2-40B4-BE49-F238E27FC236}">
                <a16:creationId xmlns:a16="http://schemas.microsoft.com/office/drawing/2014/main" id="{7DB55707-D8F8-472E-A783-3E822D655D2D}"/>
              </a:ext>
            </a:extLst>
          </p:cNvPr>
          <p:cNvSpPr/>
          <p:nvPr/>
        </p:nvSpPr>
        <p:spPr>
          <a:xfrm>
            <a:off x="4891446" y="1626776"/>
            <a:ext cx="2512800" cy="1522800"/>
          </a:xfrm>
          <a:prstGeom prst="rect">
            <a:avLst/>
          </a:prstGeom>
          <a:solidFill>
            <a:schemeClr val="accent4">
              <a:lumMod val="40000"/>
              <a:lumOff val="60000"/>
            </a:schemeClr>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nl-NL" dirty="0"/>
              <a:t>Example</a:t>
            </a:r>
          </a:p>
        </p:txBody>
      </p:sp>
      <p:sp>
        <p:nvSpPr>
          <p:cNvPr id="32" name="Rectangle 31">
            <a:extLst>
              <a:ext uri="{FF2B5EF4-FFF2-40B4-BE49-F238E27FC236}">
                <a16:creationId xmlns:a16="http://schemas.microsoft.com/office/drawing/2014/main" id="{3D852AC4-1292-4707-9B3E-5BDBA59DA64C}"/>
              </a:ext>
            </a:extLst>
          </p:cNvPr>
          <p:cNvSpPr/>
          <p:nvPr/>
        </p:nvSpPr>
        <p:spPr>
          <a:xfrm>
            <a:off x="4866219" y="4678648"/>
            <a:ext cx="2512800" cy="1522800"/>
          </a:xfrm>
          <a:prstGeom prst="rect">
            <a:avLst/>
          </a:prstGeom>
          <a:solidFill>
            <a:srgbClr val="68ABB0"/>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Website</a:t>
            </a:r>
            <a:r>
              <a:rPr lang="nl-NL" b="1" dirty="0">
                <a:solidFill>
                  <a:srgbClr val="FFFFFF"/>
                </a:solidFill>
              </a:rPr>
              <a:t> </a:t>
            </a:r>
            <a:r>
              <a:rPr lang="nl-NL" dirty="0">
                <a:solidFill>
                  <a:srgbClr val="FFFFFF"/>
                </a:solidFill>
              </a:rPr>
              <a:t>vernieuwd</a:t>
            </a:r>
          </a:p>
        </p:txBody>
      </p:sp>
      <p:grpSp>
        <p:nvGrpSpPr>
          <p:cNvPr id="56" name="Group 55">
            <a:extLst>
              <a:ext uri="{FF2B5EF4-FFF2-40B4-BE49-F238E27FC236}">
                <a16:creationId xmlns:a16="http://schemas.microsoft.com/office/drawing/2014/main" id="{A0BA0BC6-5499-4AD5-86BC-C32F1CDF11CE}"/>
              </a:ext>
            </a:extLst>
          </p:cNvPr>
          <p:cNvGrpSpPr/>
          <p:nvPr/>
        </p:nvGrpSpPr>
        <p:grpSpPr>
          <a:xfrm>
            <a:off x="7377128" y="4678648"/>
            <a:ext cx="2512800" cy="1522800"/>
            <a:chOff x="7377128" y="4678648"/>
            <a:chExt cx="2512800" cy="1522800"/>
          </a:xfrm>
        </p:grpSpPr>
        <p:sp>
          <p:nvSpPr>
            <p:cNvPr id="38" name="Rectangle 37">
              <a:extLst>
                <a:ext uri="{FF2B5EF4-FFF2-40B4-BE49-F238E27FC236}">
                  <a16:creationId xmlns:a16="http://schemas.microsoft.com/office/drawing/2014/main" id="{03C4FC8A-6638-440A-9F5B-20A4C3CB61A4}"/>
                </a:ext>
              </a:extLst>
            </p:cNvPr>
            <p:cNvSpPr/>
            <p:nvPr/>
          </p:nvSpPr>
          <p:spPr>
            <a:xfrm>
              <a:off x="7377128" y="4678648"/>
              <a:ext cx="2512800" cy="1522800"/>
            </a:xfrm>
            <a:prstGeom prst="rect">
              <a:avLst/>
            </a:prstGeom>
            <a:solidFill>
              <a:srgbClr val="408E94"/>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Bas</a:t>
              </a:r>
              <a:r>
                <a:rPr lang="nl-NL" b="1" dirty="0">
                  <a:solidFill>
                    <a:srgbClr val="FFFFFF"/>
                  </a:solidFill>
                </a:rPr>
                <a:t> </a:t>
              </a:r>
              <a:r>
                <a:rPr lang="nl-NL" dirty="0">
                  <a:solidFill>
                    <a:srgbClr val="FFFFFF"/>
                  </a:solidFill>
                </a:rPr>
                <a:t>is begonnen bij It’s Public</a:t>
              </a:r>
              <a:endParaRPr lang="nl-NL" b="1" dirty="0">
                <a:solidFill>
                  <a:srgbClr val="FFFFFF"/>
                </a:solidFill>
              </a:endParaRPr>
            </a:p>
          </p:txBody>
        </p:sp>
        <p:pic>
          <p:nvPicPr>
            <p:cNvPr id="39" name="Picture 38">
              <a:extLst>
                <a:ext uri="{FF2B5EF4-FFF2-40B4-BE49-F238E27FC236}">
                  <a16:creationId xmlns:a16="http://schemas.microsoft.com/office/drawing/2014/main" id="{B9F1CB35-F449-4034-9DDE-AD3AF79DA93B}"/>
                </a:ext>
              </a:extLst>
            </p:cNvPr>
            <p:cNvPicPr>
              <a:picLocks noChangeAspect="1"/>
            </p:cNvPicPr>
            <p:nvPr/>
          </p:nvPicPr>
          <p:blipFill>
            <a:blip r:embed="rId10" cstate="hqprint">
              <a:extLst>
                <a:ext uri="{28A0092B-C50C-407E-A947-70E740481C1C}">
                  <a14:useLocalDpi xmlns:a14="http://schemas.microsoft.com/office/drawing/2010/main"/>
                </a:ext>
              </a:extLst>
            </a:blip>
            <a:srcRect/>
            <a:stretch/>
          </p:blipFill>
          <p:spPr>
            <a:xfrm>
              <a:off x="7951758" y="4772185"/>
              <a:ext cx="1366340" cy="1024755"/>
            </a:xfrm>
            <a:prstGeom prst="rect">
              <a:avLst/>
            </a:prstGeom>
          </p:spPr>
        </p:pic>
      </p:grpSp>
      <p:grpSp>
        <p:nvGrpSpPr>
          <p:cNvPr id="40" name="Group 39">
            <a:extLst>
              <a:ext uri="{FF2B5EF4-FFF2-40B4-BE49-F238E27FC236}">
                <a16:creationId xmlns:a16="http://schemas.microsoft.com/office/drawing/2014/main" id="{35E5D402-762E-43BE-9AEB-F4254BD68F50}"/>
              </a:ext>
            </a:extLst>
          </p:cNvPr>
          <p:cNvGrpSpPr/>
          <p:nvPr/>
        </p:nvGrpSpPr>
        <p:grpSpPr>
          <a:xfrm>
            <a:off x="2405764" y="4678648"/>
            <a:ext cx="2512800" cy="1522800"/>
            <a:chOff x="2405764" y="4678648"/>
            <a:chExt cx="2512800" cy="1522800"/>
          </a:xfrm>
        </p:grpSpPr>
        <p:sp>
          <p:nvSpPr>
            <p:cNvPr id="15" name="Rectangle 14">
              <a:extLst>
                <a:ext uri="{FF2B5EF4-FFF2-40B4-BE49-F238E27FC236}">
                  <a16:creationId xmlns:a16="http://schemas.microsoft.com/office/drawing/2014/main" id="{0CE2A3E7-4FAC-4C9F-8C2B-C56B16C80E72}"/>
                </a:ext>
              </a:extLst>
            </p:cNvPr>
            <p:cNvSpPr/>
            <p:nvPr/>
          </p:nvSpPr>
          <p:spPr>
            <a:xfrm>
              <a:off x="2405764" y="4678648"/>
              <a:ext cx="2512800" cy="1522800"/>
            </a:xfrm>
            <a:prstGeom prst="rect">
              <a:avLst/>
            </a:prstGeom>
            <a:solidFill>
              <a:srgbClr val="408E94"/>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Kennisuitje</a:t>
              </a:r>
              <a:r>
                <a:rPr lang="nl-NL" dirty="0">
                  <a:solidFill>
                    <a:srgbClr val="FFFFFF"/>
                  </a:solidFill>
                </a:rPr>
                <a:t> Den Bosch</a:t>
              </a:r>
            </a:p>
          </p:txBody>
        </p:sp>
        <p:pic>
          <p:nvPicPr>
            <p:cNvPr id="52" name="Picture 51">
              <a:extLst>
                <a:ext uri="{FF2B5EF4-FFF2-40B4-BE49-F238E27FC236}">
                  <a16:creationId xmlns:a16="http://schemas.microsoft.com/office/drawing/2014/main" id="{ED2C93FC-F348-4AD9-A4A1-FAD30AB0E248}"/>
                </a:ext>
              </a:extLst>
            </p:cNvPr>
            <p:cNvPicPr>
              <a:picLocks noChangeAspect="1"/>
            </p:cNvPicPr>
            <p:nvPr/>
          </p:nvPicPr>
          <p:blipFill>
            <a:blip r:embed="rId11" cstate="hqprint">
              <a:extLst>
                <a:ext uri="{28A0092B-C50C-407E-A947-70E740481C1C}">
                  <a14:useLocalDpi xmlns:a14="http://schemas.microsoft.com/office/drawing/2010/main"/>
                </a:ext>
              </a:extLst>
            </a:blip>
            <a:srcRect/>
            <a:stretch/>
          </p:blipFill>
          <p:spPr>
            <a:xfrm>
              <a:off x="2980394" y="4772185"/>
              <a:ext cx="1366340" cy="1024755"/>
            </a:xfrm>
            <a:prstGeom prst="rect">
              <a:avLst/>
            </a:prstGeom>
          </p:spPr>
        </p:pic>
      </p:grpSp>
      <p:grpSp>
        <p:nvGrpSpPr>
          <p:cNvPr id="55" name="Group 54">
            <a:extLst>
              <a:ext uri="{FF2B5EF4-FFF2-40B4-BE49-F238E27FC236}">
                <a16:creationId xmlns:a16="http://schemas.microsoft.com/office/drawing/2014/main" id="{83CE7E75-A7CF-469E-9B06-F6B030864DA7}"/>
              </a:ext>
            </a:extLst>
          </p:cNvPr>
          <p:cNvGrpSpPr/>
          <p:nvPr/>
        </p:nvGrpSpPr>
        <p:grpSpPr>
          <a:xfrm>
            <a:off x="7377128" y="3152712"/>
            <a:ext cx="2512800" cy="1522800"/>
            <a:chOff x="7377128" y="3155047"/>
            <a:chExt cx="2512800" cy="1522800"/>
          </a:xfrm>
        </p:grpSpPr>
        <p:sp>
          <p:nvSpPr>
            <p:cNvPr id="45" name="Rectangle 44">
              <a:extLst>
                <a:ext uri="{FF2B5EF4-FFF2-40B4-BE49-F238E27FC236}">
                  <a16:creationId xmlns:a16="http://schemas.microsoft.com/office/drawing/2014/main" id="{3693FE08-4816-4B71-95AD-129F3B23FD18}"/>
                </a:ext>
              </a:extLst>
            </p:cNvPr>
            <p:cNvSpPr/>
            <p:nvPr/>
          </p:nvSpPr>
          <p:spPr>
            <a:xfrm>
              <a:off x="7377128" y="3155047"/>
              <a:ext cx="2512800" cy="1522800"/>
            </a:xfrm>
            <a:prstGeom prst="rect">
              <a:avLst/>
            </a:prstGeom>
            <a:solidFill>
              <a:srgbClr val="95C5C9"/>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4.300 </a:t>
              </a:r>
              <a:r>
                <a:rPr lang="nl-NL" dirty="0">
                  <a:solidFill>
                    <a:srgbClr val="FFFFFF"/>
                  </a:solidFill>
                </a:rPr>
                <a:t>downloads op onze website</a:t>
              </a:r>
            </a:p>
          </p:txBody>
        </p:sp>
        <p:pic>
          <p:nvPicPr>
            <p:cNvPr id="53" name="Graphic 52" descr="Download from cloud with solid fill">
              <a:extLst>
                <a:ext uri="{FF2B5EF4-FFF2-40B4-BE49-F238E27FC236}">
                  <a16:creationId xmlns:a16="http://schemas.microsoft.com/office/drawing/2014/main" id="{9A166131-B440-4547-8158-41112CFCD18F}"/>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66103" y="3423528"/>
              <a:ext cx="849600" cy="849600"/>
            </a:xfrm>
            <a:prstGeom prst="rect">
              <a:avLst/>
            </a:prstGeom>
          </p:spPr>
        </p:pic>
      </p:grpSp>
      <p:grpSp>
        <p:nvGrpSpPr>
          <p:cNvPr id="51" name="Group 50">
            <a:extLst>
              <a:ext uri="{FF2B5EF4-FFF2-40B4-BE49-F238E27FC236}">
                <a16:creationId xmlns:a16="http://schemas.microsoft.com/office/drawing/2014/main" id="{8D4F81FE-B737-4222-BDB3-789E9A7A11C8}"/>
              </a:ext>
            </a:extLst>
          </p:cNvPr>
          <p:cNvGrpSpPr/>
          <p:nvPr/>
        </p:nvGrpSpPr>
        <p:grpSpPr>
          <a:xfrm>
            <a:off x="7377128" y="1626776"/>
            <a:ext cx="2512800" cy="1522800"/>
            <a:chOff x="7377128" y="1626776"/>
            <a:chExt cx="2512800" cy="1522800"/>
          </a:xfrm>
        </p:grpSpPr>
        <p:sp>
          <p:nvSpPr>
            <p:cNvPr id="42" name="Rectangle 41">
              <a:extLst>
                <a:ext uri="{FF2B5EF4-FFF2-40B4-BE49-F238E27FC236}">
                  <a16:creationId xmlns:a16="http://schemas.microsoft.com/office/drawing/2014/main" id="{30D62087-C682-45DB-9787-510B1BA6EA4F}"/>
                </a:ext>
              </a:extLst>
            </p:cNvPr>
            <p:cNvSpPr/>
            <p:nvPr/>
          </p:nvSpPr>
          <p:spPr>
            <a:xfrm>
              <a:off x="7377128" y="1626776"/>
              <a:ext cx="2512800" cy="1522800"/>
            </a:xfrm>
            <a:prstGeom prst="rect">
              <a:avLst/>
            </a:prstGeom>
            <a:solidFill>
              <a:srgbClr val="68ABB0"/>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18 </a:t>
              </a:r>
              <a:r>
                <a:rPr lang="nl-NL" dirty="0">
                  <a:solidFill>
                    <a:srgbClr val="FFFFFF"/>
                  </a:solidFill>
                </a:rPr>
                <a:t>projecten</a:t>
              </a:r>
            </a:p>
          </p:txBody>
        </p:sp>
        <p:pic>
          <p:nvPicPr>
            <p:cNvPr id="54" name="Graphic 53" descr="Teacher with solid fill">
              <a:extLst>
                <a:ext uri="{FF2B5EF4-FFF2-40B4-BE49-F238E27FC236}">
                  <a16:creationId xmlns:a16="http://schemas.microsoft.com/office/drawing/2014/main" id="{0640E115-2866-472D-B103-BBDCE9C6796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266103" y="1895257"/>
              <a:ext cx="849600" cy="849600"/>
            </a:xfrm>
            <a:prstGeom prst="rect">
              <a:avLst/>
            </a:prstGeom>
          </p:spPr>
        </p:pic>
      </p:grpSp>
      <p:sp>
        <p:nvSpPr>
          <p:cNvPr id="14" name="Rectangle 13">
            <a:extLst>
              <a:ext uri="{FF2B5EF4-FFF2-40B4-BE49-F238E27FC236}">
                <a16:creationId xmlns:a16="http://schemas.microsoft.com/office/drawing/2014/main" id="{AD7FE9C2-8118-430F-9B05-B6A5D6B7F94B}"/>
              </a:ext>
            </a:extLst>
          </p:cNvPr>
          <p:cNvSpPr/>
          <p:nvPr/>
        </p:nvSpPr>
        <p:spPr>
          <a:xfrm>
            <a:off x="4866219" y="3152712"/>
            <a:ext cx="2512800" cy="1522800"/>
          </a:xfrm>
          <a:prstGeom prst="rect">
            <a:avLst/>
          </a:prstGeom>
          <a:solidFill>
            <a:srgbClr val="FFFFFF"/>
          </a:solid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2800" b="1" dirty="0">
                <a:solidFill>
                  <a:srgbClr val="22777B"/>
                </a:solidFill>
              </a:rPr>
              <a:t>It’s Public highlights 2021</a:t>
            </a:r>
          </a:p>
        </p:txBody>
      </p:sp>
      <p:grpSp>
        <p:nvGrpSpPr>
          <p:cNvPr id="47" name="Group 46">
            <a:extLst>
              <a:ext uri="{FF2B5EF4-FFF2-40B4-BE49-F238E27FC236}">
                <a16:creationId xmlns:a16="http://schemas.microsoft.com/office/drawing/2014/main" id="{21AB0246-91A2-4A07-8608-8A7BDF061F15}"/>
              </a:ext>
            </a:extLst>
          </p:cNvPr>
          <p:cNvGrpSpPr/>
          <p:nvPr/>
        </p:nvGrpSpPr>
        <p:grpSpPr>
          <a:xfrm>
            <a:off x="4866219" y="1626776"/>
            <a:ext cx="2512800" cy="1522800"/>
            <a:chOff x="2405764" y="1626776"/>
            <a:chExt cx="2512800" cy="1522800"/>
          </a:xfrm>
        </p:grpSpPr>
        <p:sp>
          <p:nvSpPr>
            <p:cNvPr id="48" name="Rectangle 47">
              <a:extLst>
                <a:ext uri="{FF2B5EF4-FFF2-40B4-BE49-F238E27FC236}">
                  <a16:creationId xmlns:a16="http://schemas.microsoft.com/office/drawing/2014/main" id="{A21626A5-85C4-4915-9432-771B4B0C3DFD}"/>
                </a:ext>
              </a:extLst>
            </p:cNvPr>
            <p:cNvSpPr/>
            <p:nvPr/>
          </p:nvSpPr>
          <p:spPr>
            <a:xfrm>
              <a:off x="2405764" y="1626776"/>
              <a:ext cx="2512800" cy="1522800"/>
            </a:xfrm>
            <a:prstGeom prst="rect">
              <a:avLst/>
            </a:prstGeom>
            <a:solidFill>
              <a:srgbClr val="408E94"/>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Dag v/d Stad </a:t>
              </a:r>
              <a:r>
                <a:rPr lang="nl-NL" dirty="0">
                  <a:solidFill>
                    <a:srgbClr val="FFFFFF"/>
                  </a:solidFill>
                </a:rPr>
                <a:t>in Heerlen</a:t>
              </a:r>
              <a:endParaRPr lang="nl-NL" b="1" dirty="0">
                <a:solidFill>
                  <a:srgbClr val="FFFFFF"/>
                </a:solidFill>
              </a:endParaRPr>
            </a:p>
          </p:txBody>
        </p:sp>
        <p:pic>
          <p:nvPicPr>
            <p:cNvPr id="49" name="Picture 48">
              <a:extLst>
                <a:ext uri="{FF2B5EF4-FFF2-40B4-BE49-F238E27FC236}">
                  <a16:creationId xmlns:a16="http://schemas.microsoft.com/office/drawing/2014/main" id="{632D055A-FFBD-4AFD-907F-3C16F3BF099E}"/>
                </a:ext>
              </a:extLst>
            </p:cNvPr>
            <p:cNvPicPr>
              <a:picLocks noChangeAspect="1"/>
            </p:cNvPicPr>
            <p:nvPr/>
          </p:nvPicPr>
          <p:blipFill>
            <a:blip r:embed="rId16" cstate="hqprint">
              <a:extLst>
                <a:ext uri="{28A0092B-C50C-407E-A947-70E740481C1C}">
                  <a14:useLocalDpi xmlns:a14="http://schemas.microsoft.com/office/drawing/2010/main"/>
                </a:ext>
              </a:extLst>
            </a:blip>
            <a:srcRect/>
            <a:stretch/>
          </p:blipFill>
          <p:spPr>
            <a:xfrm>
              <a:off x="2980394" y="1720313"/>
              <a:ext cx="1366340" cy="1024755"/>
            </a:xfrm>
            <a:prstGeom prst="rect">
              <a:avLst/>
            </a:prstGeom>
          </p:spPr>
        </p:pic>
      </p:grpSp>
      <p:pic>
        <p:nvPicPr>
          <p:cNvPr id="58" name="Graphic 57" descr="Internet with solid fill">
            <a:extLst>
              <a:ext uri="{FF2B5EF4-FFF2-40B4-BE49-F238E27FC236}">
                <a16:creationId xmlns:a16="http://schemas.microsoft.com/office/drawing/2014/main" id="{08AFB08C-3C5D-48DE-912E-2BD9AF609C6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5665750" y="4859762"/>
            <a:ext cx="849600" cy="849600"/>
          </a:xfrm>
          <a:prstGeom prst="rect">
            <a:avLst/>
          </a:prstGeom>
        </p:spPr>
      </p:pic>
      <p:grpSp>
        <p:nvGrpSpPr>
          <p:cNvPr id="9" name="Group 8">
            <a:extLst>
              <a:ext uri="{FF2B5EF4-FFF2-40B4-BE49-F238E27FC236}">
                <a16:creationId xmlns:a16="http://schemas.microsoft.com/office/drawing/2014/main" id="{AAC5C971-8F4D-4CBC-8738-9E5C93A3F770}"/>
              </a:ext>
            </a:extLst>
          </p:cNvPr>
          <p:cNvGrpSpPr/>
          <p:nvPr/>
        </p:nvGrpSpPr>
        <p:grpSpPr>
          <a:xfrm>
            <a:off x="2405764" y="3152712"/>
            <a:ext cx="2512800" cy="1522800"/>
            <a:chOff x="2405764" y="3152712"/>
            <a:chExt cx="2512800" cy="1522800"/>
          </a:xfrm>
        </p:grpSpPr>
        <p:sp>
          <p:nvSpPr>
            <p:cNvPr id="31" name="Rectangle 30">
              <a:extLst>
                <a:ext uri="{FF2B5EF4-FFF2-40B4-BE49-F238E27FC236}">
                  <a16:creationId xmlns:a16="http://schemas.microsoft.com/office/drawing/2014/main" id="{23983A0A-60F6-4BAF-BE9C-B40FF34D0186}"/>
                </a:ext>
              </a:extLst>
            </p:cNvPr>
            <p:cNvSpPr/>
            <p:nvPr/>
          </p:nvSpPr>
          <p:spPr>
            <a:xfrm>
              <a:off x="2405764" y="3152712"/>
              <a:ext cx="2512800" cy="1522800"/>
            </a:xfrm>
            <a:prstGeom prst="rect">
              <a:avLst/>
            </a:prstGeom>
            <a:solidFill>
              <a:srgbClr val="95C5C9"/>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4 </a:t>
              </a:r>
              <a:r>
                <a:rPr lang="nl-NL" dirty="0">
                  <a:solidFill>
                    <a:srgbClr val="FFFFFF"/>
                  </a:solidFill>
                </a:rPr>
                <a:t>nieuwe opdrachtgevers</a:t>
              </a:r>
            </a:p>
          </p:txBody>
        </p:sp>
        <p:grpSp>
          <p:nvGrpSpPr>
            <p:cNvPr id="8" name="Group 7">
              <a:extLst>
                <a:ext uri="{FF2B5EF4-FFF2-40B4-BE49-F238E27FC236}">
                  <a16:creationId xmlns:a16="http://schemas.microsoft.com/office/drawing/2014/main" id="{5F994FD5-0477-47DE-8EA5-9DA64200994C}"/>
                </a:ext>
              </a:extLst>
            </p:cNvPr>
            <p:cNvGrpSpPr/>
            <p:nvPr/>
          </p:nvGrpSpPr>
          <p:grpSpPr>
            <a:xfrm>
              <a:off x="3183424" y="3230693"/>
              <a:ext cx="957480" cy="1126085"/>
              <a:chOff x="3571793" y="1196975"/>
              <a:chExt cx="4248314" cy="4996410"/>
            </a:xfrm>
            <a:solidFill>
              <a:srgbClr val="FFFFFF"/>
            </a:solidFill>
          </p:grpSpPr>
          <p:sp>
            <p:nvSpPr>
              <p:cNvPr id="35" name="Freeform: Shape 34">
                <a:extLst>
                  <a:ext uri="{FF2B5EF4-FFF2-40B4-BE49-F238E27FC236}">
                    <a16:creationId xmlns:a16="http://schemas.microsoft.com/office/drawing/2014/main" id="{A25D113C-CA53-4B82-8D04-D05568689BFC}"/>
                  </a:ext>
                </a:extLst>
              </p:cNvPr>
              <p:cNvSpPr/>
              <p:nvPr/>
            </p:nvSpPr>
            <p:spPr>
              <a:xfrm>
                <a:off x="6621487" y="1823630"/>
                <a:ext cx="1064040" cy="1064040"/>
              </a:xfrm>
              <a:custGeom>
                <a:avLst/>
                <a:gdLst>
                  <a:gd name="connsiteX0" fmla="*/ 168137 w 476250"/>
                  <a:gd name="connsiteY0" fmla="*/ 5812 h 476250"/>
                  <a:gd name="connsiteX1" fmla="*/ 160755 w 476250"/>
                  <a:gd name="connsiteY1" fmla="*/ 9502 h 476250"/>
                  <a:gd name="connsiteX2" fmla="*/ 157068 w 476250"/>
                  <a:gd name="connsiteY2" fmla="*/ 13192 h 476250"/>
                  <a:gd name="connsiteX3" fmla="*/ 157068 w 476250"/>
                  <a:gd name="connsiteY3" fmla="*/ 16882 h 476250"/>
                  <a:gd name="connsiteX4" fmla="*/ 149687 w 476250"/>
                  <a:gd name="connsiteY4" fmla="*/ 20573 h 476250"/>
                  <a:gd name="connsiteX5" fmla="*/ 142305 w 476250"/>
                  <a:gd name="connsiteY5" fmla="*/ 24264 h 476250"/>
                  <a:gd name="connsiteX6" fmla="*/ 138619 w 476250"/>
                  <a:gd name="connsiteY6" fmla="*/ 27954 h 476250"/>
                  <a:gd name="connsiteX7" fmla="*/ 138619 w 476250"/>
                  <a:gd name="connsiteY7" fmla="*/ 31645 h 476250"/>
                  <a:gd name="connsiteX8" fmla="*/ 134932 w 476250"/>
                  <a:gd name="connsiteY8" fmla="*/ 35335 h 476250"/>
                  <a:gd name="connsiteX9" fmla="*/ 131237 w 476250"/>
                  <a:gd name="connsiteY9" fmla="*/ 42717 h 476250"/>
                  <a:gd name="connsiteX10" fmla="*/ 127550 w 476250"/>
                  <a:gd name="connsiteY10" fmla="*/ 46407 h 476250"/>
                  <a:gd name="connsiteX11" fmla="*/ 127550 w 476250"/>
                  <a:gd name="connsiteY11" fmla="*/ 50098 h 476250"/>
                  <a:gd name="connsiteX12" fmla="*/ 120169 w 476250"/>
                  <a:gd name="connsiteY12" fmla="*/ 68551 h 476250"/>
                  <a:gd name="connsiteX13" fmla="*/ 120169 w 476250"/>
                  <a:gd name="connsiteY13" fmla="*/ 72242 h 476250"/>
                  <a:gd name="connsiteX14" fmla="*/ 120169 w 476250"/>
                  <a:gd name="connsiteY14" fmla="*/ 83313 h 476250"/>
                  <a:gd name="connsiteX15" fmla="*/ 116482 w 476250"/>
                  <a:gd name="connsiteY15" fmla="*/ 83313 h 476250"/>
                  <a:gd name="connsiteX16" fmla="*/ 112796 w 476250"/>
                  <a:gd name="connsiteY16" fmla="*/ 98075 h 476250"/>
                  <a:gd name="connsiteX17" fmla="*/ 109110 w 476250"/>
                  <a:gd name="connsiteY17" fmla="*/ 98075 h 476250"/>
                  <a:gd name="connsiteX18" fmla="*/ 98042 w 476250"/>
                  <a:gd name="connsiteY18" fmla="*/ 94385 h 476250"/>
                  <a:gd name="connsiteX19" fmla="*/ 94346 w 476250"/>
                  <a:gd name="connsiteY19" fmla="*/ 101765 h 476250"/>
                  <a:gd name="connsiteX20" fmla="*/ 105414 w 476250"/>
                  <a:gd name="connsiteY20" fmla="*/ 109147 h 476250"/>
                  <a:gd name="connsiteX21" fmla="*/ 116482 w 476250"/>
                  <a:gd name="connsiteY21" fmla="*/ 109147 h 476250"/>
                  <a:gd name="connsiteX22" fmla="*/ 123864 w 476250"/>
                  <a:gd name="connsiteY22" fmla="*/ 112837 h 476250"/>
                  <a:gd name="connsiteX23" fmla="*/ 120169 w 476250"/>
                  <a:gd name="connsiteY23" fmla="*/ 123909 h 476250"/>
                  <a:gd name="connsiteX24" fmla="*/ 120169 w 476250"/>
                  <a:gd name="connsiteY24" fmla="*/ 134981 h 476250"/>
                  <a:gd name="connsiteX25" fmla="*/ 120169 w 476250"/>
                  <a:gd name="connsiteY25" fmla="*/ 138672 h 476250"/>
                  <a:gd name="connsiteX26" fmla="*/ 127550 w 476250"/>
                  <a:gd name="connsiteY26" fmla="*/ 149743 h 476250"/>
                  <a:gd name="connsiteX27" fmla="*/ 142305 w 476250"/>
                  <a:gd name="connsiteY27" fmla="*/ 171887 h 476250"/>
                  <a:gd name="connsiteX28" fmla="*/ 146000 w 476250"/>
                  <a:gd name="connsiteY28" fmla="*/ 179268 h 476250"/>
                  <a:gd name="connsiteX29" fmla="*/ 149687 w 476250"/>
                  <a:gd name="connsiteY29" fmla="*/ 186649 h 476250"/>
                  <a:gd name="connsiteX30" fmla="*/ 153373 w 476250"/>
                  <a:gd name="connsiteY30" fmla="*/ 190339 h 476250"/>
                  <a:gd name="connsiteX31" fmla="*/ 142305 w 476250"/>
                  <a:gd name="connsiteY31" fmla="*/ 208792 h 476250"/>
                  <a:gd name="connsiteX32" fmla="*/ 142305 w 476250"/>
                  <a:gd name="connsiteY32" fmla="*/ 212483 h 476250"/>
                  <a:gd name="connsiteX33" fmla="*/ 138619 w 476250"/>
                  <a:gd name="connsiteY33" fmla="*/ 216173 h 476250"/>
                  <a:gd name="connsiteX34" fmla="*/ 134932 w 476250"/>
                  <a:gd name="connsiteY34" fmla="*/ 219864 h 476250"/>
                  <a:gd name="connsiteX35" fmla="*/ 123864 w 476250"/>
                  <a:gd name="connsiteY35" fmla="*/ 230936 h 476250"/>
                  <a:gd name="connsiteX36" fmla="*/ 109110 w 476250"/>
                  <a:gd name="connsiteY36" fmla="*/ 242008 h 476250"/>
                  <a:gd name="connsiteX37" fmla="*/ 94346 w 476250"/>
                  <a:gd name="connsiteY37" fmla="*/ 227245 h 476250"/>
                  <a:gd name="connsiteX38" fmla="*/ 83278 w 476250"/>
                  <a:gd name="connsiteY38" fmla="*/ 227245 h 476250"/>
                  <a:gd name="connsiteX39" fmla="*/ 72210 w 476250"/>
                  <a:gd name="connsiteY39" fmla="*/ 223555 h 476250"/>
                  <a:gd name="connsiteX40" fmla="*/ 64838 w 476250"/>
                  <a:gd name="connsiteY40" fmla="*/ 227245 h 476250"/>
                  <a:gd name="connsiteX41" fmla="*/ 64838 w 476250"/>
                  <a:gd name="connsiteY41" fmla="*/ 230936 h 476250"/>
                  <a:gd name="connsiteX42" fmla="*/ 64838 w 476250"/>
                  <a:gd name="connsiteY42" fmla="*/ 234627 h 476250"/>
                  <a:gd name="connsiteX43" fmla="*/ 57456 w 476250"/>
                  <a:gd name="connsiteY43" fmla="*/ 238317 h 476250"/>
                  <a:gd name="connsiteX44" fmla="*/ 46388 w 476250"/>
                  <a:gd name="connsiteY44" fmla="*/ 253080 h 476250"/>
                  <a:gd name="connsiteX45" fmla="*/ 42702 w 476250"/>
                  <a:gd name="connsiteY45" fmla="*/ 256770 h 476250"/>
                  <a:gd name="connsiteX46" fmla="*/ 39006 w 476250"/>
                  <a:gd name="connsiteY46" fmla="*/ 260461 h 476250"/>
                  <a:gd name="connsiteX47" fmla="*/ 24252 w 476250"/>
                  <a:gd name="connsiteY47" fmla="*/ 267841 h 476250"/>
                  <a:gd name="connsiteX48" fmla="*/ 16879 w 476250"/>
                  <a:gd name="connsiteY48" fmla="*/ 275222 h 476250"/>
                  <a:gd name="connsiteX49" fmla="*/ 5812 w 476250"/>
                  <a:gd name="connsiteY49" fmla="*/ 282603 h 476250"/>
                  <a:gd name="connsiteX50" fmla="*/ 9498 w 476250"/>
                  <a:gd name="connsiteY50" fmla="*/ 289985 h 476250"/>
                  <a:gd name="connsiteX51" fmla="*/ 9498 w 476250"/>
                  <a:gd name="connsiteY51" fmla="*/ 293675 h 476250"/>
                  <a:gd name="connsiteX52" fmla="*/ 20566 w 476250"/>
                  <a:gd name="connsiteY52" fmla="*/ 304747 h 476250"/>
                  <a:gd name="connsiteX53" fmla="*/ 24252 w 476250"/>
                  <a:gd name="connsiteY53" fmla="*/ 308438 h 476250"/>
                  <a:gd name="connsiteX54" fmla="*/ 31634 w 476250"/>
                  <a:gd name="connsiteY54" fmla="*/ 315819 h 476250"/>
                  <a:gd name="connsiteX55" fmla="*/ 35320 w 476250"/>
                  <a:gd name="connsiteY55" fmla="*/ 319510 h 476250"/>
                  <a:gd name="connsiteX56" fmla="*/ 39006 w 476250"/>
                  <a:gd name="connsiteY56" fmla="*/ 323200 h 476250"/>
                  <a:gd name="connsiteX57" fmla="*/ 42702 w 476250"/>
                  <a:gd name="connsiteY57" fmla="*/ 330581 h 476250"/>
                  <a:gd name="connsiteX58" fmla="*/ 46388 w 476250"/>
                  <a:gd name="connsiteY58" fmla="*/ 330581 h 476250"/>
                  <a:gd name="connsiteX59" fmla="*/ 42702 w 476250"/>
                  <a:gd name="connsiteY59" fmla="*/ 337963 h 476250"/>
                  <a:gd name="connsiteX60" fmla="*/ 39006 w 476250"/>
                  <a:gd name="connsiteY60" fmla="*/ 341653 h 476250"/>
                  <a:gd name="connsiteX61" fmla="*/ 31634 w 476250"/>
                  <a:gd name="connsiteY61" fmla="*/ 349034 h 476250"/>
                  <a:gd name="connsiteX62" fmla="*/ 31634 w 476250"/>
                  <a:gd name="connsiteY62" fmla="*/ 352724 h 476250"/>
                  <a:gd name="connsiteX63" fmla="*/ 27948 w 476250"/>
                  <a:gd name="connsiteY63" fmla="*/ 352724 h 476250"/>
                  <a:gd name="connsiteX64" fmla="*/ 24252 w 476250"/>
                  <a:gd name="connsiteY64" fmla="*/ 356415 h 476250"/>
                  <a:gd name="connsiteX65" fmla="*/ 13184 w 476250"/>
                  <a:gd name="connsiteY65" fmla="*/ 360105 h 476250"/>
                  <a:gd name="connsiteX66" fmla="*/ 9498 w 476250"/>
                  <a:gd name="connsiteY66" fmla="*/ 363796 h 476250"/>
                  <a:gd name="connsiteX67" fmla="*/ 5812 w 476250"/>
                  <a:gd name="connsiteY67" fmla="*/ 363796 h 476250"/>
                  <a:gd name="connsiteX68" fmla="*/ 5812 w 476250"/>
                  <a:gd name="connsiteY68" fmla="*/ 367486 h 476250"/>
                  <a:gd name="connsiteX69" fmla="*/ 9498 w 476250"/>
                  <a:gd name="connsiteY69" fmla="*/ 374868 h 476250"/>
                  <a:gd name="connsiteX70" fmla="*/ 13184 w 476250"/>
                  <a:gd name="connsiteY70" fmla="*/ 382249 h 476250"/>
                  <a:gd name="connsiteX71" fmla="*/ 16879 w 476250"/>
                  <a:gd name="connsiteY71" fmla="*/ 389630 h 476250"/>
                  <a:gd name="connsiteX72" fmla="*/ 16879 w 476250"/>
                  <a:gd name="connsiteY72" fmla="*/ 393321 h 476250"/>
                  <a:gd name="connsiteX73" fmla="*/ 16879 w 476250"/>
                  <a:gd name="connsiteY73" fmla="*/ 397011 h 476250"/>
                  <a:gd name="connsiteX74" fmla="*/ 24252 w 476250"/>
                  <a:gd name="connsiteY74" fmla="*/ 408083 h 476250"/>
                  <a:gd name="connsiteX75" fmla="*/ 24252 w 476250"/>
                  <a:gd name="connsiteY75" fmla="*/ 411774 h 476250"/>
                  <a:gd name="connsiteX76" fmla="*/ 31634 w 476250"/>
                  <a:gd name="connsiteY76" fmla="*/ 415464 h 476250"/>
                  <a:gd name="connsiteX77" fmla="*/ 31634 w 476250"/>
                  <a:gd name="connsiteY77" fmla="*/ 419155 h 476250"/>
                  <a:gd name="connsiteX78" fmla="*/ 27948 w 476250"/>
                  <a:gd name="connsiteY78" fmla="*/ 422846 h 476250"/>
                  <a:gd name="connsiteX79" fmla="*/ 39006 w 476250"/>
                  <a:gd name="connsiteY79" fmla="*/ 426536 h 476250"/>
                  <a:gd name="connsiteX80" fmla="*/ 35320 w 476250"/>
                  <a:gd name="connsiteY80" fmla="*/ 422846 h 476250"/>
                  <a:gd name="connsiteX81" fmla="*/ 39006 w 476250"/>
                  <a:gd name="connsiteY81" fmla="*/ 419155 h 476250"/>
                  <a:gd name="connsiteX82" fmla="*/ 39006 w 476250"/>
                  <a:gd name="connsiteY82" fmla="*/ 422846 h 476250"/>
                  <a:gd name="connsiteX83" fmla="*/ 42702 w 476250"/>
                  <a:gd name="connsiteY83" fmla="*/ 426536 h 476250"/>
                  <a:gd name="connsiteX84" fmla="*/ 42702 w 476250"/>
                  <a:gd name="connsiteY84" fmla="*/ 422846 h 476250"/>
                  <a:gd name="connsiteX85" fmla="*/ 46388 w 476250"/>
                  <a:gd name="connsiteY85" fmla="*/ 419155 h 476250"/>
                  <a:gd name="connsiteX86" fmla="*/ 50074 w 476250"/>
                  <a:gd name="connsiteY86" fmla="*/ 419155 h 476250"/>
                  <a:gd name="connsiteX87" fmla="*/ 53770 w 476250"/>
                  <a:gd name="connsiteY87" fmla="*/ 419155 h 476250"/>
                  <a:gd name="connsiteX88" fmla="*/ 57456 w 476250"/>
                  <a:gd name="connsiteY88" fmla="*/ 419155 h 476250"/>
                  <a:gd name="connsiteX89" fmla="*/ 57456 w 476250"/>
                  <a:gd name="connsiteY89" fmla="*/ 422846 h 476250"/>
                  <a:gd name="connsiteX90" fmla="*/ 61142 w 476250"/>
                  <a:gd name="connsiteY90" fmla="*/ 422846 h 476250"/>
                  <a:gd name="connsiteX91" fmla="*/ 64838 w 476250"/>
                  <a:gd name="connsiteY91" fmla="*/ 422846 h 476250"/>
                  <a:gd name="connsiteX92" fmla="*/ 68524 w 476250"/>
                  <a:gd name="connsiteY92" fmla="*/ 422846 h 476250"/>
                  <a:gd name="connsiteX93" fmla="*/ 68524 w 476250"/>
                  <a:gd name="connsiteY93" fmla="*/ 426536 h 476250"/>
                  <a:gd name="connsiteX94" fmla="*/ 72210 w 476250"/>
                  <a:gd name="connsiteY94" fmla="*/ 430227 h 476250"/>
                  <a:gd name="connsiteX95" fmla="*/ 75906 w 476250"/>
                  <a:gd name="connsiteY95" fmla="*/ 430227 h 476250"/>
                  <a:gd name="connsiteX96" fmla="*/ 75906 w 476250"/>
                  <a:gd name="connsiteY96" fmla="*/ 433917 h 476250"/>
                  <a:gd name="connsiteX97" fmla="*/ 79592 w 476250"/>
                  <a:gd name="connsiteY97" fmla="*/ 433917 h 476250"/>
                  <a:gd name="connsiteX98" fmla="*/ 83278 w 476250"/>
                  <a:gd name="connsiteY98" fmla="*/ 433917 h 476250"/>
                  <a:gd name="connsiteX99" fmla="*/ 83278 w 476250"/>
                  <a:gd name="connsiteY99" fmla="*/ 430227 h 476250"/>
                  <a:gd name="connsiteX100" fmla="*/ 86974 w 476250"/>
                  <a:gd name="connsiteY100" fmla="*/ 430227 h 476250"/>
                  <a:gd name="connsiteX101" fmla="*/ 86974 w 476250"/>
                  <a:gd name="connsiteY101" fmla="*/ 433917 h 476250"/>
                  <a:gd name="connsiteX102" fmla="*/ 90660 w 476250"/>
                  <a:gd name="connsiteY102" fmla="*/ 433917 h 476250"/>
                  <a:gd name="connsiteX103" fmla="*/ 94346 w 476250"/>
                  <a:gd name="connsiteY103" fmla="*/ 433917 h 476250"/>
                  <a:gd name="connsiteX104" fmla="*/ 98042 w 476250"/>
                  <a:gd name="connsiteY104" fmla="*/ 433917 h 476250"/>
                  <a:gd name="connsiteX105" fmla="*/ 101728 w 476250"/>
                  <a:gd name="connsiteY105" fmla="*/ 430227 h 476250"/>
                  <a:gd name="connsiteX106" fmla="*/ 105414 w 476250"/>
                  <a:gd name="connsiteY106" fmla="*/ 430227 h 476250"/>
                  <a:gd name="connsiteX107" fmla="*/ 109110 w 476250"/>
                  <a:gd name="connsiteY107" fmla="*/ 430227 h 476250"/>
                  <a:gd name="connsiteX108" fmla="*/ 109110 w 476250"/>
                  <a:gd name="connsiteY108" fmla="*/ 433917 h 476250"/>
                  <a:gd name="connsiteX109" fmla="*/ 105414 w 476250"/>
                  <a:gd name="connsiteY109" fmla="*/ 433917 h 476250"/>
                  <a:gd name="connsiteX110" fmla="*/ 105414 w 476250"/>
                  <a:gd name="connsiteY110" fmla="*/ 437607 h 476250"/>
                  <a:gd name="connsiteX111" fmla="*/ 109110 w 476250"/>
                  <a:gd name="connsiteY111" fmla="*/ 437607 h 476250"/>
                  <a:gd name="connsiteX112" fmla="*/ 109110 w 476250"/>
                  <a:gd name="connsiteY112" fmla="*/ 441298 h 476250"/>
                  <a:gd name="connsiteX113" fmla="*/ 112796 w 476250"/>
                  <a:gd name="connsiteY113" fmla="*/ 444988 h 476250"/>
                  <a:gd name="connsiteX114" fmla="*/ 116482 w 476250"/>
                  <a:gd name="connsiteY114" fmla="*/ 444988 h 476250"/>
                  <a:gd name="connsiteX115" fmla="*/ 120169 w 476250"/>
                  <a:gd name="connsiteY115" fmla="*/ 448679 h 476250"/>
                  <a:gd name="connsiteX116" fmla="*/ 123864 w 476250"/>
                  <a:gd name="connsiteY116" fmla="*/ 448679 h 476250"/>
                  <a:gd name="connsiteX117" fmla="*/ 123864 w 476250"/>
                  <a:gd name="connsiteY117" fmla="*/ 452370 h 476250"/>
                  <a:gd name="connsiteX118" fmla="*/ 123864 w 476250"/>
                  <a:gd name="connsiteY118" fmla="*/ 456060 h 476250"/>
                  <a:gd name="connsiteX119" fmla="*/ 127550 w 476250"/>
                  <a:gd name="connsiteY119" fmla="*/ 456060 h 476250"/>
                  <a:gd name="connsiteX120" fmla="*/ 127550 w 476250"/>
                  <a:gd name="connsiteY120" fmla="*/ 459751 h 476250"/>
                  <a:gd name="connsiteX121" fmla="*/ 131237 w 476250"/>
                  <a:gd name="connsiteY121" fmla="*/ 463441 h 476250"/>
                  <a:gd name="connsiteX122" fmla="*/ 131237 w 476250"/>
                  <a:gd name="connsiteY122" fmla="*/ 470823 h 476250"/>
                  <a:gd name="connsiteX123" fmla="*/ 134932 w 476250"/>
                  <a:gd name="connsiteY123" fmla="*/ 474513 h 476250"/>
                  <a:gd name="connsiteX124" fmla="*/ 138619 w 476250"/>
                  <a:gd name="connsiteY124" fmla="*/ 474513 h 476250"/>
                  <a:gd name="connsiteX125" fmla="*/ 138619 w 476250"/>
                  <a:gd name="connsiteY125" fmla="*/ 470823 h 476250"/>
                  <a:gd name="connsiteX126" fmla="*/ 142305 w 476250"/>
                  <a:gd name="connsiteY126" fmla="*/ 470823 h 476250"/>
                  <a:gd name="connsiteX127" fmla="*/ 146000 w 476250"/>
                  <a:gd name="connsiteY127" fmla="*/ 470823 h 476250"/>
                  <a:gd name="connsiteX128" fmla="*/ 146000 w 476250"/>
                  <a:gd name="connsiteY128" fmla="*/ 467132 h 476250"/>
                  <a:gd name="connsiteX129" fmla="*/ 149687 w 476250"/>
                  <a:gd name="connsiteY129" fmla="*/ 467132 h 476250"/>
                  <a:gd name="connsiteX130" fmla="*/ 149687 w 476250"/>
                  <a:gd name="connsiteY130" fmla="*/ 470823 h 476250"/>
                  <a:gd name="connsiteX131" fmla="*/ 153373 w 476250"/>
                  <a:gd name="connsiteY131" fmla="*/ 470823 h 476250"/>
                  <a:gd name="connsiteX132" fmla="*/ 153373 w 476250"/>
                  <a:gd name="connsiteY132" fmla="*/ 467132 h 476250"/>
                  <a:gd name="connsiteX133" fmla="*/ 157068 w 476250"/>
                  <a:gd name="connsiteY133" fmla="*/ 463441 h 476250"/>
                  <a:gd name="connsiteX134" fmla="*/ 160755 w 476250"/>
                  <a:gd name="connsiteY134" fmla="*/ 463441 h 476250"/>
                  <a:gd name="connsiteX135" fmla="*/ 160755 w 476250"/>
                  <a:gd name="connsiteY135" fmla="*/ 467132 h 476250"/>
                  <a:gd name="connsiteX136" fmla="*/ 160755 w 476250"/>
                  <a:gd name="connsiteY136" fmla="*/ 470823 h 476250"/>
                  <a:gd name="connsiteX137" fmla="*/ 164441 w 476250"/>
                  <a:gd name="connsiteY137" fmla="*/ 470823 h 476250"/>
                  <a:gd name="connsiteX138" fmla="*/ 168137 w 476250"/>
                  <a:gd name="connsiteY138" fmla="*/ 474513 h 476250"/>
                  <a:gd name="connsiteX139" fmla="*/ 171823 w 476250"/>
                  <a:gd name="connsiteY139" fmla="*/ 470823 h 476250"/>
                  <a:gd name="connsiteX140" fmla="*/ 175509 w 476250"/>
                  <a:gd name="connsiteY140" fmla="*/ 467132 h 476250"/>
                  <a:gd name="connsiteX141" fmla="*/ 175509 w 476250"/>
                  <a:gd name="connsiteY141" fmla="*/ 463441 h 476250"/>
                  <a:gd name="connsiteX142" fmla="*/ 179205 w 476250"/>
                  <a:gd name="connsiteY142" fmla="*/ 467132 h 476250"/>
                  <a:gd name="connsiteX143" fmla="*/ 182891 w 476250"/>
                  <a:gd name="connsiteY143" fmla="*/ 470823 h 476250"/>
                  <a:gd name="connsiteX144" fmla="*/ 190263 w 476250"/>
                  <a:gd name="connsiteY144" fmla="*/ 470823 h 476250"/>
                  <a:gd name="connsiteX145" fmla="*/ 193959 w 476250"/>
                  <a:gd name="connsiteY145" fmla="*/ 470823 h 476250"/>
                  <a:gd name="connsiteX146" fmla="*/ 197645 w 476250"/>
                  <a:gd name="connsiteY146" fmla="*/ 474513 h 476250"/>
                  <a:gd name="connsiteX147" fmla="*/ 201331 w 476250"/>
                  <a:gd name="connsiteY147" fmla="*/ 474513 h 476250"/>
                  <a:gd name="connsiteX148" fmla="*/ 201331 w 476250"/>
                  <a:gd name="connsiteY148" fmla="*/ 470823 h 476250"/>
                  <a:gd name="connsiteX149" fmla="*/ 197645 w 476250"/>
                  <a:gd name="connsiteY149" fmla="*/ 448679 h 476250"/>
                  <a:gd name="connsiteX150" fmla="*/ 205027 w 476250"/>
                  <a:gd name="connsiteY150" fmla="*/ 441298 h 476250"/>
                  <a:gd name="connsiteX151" fmla="*/ 212399 w 476250"/>
                  <a:gd name="connsiteY151" fmla="*/ 433917 h 476250"/>
                  <a:gd name="connsiteX152" fmla="*/ 216095 w 476250"/>
                  <a:gd name="connsiteY152" fmla="*/ 430227 h 476250"/>
                  <a:gd name="connsiteX153" fmla="*/ 230849 w 476250"/>
                  <a:gd name="connsiteY153" fmla="*/ 430227 h 476250"/>
                  <a:gd name="connsiteX154" fmla="*/ 241917 w 476250"/>
                  <a:gd name="connsiteY154" fmla="*/ 426536 h 476250"/>
                  <a:gd name="connsiteX155" fmla="*/ 245603 w 476250"/>
                  <a:gd name="connsiteY155" fmla="*/ 426536 h 476250"/>
                  <a:gd name="connsiteX156" fmla="*/ 245603 w 476250"/>
                  <a:gd name="connsiteY156" fmla="*/ 422846 h 476250"/>
                  <a:gd name="connsiteX157" fmla="*/ 252985 w 476250"/>
                  <a:gd name="connsiteY157" fmla="*/ 426536 h 476250"/>
                  <a:gd name="connsiteX158" fmla="*/ 260358 w 476250"/>
                  <a:gd name="connsiteY158" fmla="*/ 430227 h 476250"/>
                  <a:gd name="connsiteX159" fmla="*/ 267739 w 476250"/>
                  <a:gd name="connsiteY159" fmla="*/ 433917 h 476250"/>
                  <a:gd name="connsiteX160" fmla="*/ 282494 w 476250"/>
                  <a:gd name="connsiteY160" fmla="*/ 441298 h 476250"/>
                  <a:gd name="connsiteX161" fmla="*/ 289876 w 476250"/>
                  <a:gd name="connsiteY161" fmla="*/ 441298 h 476250"/>
                  <a:gd name="connsiteX162" fmla="*/ 293562 w 476250"/>
                  <a:gd name="connsiteY162" fmla="*/ 444988 h 476250"/>
                  <a:gd name="connsiteX163" fmla="*/ 289876 w 476250"/>
                  <a:gd name="connsiteY163" fmla="*/ 448679 h 476250"/>
                  <a:gd name="connsiteX164" fmla="*/ 289876 w 476250"/>
                  <a:gd name="connsiteY164" fmla="*/ 452370 h 476250"/>
                  <a:gd name="connsiteX165" fmla="*/ 289876 w 476250"/>
                  <a:gd name="connsiteY165" fmla="*/ 456060 h 476250"/>
                  <a:gd name="connsiteX166" fmla="*/ 289876 w 476250"/>
                  <a:gd name="connsiteY166" fmla="*/ 459751 h 476250"/>
                  <a:gd name="connsiteX167" fmla="*/ 293562 w 476250"/>
                  <a:gd name="connsiteY167" fmla="*/ 459751 h 476250"/>
                  <a:gd name="connsiteX168" fmla="*/ 297257 w 476250"/>
                  <a:gd name="connsiteY168" fmla="*/ 456060 h 476250"/>
                  <a:gd name="connsiteX169" fmla="*/ 300944 w 476250"/>
                  <a:gd name="connsiteY169" fmla="*/ 456060 h 476250"/>
                  <a:gd name="connsiteX170" fmla="*/ 304630 w 476250"/>
                  <a:gd name="connsiteY170" fmla="*/ 452370 h 476250"/>
                  <a:gd name="connsiteX171" fmla="*/ 308326 w 476250"/>
                  <a:gd name="connsiteY171" fmla="*/ 444988 h 476250"/>
                  <a:gd name="connsiteX172" fmla="*/ 315698 w 476250"/>
                  <a:gd name="connsiteY172" fmla="*/ 444988 h 476250"/>
                  <a:gd name="connsiteX173" fmla="*/ 319394 w 476250"/>
                  <a:gd name="connsiteY173" fmla="*/ 444988 h 476250"/>
                  <a:gd name="connsiteX174" fmla="*/ 323080 w 476250"/>
                  <a:gd name="connsiteY174" fmla="*/ 441298 h 476250"/>
                  <a:gd name="connsiteX175" fmla="*/ 326766 w 476250"/>
                  <a:gd name="connsiteY175" fmla="*/ 441298 h 476250"/>
                  <a:gd name="connsiteX176" fmla="*/ 330452 w 476250"/>
                  <a:gd name="connsiteY176" fmla="*/ 441298 h 476250"/>
                  <a:gd name="connsiteX177" fmla="*/ 334148 w 476250"/>
                  <a:gd name="connsiteY177" fmla="*/ 441298 h 476250"/>
                  <a:gd name="connsiteX178" fmla="*/ 337834 w 476250"/>
                  <a:gd name="connsiteY178" fmla="*/ 441298 h 476250"/>
                  <a:gd name="connsiteX179" fmla="*/ 341520 w 476250"/>
                  <a:gd name="connsiteY179" fmla="*/ 441298 h 476250"/>
                  <a:gd name="connsiteX180" fmla="*/ 345216 w 476250"/>
                  <a:gd name="connsiteY180" fmla="*/ 444988 h 476250"/>
                  <a:gd name="connsiteX181" fmla="*/ 348902 w 476250"/>
                  <a:gd name="connsiteY181" fmla="*/ 441298 h 476250"/>
                  <a:gd name="connsiteX182" fmla="*/ 352588 w 476250"/>
                  <a:gd name="connsiteY182" fmla="*/ 441298 h 476250"/>
                  <a:gd name="connsiteX183" fmla="*/ 359970 w 476250"/>
                  <a:gd name="connsiteY183" fmla="*/ 441298 h 476250"/>
                  <a:gd name="connsiteX184" fmla="*/ 367352 w 476250"/>
                  <a:gd name="connsiteY184" fmla="*/ 441298 h 476250"/>
                  <a:gd name="connsiteX185" fmla="*/ 371038 w 476250"/>
                  <a:gd name="connsiteY185" fmla="*/ 437607 h 476250"/>
                  <a:gd name="connsiteX186" fmla="*/ 374724 w 476250"/>
                  <a:gd name="connsiteY186" fmla="*/ 441298 h 476250"/>
                  <a:gd name="connsiteX187" fmla="*/ 382106 w 476250"/>
                  <a:gd name="connsiteY187" fmla="*/ 441298 h 476250"/>
                  <a:gd name="connsiteX188" fmla="*/ 385792 w 476250"/>
                  <a:gd name="connsiteY188" fmla="*/ 441298 h 476250"/>
                  <a:gd name="connsiteX189" fmla="*/ 393174 w 476250"/>
                  <a:gd name="connsiteY189" fmla="*/ 444988 h 476250"/>
                  <a:gd name="connsiteX190" fmla="*/ 393174 w 476250"/>
                  <a:gd name="connsiteY190" fmla="*/ 448679 h 476250"/>
                  <a:gd name="connsiteX191" fmla="*/ 396860 w 476250"/>
                  <a:gd name="connsiteY191" fmla="*/ 448679 h 476250"/>
                  <a:gd name="connsiteX192" fmla="*/ 404242 w 476250"/>
                  <a:gd name="connsiteY192" fmla="*/ 448679 h 476250"/>
                  <a:gd name="connsiteX193" fmla="*/ 407928 w 476250"/>
                  <a:gd name="connsiteY193" fmla="*/ 448679 h 476250"/>
                  <a:gd name="connsiteX194" fmla="*/ 411615 w 476250"/>
                  <a:gd name="connsiteY194" fmla="*/ 448679 h 476250"/>
                  <a:gd name="connsiteX195" fmla="*/ 418997 w 476250"/>
                  <a:gd name="connsiteY195" fmla="*/ 448679 h 476250"/>
                  <a:gd name="connsiteX196" fmla="*/ 422683 w 476250"/>
                  <a:gd name="connsiteY196" fmla="*/ 444988 h 476250"/>
                  <a:gd name="connsiteX197" fmla="*/ 426378 w 476250"/>
                  <a:gd name="connsiteY197" fmla="*/ 444988 h 476250"/>
                  <a:gd name="connsiteX198" fmla="*/ 430064 w 476250"/>
                  <a:gd name="connsiteY198" fmla="*/ 448679 h 476250"/>
                  <a:gd name="connsiteX199" fmla="*/ 433751 w 476250"/>
                  <a:gd name="connsiteY199" fmla="*/ 444988 h 476250"/>
                  <a:gd name="connsiteX200" fmla="*/ 433751 w 476250"/>
                  <a:gd name="connsiteY200" fmla="*/ 448679 h 476250"/>
                  <a:gd name="connsiteX201" fmla="*/ 437446 w 476250"/>
                  <a:gd name="connsiteY201" fmla="*/ 448679 h 476250"/>
                  <a:gd name="connsiteX202" fmla="*/ 448514 w 476250"/>
                  <a:gd name="connsiteY202" fmla="*/ 452370 h 476250"/>
                  <a:gd name="connsiteX203" fmla="*/ 452201 w 476250"/>
                  <a:gd name="connsiteY203" fmla="*/ 452370 h 476250"/>
                  <a:gd name="connsiteX204" fmla="*/ 459583 w 476250"/>
                  <a:gd name="connsiteY204" fmla="*/ 444988 h 476250"/>
                  <a:gd name="connsiteX205" fmla="*/ 459583 w 476250"/>
                  <a:gd name="connsiteY205" fmla="*/ 441298 h 476250"/>
                  <a:gd name="connsiteX206" fmla="*/ 459583 w 476250"/>
                  <a:gd name="connsiteY206" fmla="*/ 433917 h 476250"/>
                  <a:gd name="connsiteX207" fmla="*/ 459583 w 476250"/>
                  <a:gd name="connsiteY207" fmla="*/ 419155 h 476250"/>
                  <a:gd name="connsiteX208" fmla="*/ 463269 w 476250"/>
                  <a:gd name="connsiteY208" fmla="*/ 382249 h 476250"/>
                  <a:gd name="connsiteX209" fmla="*/ 463269 w 476250"/>
                  <a:gd name="connsiteY209" fmla="*/ 334272 h 476250"/>
                  <a:gd name="connsiteX210" fmla="*/ 463269 w 476250"/>
                  <a:gd name="connsiteY210" fmla="*/ 312128 h 476250"/>
                  <a:gd name="connsiteX211" fmla="*/ 474337 w 476250"/>
                  <a:gd name="connsiteY211" fmla="*/ 289985 h 476250"/>
                  <a:gd name="connsiteX212" fmla="*/ 463269 w 476250"/>
                  <a:gd name="connsiteY212" fmla="*/ 289985 h 476250"/>
                  <a:gd name="connsiteX213" fmla="*/ 463269 w 476250"/>
                  <a:gd name="connsiteY213" fmla="*/ 282603 h 476250"/>
                  <a:gd name="connsiteX214" fmla="*/ 459583 w 476250"/>
                  <a:gd name="connsiteY214" fmla="*/ 278913 h 476250"/>
                  <a:gd name="connsiteX215" fmla="*/ 452201 w 476250"/>
                  <a:gd name="connsiteY215" fmla="*/ 267841 h 476250"/>
                  <a:gd name="connsiteX216" fmla="*/ 448514 w 476250"/>
                  <a:gd name="connsiteY216" fmla="*/ 267841 h 476250"/>
                  <a:gd name="connsiteX217" fmla="*/ 448514 w 476250"/>
                  <a:gd name="connsiteY217" fmla="*/ 264151 h 476250"/>
                  <a:gd name="connsiteX218" fmla="*/ 437446 w 476250"/>
                  <a:gd name="connsiteY218" fmla="*/ 264151 h 476250"/>
                  <a:gd name="connsiteX219" fmla="*/ 437446 w 476250"/>
                  <a:gd name="connsiteY219" fmla="*/ 260461 h 476250"/>
                  <a:gd name="connsiteX220" fmla="*/ 444819 w 476250"/>
                  <a:gd name="connsiteY220" fmla="*/ 238317 h 476250"/>
                  <a:gd name="connsiteX221" fmla="*/ 448514 w 476250"/>
                  <a:gd name="connsiteY221" fmla="*/ 234627 h 476250"/>
                  <a:gd name="connsiteX222" fmla="*/ 448514 w 476250"/>
                  <a:gd name="connsiteY222" fmla="*/ 227245 h 476250"/>
                  <a:gd name="connsiteX223" fmla="*/ 441133 w 476250"/>
                  <a:gd name="connsiteY223" fmla="*/ 227245 h 476250"/>
                  <a:gd name="connsiteX224" fmla="*/ 437446 w 476250"/>
                  <a:gd name="connsiteY224" fmla="*/ 223555 h 476250"/>
                  <a:gd name="connsiteX225" fmla="*/ 433751 w 476250"/>
                  <a:gd name="connsiteY225" fmla="*/ 219864 h 476250"/>
                  <a:gd name="connsiteX226" fmla="*/ 430064 w 476250"/>
                  <a:gd name="connsiteY226" fmla="*/ 212483 h 476250"/>
                  <a:gd name="connsiteX227" fmla="*/ 422683 w 476250"/>
                  <a:gd name="connsiteY227" fmla="*/ 201411 h 476250"/>
                  <a:gd name="connsiteX228" fmla="*/ 418997 w 476250"/>
                  <a:gd name="connsiteY228" fmla="*/ 201411 h 476250"/>
                  <a:gd name="connsiteX229" fmla="*/ 418997 w 476250"/>
                  <a:gd name="connsiteY229" fmla="*/ 197720 h 476250"/>
                  <a:gd name="connsiteX230" fmla="*/ 415310 w 476250"/>
                  <a:gd name="connsiteY230" fmla="*/ 197720 h 476250"/>
                  <a:gd name="connsiteX231" fmla="*/ 411615 w 476250"/>
                  <a:gd name="connsiteY231" fmla="*/ 190339 h 476250"/>
                  <a:gd name="connsiteX232" fmla="*/ 407928 w 476250"/>
                  <a:gd name="connsiteY232" fmla="*/ 182958 h 476250"/>
                  <a:gd name="connsiteX233" fmla="*/ 404242 w 476250"/>
                  <a:gd name="connsiteY233" fmla="*/ 179268 h 476250"/>
                  <a:gd name="connsiteX234" fmla="*/ 400546 w 476250"/>
                  <a:gd name="connsiteY234" fmla="*/ 175578 h 476250"/>
                  <a:gd name="connsiteX235" fmla="*/ 400546 w 476250"/>
                  <a:gd name="connsiteY235" fmla="*/ 171887 h 476250"/>
                  <a:gd name="connsiteX236" fmla="*/ 396860 w 476250"/>
                  <a:gd name="connsiteY236" fmla="*/ 168196 h 476250"/>
                  <a:gd name="connsiteX237" fmla="*/ 389488 w 476250"/>
                  <a:gd name="connsiteY237" fmla="*/ 160815 h 476250"/>
                  <a:gd name="connsiteX238" fmla="*/ 382106 w 476250"/>
                  <a:gd name="connsiteY238" fmla="*/ 153434 h 476250"/>
                  <a:gd name="connsiteX239" fmla="*/ 378420 w 476250"/>
                  <a:gd name="connsiteY239" fmla="*/ 149743 h 476250"/>
                  <a:gd name="connsiteX240" fmla="*/ 359970 w 476250"/>
                  <a:gd name="connsiteY240" fmla="*/ 131290 h 476250"/>
                  <a:gd name="connsiteX241" fmla="*/ 348902 w 476250"/>
                  <a:gd name="connsiteY241" fmla="*/ 120219 h 476250"/>
                  <a:gd name="connsiteX242" fmla="*/ 337834 w 476250"/>
                  <a:gd name="connsiteY242" fmla="*/ 109147 h 476250"/>
                  <a:gd name="connsiteX243" fmla="*/ 337834 w 476250"/>
                  <a:gd name="connsiteY243" fmla="*/ 105456 h 476250"/>
                  <a:gd name="connsiteX244" fmla="*/ 323080 w 476250"/>
                  <a:gd name="connsiteY244" fmla="*/ 94385 h 476250"/>
                  <a:gd name="connsiteX245" fmla="*/ 319394 w 476250"/>
                  <a:gd name="connsiteY245" fmla="*/ 87004 h 476250"/>
                  <a:gd name="connsiteX246" fmla="*/ 304630 w 476250"/>
                  <a:gd name="connsiteY246" fmla="*/ 75932 h 476250"/>
                  <a:gd name="connsiteX247" fmla="*/ 304630 w 476250"/>
                  <a:gd name="connsiteY247" fmla="*/ 72242 h 476250"/>
                  <a:gd name="connsiteX248" fmla="*/ 300944 w 476250"/>
                  <a:gd name="connsiteY248" fmla="*/ 72242 h 476250"/>
                  <a:gd name="connsiteX249" fmla="*/ 297257 w 476250"/>
                  <a:gd name="connsiteY249" fmla="*/ 68551 h 476250"/>
                  <a:gd name="connsiteX250" fmla="*/ 293562 w 476250"/>
                  <a:gd name="connsiteY250" fmla="*/ 68551 h 476250"/>
                  <a:gd name="connsiteX251" fmla="*/ 289876 w 476250"/>
                  <a:gd name="connsiteY251" fmla="*/ 68551 h 476250"/>
                  <a:gd name="connsiteX252" fmla="*/ 278808 w 476250"/>
                  <a:gd name="connsiteY252" fmla="*/ 68551 h 476250"/>
                  <a:gd name="connsiteX253" fmla="*/ 271426 w 476250"/>
                  <a:gd name="connsiteY253" fmla="*/ 72242 h 476250"/>
                  <a:gd name="connsiteX254" fmla="*/ 267739 w 476250"/>
                  <a:gd name="connsiteY254" fmla="*/ 72242 h 476250"/>
                  <a:gd name="connsiteX255" fmla="*/ 249299 w 476250"/>
                  <a:gd name="connsiteY255" fmla="*/ 79623 h 476250"/>
                  <a:gd name="connsiteX256" fmla="*/ 249299 w 476250"/>
                  <a:gd name="connsiteY256" fmla="*/ 75932 h 476250"/>
                  <a:gd name="connsiteX257" fmla="*/ 245603 w 476250"/>
                  <a:gd name="connsiteY257" fmla="*/ 72242 h 476250"/>
                  <a:gd name="connsiteX258" fmla="*/ 249299 w 476250"/>
                  <a:gd name="connsiteY258" fmla="*/ 68551 h 476250"/>
                  <a:gd name="connsiteX259" fmla="*/ 245603 w 476250"/>
                  <a:gd name="connsiteY259" fmla="*/ 68551 h 476250"/>
                  <a:gd name="connsiteX260" fmla="*/ 245603 w 476250"/>
                  <a:gd name="connsiteY260" fmla="*/ 64860 h 476250"/>
                  <a:gd name="connsiteX261" fmla="*/ 241917 w 476250"/>
                  <a:gd name="connsiteY261" fmla="*/ 61170 h 476250"/>
                  <a:gd name="connsiteX262" fmla="*/ 238231 w 476250"/>
                  <a:gd name="connsiteY262" fmla="*/ 57479 h 476250"/>
                  <a:gd name="connsiteX263" fmla="*/ 234535 w 476250"/>
                  <a:gd name="connsiteY263" fmla="*/ 53789 h 476250"/>
                  <a:gd name="connsiteX264" fmla="*/ 234535 w 476250"/>
                  <a:gd name="connsiteY264" fmla="*/ 50098 h 476250"/>
                  <a:gd name="connsiteX265" fmla="*/ 227163 w 476250"/>
                  <a:gd name="connsiteY265" fmla="*/ 50098 h 476250"/>
                  <a:gd name="connsiteX266" fmla="*/ 227163 w 476250"/>
                  <a:gd name="connsiteY266" fmla="*/ 46407 h 476250"/>
                  <a:gd name="connsiteX267" fmla="*/ 223467 w 476250"/>
                  <a:gd name="connsiteY267" fmla="*/ 42717 h 476250"/>
                  <a:gd name="connsiteX268" fmla="*/ 223467 w 476250"/>
                  <a:gd name="connsiteY268" fmla="*/ 39026 h 476250"/>
                  <a:gd name="connsiteX269" fmla="*/ 223467 w 476250"/>
                  <a:gd name="connsiteY269" fmla="*/ 35335 h 476250"/>
                  <a:gd name="connsiteX270" fmla="*/ 216095 w 476250"/>
                  <a:gd name="connsiteY270" fmla="*/ 39026 h 476250"/>
                  <a:gd name="connsiteX271" fmla="*/ 212399 w 476250"/>
                  <a:gd name="connsiteY271" fmla="*/ 35335 h 476250"/>
                  <a:gd name="connsiteX272" fmla="*/ 212399 w 476250"/>
                  <a:gd name="connsiteY272" fmla="*/ 31645 h 476250"/>
                  <a:gd name="connsiteX273" fmla="*/ 208713 w 476250"/>
                  <a:gd name="connsiteY273" fmla="*/ 20573 h 476250"/>
                  <a:gd name="connsiteX274" fmla="*/ 205027 w 476250"/>
                  <a:gd name="connsiteY274" fmla="*/ 24264 h 476250"/>
                  <a:gd name="connsiteX275" fmla="*/ 201331 w 476250"/>
                  <a:gd name="connsiteY275" fmla="*/ 20573 h 476250"/>
                  <a:gd name="connsiteX276" fmla="*/ 197645 w 476250"/>
                  <a:gd name="connsiteY276" fmla="*/ 9502 h 476250"/>
                  <a:gd name="connsiteX277" fmla="*/ 190263 w 476250"/>
                  <a:gd name="connsiteY277" fmla="*/ 9502 h 476250"/>
                  <a:gd name="connsiteX278" fmla="*/ 186577 w 476250"/>
                  <a:gd name="connsiteY278" fmla="*/ 5812 h 476250"/>
                  <a:gd name="connsiteX279" fmla="*/ 182891 w 476250"/>
                  <a:gd name="connsiteY279" fmla="*/ 9502 h 476250"/>
                  <a:gd name="connsiteX280" fmla="*/ 179205 w 476250"/>
                  <a:gd name="connsiteY280" fmla="*/ 5812 h 476250"/>
                  <a:gd name="connsiteX281" fmla="*/ 175509 w 476250"/>
                  <a:gd name="connsiteY281" fmla="*/ 5812 h 476250"/>
                  <a:gd name="connsiteX282" fmla="*/ 168137 w 476250"/>
                  <a:gd name="connsiteY282" fmla="*/ 5812 h 476250"/>
                  <a:gd name="connsiteX283" fmla="*/ 463269 w 476250"/>
                  <a:gd name="connsiteY283" fmla="*/ 282603 h 476250"/>
                  <a:gd name="connsiteX284" fmla="*/ 466955 w 476250"/>
                  <a:gd name="connsiteY284" fmla="*/ 282603 h 476250"/>
                  <a:gd name="connsiteX285" fmla="*/ 466955 w 476250"/>
                  <a:gd name="connsiteY285" fmla="*/ 278913 h 476250"/>
                  <a:gd name="connsiteX286" fmla="*/ 463269 w 476250"/>
                  <a:gd name="connsiteY286" fmla="*/ 282603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Lst>
                <a:rect l="l" t="t" r="r" b="b"/>
                <a:pathLst>
                  <a:path w="476250" h="476250">
                    <a:moveTo>
                      <a:pt x="168137" y="5812"/>
                    </a:moveTo>
                    <a:lnTo>
                      <a:pt x="160755" y="9502"/>
                    </a:lnTo>
                    <a:lnTo>
                      <a:pt x="157068" y="13192"/>
                    </a:lnTo>
                    <a:lnTo>
                      <a:pt x="157068" y="16882"/>
                    </a:lnTo>
                    <a:lnTo>
                      <a:pt x="149687" y="20573"/>
                    </a:lnTo>
                    <a:lnTo>
                      <a:pt x="142305" y="24264"/>
                    </a:lnTo>
                    <a:lnTo>
                      <a:pt x="138619" y="27954"/>
                    </a:lnTo>
                    <a:lnTo>
                      <a:pt x="138619" y="31645"/>
                    </a:lnTo>
                    <a:lnTo>
                      <a:pt x="134932" y="35335"/>
                    </a:lnTo>
                    <a:lnTo>
                      <a:pt x="131237" y="42717"/>
                    </a:lnTo>
                    <a:lnTo>
                      <a:pt x="127550" y="46407"/>
                    </a:lnTo>
                    <a:lnTo>
                      <a:pt x="127550" y="50098"/>
                    </a:lnTo>
                    <a:lnTo>
                      <a:pt x="120169" y="68551"/>
                    </a:lnTo>
                    <a:lnTo>
                      <a:pt x="120169" y="72242"/>
                    </a:lnTo>
                    <a:lnTo>
                      <a:pt x="120169" y="83313"/>
                    </a:lnTo>
                    <a:lnTo>
                      <a:pt x="116482" y="83313"/>
                    </a:lnTo>
                    <a:lnTo>
                      <a:pt x="112796" y="98075"/>
                    </a:lnTo>
                    <a:lnTo>
                      <a:pt x="109110" y="98075"/>
                    </a:lnTo>
                    <a:lnTo>
                      <a:pt x="98042" y="94385"/>
                    </a:lnTo>
                    <a:lnTo>
                      <a:pt x="94346" y="101765"/>
                    </a:lnTo>
                    <a:lnTo>
                      <a:pt x="105414" y="109147"/>
                    </a:lnTo>
                    <a:lnTo>
                      <a:pt x="116482" y="109147"/>
                    </a:lnTo>
                    <a:lnTo>
                      <a:pt x="123864" y="112837"/>
                    </a:lnTo>
                    <a:lnTo>
                      <a:pt x="120169" y="123909"/>
                    </a:lnTo>
                    <a:lnTo>
                      <a:pt x="120169" y="134981"/>
                    </a:lnTo>
                    <a:lnTo>
                      <a:pt x="120169" y="138672"/>
                    </a:lnTo>
                    <a:lnTo>
                      <a:pt x="127550" y="149743"/>
                    </a:lnTo>
                    <a:lnTo>
                      <a:pt x="142305" y="171887"/>
                    </a:lnTo>
                    <a:lnTo>
                      <a:pt x="146000" y="179268"/>
                    </a:lnTo>
                    <a:lnTo>
                      <a:pt x="149687" y="186649"/>
                    </a:lnTo>
                    <a:lnTo>
                      <a:pt x="153373" y="190339"/>
                    </a:lnTo>
                    <a:lnTo>
                      <a:pt x="142305" y="208792"/>
                    </a:lnTo>
                    <a:lnTo>
                      <a:pt x="142305" y="212483"/>
                    </a:lnTo>
                    <a:lnTo>
                      <a:pt x="138619" y="216173"/>
                    </a:lnTo>
                    <a:lnTo>
                      <a:pt x="134932" y="219864"/>
                    </a:lnTo>
                    <a:lnTo>
                      <a:pt x="123864" y="230936"/>
                    </a:lnTo>
                    <a:lnTo>
                      <a:pt x="109110" y="242008"/>
                    </a:lnTo>
                    <a:lnTo>
                      <a:pt x="94346" y="227245"/>
                    </a:lnTo>
                    <a:lnTo>
                      <a:pt x="83278" y="227245"/>
                    </a:lnTo>
                    <a:lnTo>
                      <a:pt x="72210" y="223555"/>
                    </a:lnTo>
                    <a:lnTo>
                      <a:pt x="64838" y="227245"/>
                    </a:lnTo>
                    <a:lnTo>
                      <a:pt x="64838" y="230936"/>
                    </a:lnTo>
                    <a:lnTo>
                      <a:pt x="64838" y="234627"/>
                    </a:lnTo>
                    <a:lnTo>
                      <a:pt x="57456" y="238317"/>
                    </a:lnTo>
                    <a:lnTo>
                      <a:pt x="46388" y="253080"/>
                    </a:lnTo>
                    <a:lnTo>
                      <a:pt x="42702" y="256770"/>
                    </a:lnTo>
                    <a:lnTo>
                      <a:pt x="39006" y="260461"/>
                    </a:lnTo>
                    <a:lnTo>
                      <a:pt x="24252" y="267841"/>
                    </a:lnTo>
                    <a:lnTo>
                      <a:pt x="16879" y="275222"/>
                    </a:lnTo>
                    <a:lnTo>
                      <a:pt x="5812" y="282603"/>
                    </a:lnTo>
                    <a:lnTo>
                      <a:pt x="9498" y="289985"/>
                    </a:lnTo>
                    <a:lnTo>
                      <a:pt x="9498" y="293675"/>
                    </a:lnTo>
                    <a:lnTo>
                      <a:pt x="20566" y="304747"/>
                    </a:lnTo>
                    <a:lnTo>
                      <a:pt x="24252" y="308438"/>
                    </a:lnTo>
                    <a:lnTo>
                      <a:pt x="31634" y="315819"/>
                    </a:lnTo>
                    <a:lnTo>
                      <a:pt x="35320" y="319510"/>
                    </a:lnTo>
                    <a:lnTo>
                      <a:pt x="39006" y="323200"/>
                    </a:lnTo>
                    <a:lnTo>
                      <a:pt x="42702" y="330581"/>
                    </a:lnTo>
                    <a:lnTo>
                      <a:pt x="46388" y="330581"/>
                    </a:lnTo>
                    <a:lnTo>
                      <a:pt x="42702" y="337963"/>
                    </a:lnTo>
                    <a:lnTo>
                      <a:pt x="39006" y="341653"/>
                    </a:lnTo>
                    <a:lnTo>
                      <a:pt x="31634" y="349034"/>
                    </a:lnTo>
                    <a:lnTo>
                      <a:pt x="31634" y="352724"/>
                    </a:lnTo>
                    <a:lnTo>
                      <a:pt x="27948" y="352724"/>
                    </a:lnTo>
                    <a:lnTo>
                      <a:pt x="24252" y="356415"/>
                    </a:lnTo>
                    <a:lnTo>
                      <a:pt x="13184" y="360105"/>
                    </a:lnTo>
                    <a:lnTo>
                      <a:pt x="9498" y="363796"/>
                    </a:lnTo>
                    <a:lnTo>
                      <a:pt x="5812" y="363796"/>
                    </a:lnTo>
                    <a:lnTo>
                      <a:pt x="5812" y="367486"/>
                    </a:lnTo>
                    <a:lnTo>
                      <a:pt x="9498" y="374868"/>
                    </a:lnTo>
                    <a:lnTo>
                      <a:pt x="13184" y="382249"/>
                    </a:lnTo>
                    <a:lnTo>
                      <a:pt x="16879" y="389630"/>
                    </a:lnTo>
                    <a:lnTo>
                      <a:pt x="16879" y="393321"/>
                    </a:lnTo>
                    <a:lnTo>
                      <a:pt x="16879" y="397011"/>
                    </a:lnTo>
                    <a:lnTo>
                      <a:pt x="24252" y="408083"/>
                    </a:lnTo>
                    <a:lnTo>
                      <a:pt x="24252" y="411774"/>
                    </a:lnTo>
                    <a:lnTo>
                      <a:pt x="31634" y="415464"/>
                    </a:lnTo>
                    <a:lnTo>
                      <a:pt x="31634" y="419155"/>
                    </a:lnTo>
                    <a:lnTo>
                      <a:pt x="27948" y="422846"/>
                    </a:lnTo>
                    <a:lnTo>
                      <a:pt x="39006" y="426536"/>
                    </a:lnTo>
                    <a:lnTo>
                      <a:pt x="35320" y="422846"/>
                    </a:lnTo>
                    <a:lnTo>
                      <a:pt x="39006" y="419155"/>
                    </a:lnTo>
                    <a:lnTo>
                      <a:pt x="39006" y="422846"/>
                    </a:lnTo>
                    <a:lnTo>
                      <a:pt x="42702" y="426536"/>
                    </a:lnTo>
                    <a:lnTo>
                      <a:pt x="42702" y="422846"/>
                    </a:lnTo>
                    <a:lnTo>
                      <a:pt x="46388" y="419155"/>
                    </a:lnTo>
                    <a:lnTo>
                      <a:pt x="50074" y="419155"/>
                    </a:lnTo>
                    <a:lnTo>
                      <a:pt x="53770" y="419155"/>
                    </a:lnTo>
                    <a:lnTo>
                      <a:pt x="57456" y="419155"/>
                    </a:lnTo>
                    <a:lnTo>
                      <a:pt x="57456" y="422846"/>
                    </a:lnTo>
                    <a:lnTo>
                      <a:pt x="61142" y="422846"/>
                    </a:lnTo>
                    <a:lnTo>
                      <a:pt x="64838" y="422846"/>
                    </a:lnTo>
                    <a:lnTo>
                      <a:pt x="68524" y="422846"/>
                    </a:lnTo>
                    <a:lnTo>
                      <a:pt x="68524" y="426536"/>
                    </a:lnTo>
                    <a:lnTo>
                      <a:pt x="72210" y="430227"/>
                    </a:lnTo>
                    <a:lnTo>
                      <a:pt x="75906" y="430227"/>
                    </a:lnTo>
                    <a:lnTo>
                      <a:pt x="75906" y="433917"/>
                    </a:lnTo>
                    <a:lnTo>
                      <a:pt x="79592" y="433917"/>
                    </a:lnTo>
                    <a:lnTo>
                      <a:pt x="83278" y="433917"/>
                    </a:lnTo>
                    <a:lnTo>
                      <a:pt x="83278" y="430227"/>
                    </a:lnTo>
                    <a:lnTo>
                      <a:pt x="86974" y="430227"/>
                    </a:lnTo>
                    <a:lnTo>
                      <a:pt x="86974" y="433917"/>
                    </a:lnTo>
                    <a:lnTo>
                      <a:pt x="90660" y="433917"/>
                    </a:lnTo>
                    <a:lnTo>
                      <a:pt x="94346" y="433917"/>
                    </a:lnTo>
                    <a:lnTo>
                      <a:pt x="98042" y="433917"/>
                    </a:lnTo>
                    <a:lnTo>
                      <a:pt x="101728" y="430227"/>
                    </a:lnTo>
                    <a:lnTo>
                      <a:pt x="105414" y="430227"/>
                    </a:lnTo>
                    <a:lnTo>
                      <a:pt x="109110" y="430227"/>
                    </a:lnTo>
                    <a:lnTo>
                      <a:pt x="109110" y="433917"/>
                    </a:lnTo>
                    <a:lnTo>
                      <a:pt x="105414" y="433917"/>
                    </a:lnTo>
                    <a:lnTo>
                      <a:pt x="105414" y="437607"/>
                    </a:lnTo>
                    <a:lnTo>
                      <a:pt x="109110" y="437607"/>
                    </a:lnTo>
                    <a:lnTo>
                      <a:pt x="109110" y="441298"/>
                    </a:lnTo>
                    <a:lnTo>
                      <a:pt x="112796" y="444988"/>
                    </a:lnTo>
                    <a:lnTo>
                      <a:pt x="116482" y="444988"/>
                    </a:lnTo>
                    <a:lnTo>
                      <a:pt x="120169" y="448679"/>
                    </a:lnTo>
                    <a:lnTo>
                      <a:pt x="123864" y="448679"/>
                    </a:lnTo>
                    <a:lnTo>
                      <a:pt x="123864" y="452370"/>
                    </a:lnTo>
                    <a:lnTo>
                      <a:pt x="123864" y="456060"/>
                    </a:lnTo>
                    <a:lnTo>
                      <a:pt x="127550" y="456060"/>
                    </a:lnTo>
                    <a:lnTo>
                      <a:pt x="127550" y="459751"/>
                    </a:lnTo>
                    <a:lnTo>
                      <a:pt x="131237" y="463441"/>
                    </a:lnTo>
                    <a:lnTo>
                      <a:pt x="131237" y="470823"/>
                    </a:lnTo>
                    <a:lnTo>
                      <a:pt x="134932" y="474513"/>
                    </a:lnTo>
                    <a:lnTo>
                      <a:pt x="138619" y="474513"/>
                    </a:lnTo>
                    <a:lnTo>
                      <a:pt x="138619" y="470823"/>
                    </a:lnTo>
                    <a:lnTo>
                      <a:pt x="142305" y="470823"/>
                    </a:lnTo>
                    <a:lnTo>
                      <a:pt x="146000" y="470823"/>
                    </a:lnTo>
                    <a:lnTo>
                      <a:pt x="146000" y="467132"/>
                    </a:lnTo>
                    <a:lnTo>
                      <a:pt x="149687" y="467132"/>
                    </a:lnTo>
                    <a:lnTo>
                      <a:pt x="149687" y="470823"/>
                    </a:lnTo>
                    <a:lnTo>
                      <a:pt x="153373" y="470823"/>
                    </a:lnTo>
                    <a:lnTo>
                      <a:pt x="153373" y="467132"/>
                    </a:lnTo>
                    <a:lnTo>
                      <a:pt x="157068" y="463441"/>
                    </a:lnTo>
                    <a:lnTo>
                      <a:pt x="160755" y="463441"/>
                    </a:lnTo>
                    <a:lnTo>
                      <a:pt x="160755" y="467132"/>
                    </a:lnTo>
                    <a:lnTo>
                      <a:pt x="160755" y="470823"/>
                    </a:lnTo>
                    <a:lnTo>
                      <a:pt x="164441" y="470823"/>
                    </a:lnTo>
                    <a:lnTo>
                      <a:pt x="168137" y="474513"/>
                    </a:lnTo>
                    <a:lnTo>
                      <a:pt x="171823" y="470823"/>
                    </a:lnTo>
                    <a:lnTo>
                      <a:pt x="175509" y="467132"/>
                    </a:lnTo>
                    <a:lnTo>
                      <a:pt x="175509" y="463441"/>
                    </a:lnTo>
                    <a:lnTo>
                      <a:pt x="179205" y="467132"/>
                    </a:lnTo>
                    <a:lnTo>
                      <a:pt x="182891" y="470823"/>
                    </a:lnTo>
                    <a:lnTo>
                      <a:pt x="190263" y="470823"/>
                    </a:lnTo>
                    <a:lnTo>
                      <a:pt x="193959" y="470823"/>
                    </a:lnTo>
                    <a:lnTo>
                      <a:pt x="197645" y="474513"/>
                    </a:lnTo>
                    <a:lnTo>
                      <a:pt x="201331" y="474513"/>
                    </a:lnTo>
                    <a:lnTo>
                      <a:pt x="201331" y="470823"/>
                    </a:lnTo>
                    <a:lnTo>
                      <a:pt x="197645" y="448679"/>
                    </a:lnTo>
                    <a:lnTo>
                      <a:pt x="205027" y="441298"/>
                    </a:lnTo>
                    <a:lnTo>
                      <a:pt x="212399" y="433917"/>
                    </a:lnTo>
                    <a:lnTo>
                      <a:pt x="216095" y="430227"/>
                    </a:lnTo>
                    <a:lnTo>
                      <a:pt x="230849" y="430227"/>
                    </a:lnTo>
                    <a:lnTo>
                      <a:pt x="241917" y="426536"/>
                    </a:lnTo>
                    <a:lnTo>
                      <a:pt x="245603" y="426536"/>
                    </a:lnTo>
                    <a:lnTo>
                      <a:pt x="245603" y="422846"/>
                    </a:lnTo>
                    <a:lnTo>
                      <a:pt x="252985" y="426536"/>
                    </a:lnTo>
                    <a:lnTo>
                      <a:pt x="260358" y="430227"/>
                    </a:lnTo>
                    <a:lnTo>
                      <a:pt x="267739" y="433917"/>
                    </a:lnTo>
                    <a:lnTo>
                      <a:pt x="282494" y="441298"/>
                    </a:lnTo>
                    <a:lnTo>
                      <a:pt x="289876" y="441298"/>
                    </a:lnTo>
                    <a:lnTo>
                      <a:pt x="293562" y="444988"/>
                    </a:lnTo>
                    <a:lnTo>
                      <a:pt x="289876" y="448679"/>
                    </a:lnTo>
                    <a:lnTo>
                      <a:pt x="289876" y="452370"/>
                    </a:lnTo>
                    <a:lnTo>
                      <a:pt x="289876" y="456060"/>
                    </a:lnTo>
                    <a:lnTo>
                      <a:pt x="289876" y="459751"/>
                    </a:lnTo>
                    <a:lnTo>
                      <a:pt x="293562" y="459751"/>
                    </a:lnTo>
                    <a:lnTo>
                      <a:pt x="297257" y="456060"/>
                    </a:lnTo>
                    <a:lnTo>
                      <a:pt x="300944" y="456060"/>
                    </a:lnTo>
                    <a:lnTo>
                      <a:pt x="304630" y="452370"/>
                    </a:lnTo>
                    <a:lnTo>
                      <a:pt x="308326" y="444988"/>
                    </a:lnTo>
                    <a:lnTo>
                      <a:pt x="315698" y="444988"/>
                    </a:lnTo>
                    <a:lnTo>
                      <a:pt x="319394" y="444988"/>
                    </a:lnTo>
                    <a:lnTo>
                      <a:pt x="323080" y="441298"/>
                    </a:lnTo>
                    <a:lnTo>
                      <a:pt x="326766" y="441298"/>
                    </a:lnTo>
                    <a:lnTo>
                      <a:pt x="330452" y="441298"/>
                    </a:lnTo>
                    <a:lnTo>
                      <a:pt x="334148" y="441298"/>
                    </a:lnTo>
                    <a:lnTo>
                      <a:pt x="337834" y="441298"/>
                    </a:lnTo>
                    <a:lnTo>
                      <a:pt x="341520" y="441298"/>
                    </a:lnTo>
                    <a:lnTo>
                      <a:pt x="345216" y="444988"/>
                    </a:lnTo>
                    <a:lnTo>
                      <a:pt x="348902" y="441298"/>
                    </a:lnTo>
                    <a:lnTo>
                      <a:pt x="352588" y="441298"/>
                    </a:lnTo>
                    <a:lnTo>
                      <a:pt x="359970" y="441298"/>
                    </a:lnTo>
                    <a:lnTo>
                      <a:pt x="367352" y="441298"/>
                    </a:lnTo>
                    <a:lnTo>
                      <a:pt x="371038" y="437607"/>
                    </a:lnTo>
                    <a:lnTo>
                      <a:pt x="374724" y="441298"/>
                    </a:lnTo>
                    <a:lnTo>
                      <a:pt x="382106" y="441298"/>
                    </a:lnTo>
                    <a:lnTo>
                      <a:pt x="385792" y="441298"/>
                    </a:lnTo>
                    <a:lnTo>
                      <a:pt x="393174" y="444988"/>
                    </a:lnTo>
                    <a:lnTo>
                      <a:pt x="393174" y="448679"/>
                    </a:lnTo>
                    <a:lnTo>
                      <a:pt x="396860" y="448679"/>
                    </a:lnTo>
                    <a:lnTo>
                      <a:pt x="404242" y="448679"/>
                    </a:lnTo>
                    <a:lnTo>
                      <a:pt x="407928" y="448679"/>
                    </a:lnTo>
                    <a:lnTo>
                      <a:pt x="411615" y="448679"/>
                    </a:lnTo>
                    <a:lnTo>
                      <a:pt x="418997" y="448679"/>
                    </a:lnTo>
                    <a:lnTo>
                      <a:pt x="422683" y="444988"/>
                    </a:lnTo>
                    <a:lnTo>
                      <a:pt x="426378" y="444988"/>
                    </a:lnTo>
                    <a:lnTo>
                      <a:pt x="430064" y="448679"/>
                    </a:lnTo>
                    <a:lnTo>
                      <a:pt x="433751" y="444988"/>
                    </a:lnTo>
                    <a:lnTo>
                      <a:pt x="433751" y="448679"/>
                    </a:lnTo>
                    <a:lnTo>
                      <a:pt x="437446" y="448679"/>
                    </a:lnTo>
                    <a:lnTo>
                      <a:pt x="448514" y="452370"/>
                    </a:lnTo>
                    <a:lnTo>
                      <a:pt x="452201" y="452370"/>
                    </a:lnTo>
                    <a:lnTo>
                      <a:pt x="459583" y="444988"/>
                    </a:lnTo>
                    <a:lnTo>
                      <a:pt x="459583" y="441298"/>
                    </a:lnTo>
                    <a:lnTo>
                      <a:pt x="459583" y="433917"/>
                    </a:lnTo>
                    <a:lnTo>
                      <a:pt x="459583" y="419155"/>
                    </a:lnTo>
                    <a:lnTo>
                      <a:pt x="463269" y="382249"/>
                    </a:lnTo>
                    <a:lnTo>
                      <a:pt x="463269" y="334272"/>
                    </a:lnTo>
                    <a:lnTo>
                      <a:pt x="463269" y="312128"/>
                    </a:lnTo>
                    <a:lnTo>
                      <a:pt x="474337" y="289985"/>
                    </a:lnTo>
                    <a:lnTo>
                      <a:pt x="463269" y="289985"/>
                    </a:lnTo>
                    <a:lnTo>
                      <a:pt x="463269" y="282603"/>
                    </a:lnTo>
                    <a:lnTo>
                      <a:pt x="459583" y="278913"/>
                    </a:lnTo>
                    <a:lnTo>
                      <a:pt x="452201" y="267841"/>
                    </a:lnTo>
                    <a:lnTo>
                      <a:pt x="448514" y="267841"/>
                    </a:lnTo>
                    <a:lnTo>
                      <a:pt x="448514" y="264151"/>
                    </a:lnTo>
                    <a:lnTo>
                      <a:pt x="437446" y="264151"/>
                    </a:lnTo>
                    <a:lnTo>
                      <a:pt x="437446" y="260461"/>
                    </a:lnTo>
                    <a:lnTo>
                      <a:pt x="444819" y="238317"/>
                    </a:lnTo>
                    <a:lnTo>
                      <a:pt x="448514" y="234627"/>
                    </a:lnTo>
                    <a:lnTo>
                      <a:pt x="448514" y="227245"/>
                    </a:lnTo>
                    <a:lnTo>
                      <a:pt x="441133" y="227245"/>
                    </a:lnTo>
                    <a:lnTo>
                      <a:pt x="437446" y="223555"/>
                    </a:lnTo>
                    <a:lnTo>
                      <a:pt x="433751" y="219864"/>
                    </a:lnTo>
                    <a:lnTo>
                      <a:pt x="430064" y="212483"/>
                    </a:lnTo>
                    <a:lnTo>
                      <a:pt x="422683" y="201411"/>
                    </a:lnTo>
                    <a:lnTo>
                      <a:pt x="418997" y="201411"/>
                    </a:lnTo>
                    <a:lnTo>
                      <a:pt x="418997" y="197720"/>
                    </a:lnTo>
                    <a:lnTo>
                      <a:pt x="415310" y="197720"/>
                    </a:lnTo>
                    <a:lnTo>
                      <a:pt x="411615" y="190339"/>
                    </a:lnTo>
                    <a:lnTo>
                      <a:pt x="407928" y="182958"/>
                    </a:lnTo>
                    <a:lnTo>
                      <a:pt x="404242" y="179268"/>
                    </a:lnTo>
                    <a:lnTo>
                      <a:pt x="400546" y="175578"/>
                    </a:lnTo>
                    <a:lnTo>
                      <a:pt x="400546" y="171887"/>
                    </a:lnTo>
                    <a:lnTo>
                      <a:pt x="396860" y="168196"/>
                    </a:lnTo>
                    <a:lnTo>
                      <a:pt x="389488" y="160815"/>
                    </a:lnTo>
                    <a:lnTo>
                      <a:pt x="382106" y="153434"/>
                    </a:lnTo>
                    <a:lnTo>
                      <a:pt x="378420" y="149743"/>
                    </a:lnTo>
                    <a:lnTo>
                      <a:pt x="359970" y="131290"/>
                    </a:lnTo>
                    <a:lnTo>
                      <a:pt x="348902" y="120219"/>
                    </a:lnTo>
                    <a:lnTo>
                      <a:pt x="337834" y="109147"/>
                    </a:lnTo>
                    <a:lnTo>
                      <a:pt x="337834" y="105456"/>
                    </a:lnTo>
                    <a:lnTo>
                      <a:pt x="323080" y="94385"/>
                    </a:lnTo>
                    <a:lnTo>
                      <a:pt x="319394" y="87004"/>
                    </a:lnTo>
                    <a:lnTo>
                      <a:pt x="304630" y="75932"/>
                    </a:lnTo>
                    <a:lnTo>
                      <a:pt x="304630" y="72242"/>
                    </a:lnTo>
                    <a:lnTo>
                      <a:pt x="300944" y="72242"/>
                    </a:lnTo>
                    <a:lnTo>
                      <a:pt x="297257" y="68551"/>
                    </a:lnTo>
                    <a:lnTo>
                      <a:pt x="293562" y="68551"/>
                    </a:lnTo>
                    <a:lnTo>
                      <a:pt x="289876" y="68551"/>
                    </a:lnTo>
                    <a:lnTo>
                      <a:pt x="278808" y="68551"/>
                    </a:lnTo>
                    <a:lnTo>
                      <a:pt x="271426" y="72242"/>
                    </a:lnTo>
                    <a:lnTo>
                      <a:pt x="267739" y="72242"/>
                    </a:lnTo>
                    <a:lnTo>
                      <a:pt x="249299" y="79623"/>
                    </a:lnTo>
                    <a:lnTo>
                      <a:pt x="249299" y="75932"/>
                    </a:lnTo>
                    <a:lnTo>
                      <a:pt x="245603" y="72242"/>
                    </a:lnTo>
                    <a:lnTo>
                      <a:pt x="249299" y="68551"/>
                    </a:lnTo>
                    <a:lnTo>
                      <a:pt x="245603" y="68551"/>
                    </a:lnTo>
                    <a:lnTo>
                      <a:pt x="245603" y="64860"/>
                    </a:lnTo>
                    <a:lnTo>
                      <a:pt x="241917" y="61170"/>
                    </a:lnTo>
                    <a:lnTo>
                      <a:pt x="238231" y="57479"/>
                    </a:lnTo>
                    <a:lnTo>
                      <a:pt x="234535" y="53789"/>
                    </a:lnTo>
                    <a:lnTo>
                      <a:pt x="234535" y="50098"/>
                    </a:lnTo>
                    <a:lnTo>
                      <a:pt x="227163" y="50098"/>
                    </a:lnTo>
                    <a:lnTo>
                      <a:pt x="227163" y="46407"/>
                    </a:lnTo>
                    <a:lnTo>
                      <a:pt x="223467" y="42717"/>
                    </a:lnTo>
                    <a:lnTo>
                      <a:pt x="223467" y="39026"/>
                    </a:lnTo>
                    <a:lnTo>
                      <a:pt x="223467" y="35335"/>
                    </a:lnTo>
                    <a:lnTo>
                      <a:pt x="216095" y="39026"/>
                    </a:lnTo>
                    <a:lnTo>
                      <a:pt x="212399" y="35335"/>
                    </a:lnTo>
                    <a:lnTo>
                      <a:pt x="212399" y="31645"/>
                    </a:lnTo>
                    <a:lnTo>
                      <a:pt x="208713" y="20573"/>
                    </a:lnTo>
                    <a:lnTo>
                      <a:pt x="205027" y="24264"/>
                    </a:lnTo>
                    <a:lnTo>
                      <a:pt x="201331" y="20573"/>
                    </a:lnTo>
                    <a:lnTo>
                      <a:pt x="197645" y="9502"/>
                    </a:lnTo>
                    <a:lnTo>
                      <a:pt x="190263" y="9502"/>
                    </a:lnTo>
                    <a:lnTo>
                      <a:pt x="186577" y="5812"/>
                    </a:lnTo>
                    <a:lnTo>
                      <a:pt x="182891" y="9502"/>
                    </a:lnTo>
                    <a:lnTo>
                      <a:pt x="179205" y="5812"/>
                    </a:lnTo>
                    <a:lnTo>
                      <a:pt x="175509" y="5812"/>
                    </a:lnTo>
                    <a:lnTo>
                      <a:pt x="168137" y="5812"/>
                    </a:lnTo>
                    <a:close/>
                    <a:moveTo>
                      <a:pt x="463269" y="282603"/>
                    </a:moveTo>
                    <a:lnTo>
                      <a:pt x="466955" y="282603"/>
                    </a:lnTo>
                    <a:lnTo>
                      <a:pt x="466955" y="278913"/>
                    </a:lnTo>
                    <a:lnTo>
                      <a:pt x="463269" y="28260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36" name="Freeform: Shape 35">
                <a:extLst>
                  <a:ext uri="{FF2B5EF4-FFF2-40B4-BE49-F238E27FC236}">
                    <a16:creationId xmlns:a16="http://schemas.microsoft.com/office/drawing/2014/main" id="{134EE158-0DDE-4CEE-9455-EB80DB7914E3}"/>
                  </a:ext>
                </a:extLst>
              </p:cNvPr>
              <p:cNvSpPr/>
              <p:nvPr/>
            </p:nvSpPr>
            <p:spPr>
              <a:xfrm>
                <a:off x="6275283" y="2442035"/>
                <a:ext cx="1404534" cy="1319410"/>
              </a:xfrm>
              <a:custGeom>
                <a:avLst/>
                <a:gdLst>
                  <a:gd name="connsiteX0" fmla="*/ 160768 w 628650"/>
                  <a:gd name="connsiteY0" fmla="*/ 5815 h 590550"/>
                  <a:gd name="connsiteX1" fmla="*/ 149700 w 628650"/>
                  <a:gd name="connsiteY1" fmla="*/ 13197 h 590550"/>
                  <a:gd name="connsiteX2" fmla="*/ 146004 w 628650"/>
                  <a:gd name="connsiteY2" fmla="*/ 16887 h 590550"/>
                  <a:gd name="connsiteX3" fmla="*/ 142318 w 628650"/>
                  <a:gd name="connsiteY3" fmla="*/ 20578 h 590550"/>
                  <a:gd name="connsiteX4" fmla="*/ 131250 w 628650"/>
                  <a:gd name="connsiteY4" fmla="*/ 20578 h 590550"/>
                  <a:gd name="connsiteX5" fmla="*/ 127564 w 628650"/>
                  <a:gd name="connsiteY5" fmla="*/ 20578 h 590550"/>
                  <a:gd name="connsiteX6" fmla="*/ 131250 w 628650"/>
                  <a:gd name="connsiteY6" fmla="*/ 27959 h 590550"/>
                  <a:gd name="connsiteX7" fmla="*/ 131250 w 628650"/>
                  <a:gd name="connsiteY7" fmla="*/ 31650 h 590550"/>
                  <a:gd name="connsiteX8" fmla="*/ 127564 w 628650"/>
                  <a:gd name="connsiteY8" fmla="*/ 31650 h 590550"/>
                  <a:gd name="connsiteX9" fmla="*/ 123877 w 628650"/>
                  <a:gd name="connsiteY9" fmla="*/ 35340 h 590550"/>
                  <a:gd name="connsiteX10" fmla="*/ 116495 w 628650"/>
                  <a:gd name="connsiteY10" fmla="*/ 39031 h 590550"/>
                  <a:gd name="connsiteX11" fmla="*/ 116495 w 628650"/>
                  <a:gd name="connsiteY11" fmla="*/ 31650 h 590550"/>
                  <a:gd name="connsiteX12" fmla="*/ 105427 w 628650"/>
                  <a:gd name="connsiteY12" fmla="*/ 35340 h 590550"/>
                  <a:gd name="connsiteX13" fmla="*/ 101741 w 628650"/>
                  <a:gd name="connsiteY13" fmla="*/ 39031 h 590550"/>
                  <a:gd name="connsiteX14" fmla="*/ 101741 w 628650"/>
                  <a:gd name="connsiteY14" fmla="*/ 35340 h 590550"/>
                  <a:gd name="connsiteX15" fmla="*/ 98046 w 628650"/>
                  <a:gd name="connsiteY15" fmla="*/ 35340 h 590550"/>
                  <a:gd name="connsiteX16" fmla="*/ 94359 w 628650"/>
                  <a:gd name="connsiteY16" fmla="*/ 31650 h 590550"/>
                  <a:gd name="connsiteX17" fmla="*/ 90673 w 628650"/>
                  <a:gd name="connsiteY17" fmla="*/ 24269 h 590550"/>
                  <a:gd name="connsiteX18" fmla="*/ 90673 w 628650"/>
                  <a:gd name="connsiteY18" fmla="*/ 16887 h 590550"/>
                  <a:gd name="connsiteX19" fmla="*/ 83291 w 628650"/>
                  <a:gd name="connsiteY19" fmla="*/ 20578 h 590550"/>
                  <a:gd name="connsiteX20" fmla="*/ 83291 w 628650"/>
                  <a:gd name="connsiteY20" fmla="*/ 24269 h 590550"/>
                  <a:gd name="connsiteX21" fmla="*/ 75909 w 628650"/>
                  <a:gd name="connsiteY21" fmla="*/ 20578 h 590550"/>
                  <a:gd name="connsiteX22" fmla="*/ 75909 w 628650"/>
                  <a:gd name="connsiteY22" fmla="*/ 24269 h 590550"/>
                  <a:gd name="connsiteX23" fmla="*/ 68537 w 628650"/>
                  <a:gd name="connsiteY23" fmla="*/ 24269 h 590550"/>
                  <a:gd name="connsiteX24" fmla="*/ 64841 w 628650"/>
                  <a:gd name="connsiteY24" fmla="*/ 27959 h 590550"/>
                  <a:gd name="connsiteX25" fmla="*/ 64841 w 628650"/>
                  <a:gd name="connsiteY25" fmla="*/ 31650 h 590550"/>
                  <a:gd name="connsiteX26" fmla="*/ 61155 w 628650"/>
                  <a:gd name="connsiteY26" fmla="*/ 35340 h 590550"/>
                  <a:gd name="connsiteX27" fmla="*/ 61155 w 628650"/>
                  <a:gd name="connsiteY27" fmla="*/ 39031 h 590550"/>
                  <a:gd name="connsiteX28" fmla="*/ 57469 w 628650"/>
                  <a:gd name="connsiteY28" fmla="*/ 42722 h 590550"/>
                  <a:gd name="connsiteX29" fmla="*/ 53773 w 628650"/>
                  <a:gd name="connsiteY29" fmla="*/ 42722 h 590550"/>
                  <a:gd name="connsiteX30" fmla="*/ 53773 w 628650"/>
                  <a:gd name="connsiteY30" fmla="*/ 46412 h 590550"/>
                  <a:gd name="connsiteX31" fmla="*/ 50087 w 628650"/>
                  <a:gd name="connsiteY31" fmla="*/ 46412 h 590550"/>
                  <a:gd name="connsiteX32" fmla="*/ 46401 w 628650"/>
                  <a:gd name="connsiteY32" fmla="*/ 50102 h 590550"/>
                  <a:gd name="connsiteX33" fmla="*/ 42715 w 628650"/>
                  <a:gd name="connsiteY33" fmla="*/ 50102 h 590550"/>
                  <a:gd name="connsiteX34" fmla="*/ 39019 w 628650"/>
                  <a:gd name="connsiteY34" fmla="*/ 50102 h 590550"/>
                  <a:gd name="connsiteX35" fmla="*/ 35333 w 628650"/>
                  <a:gd name="connsiteY35" fmla="*/ 50102 h 590550"/>
                  <a:gd name="connsiteX36" fmla="*/ 31647 w 628650"/>
                  <a:gd name="connsiteY36" fmla="*/ 46412 h 590550"/>
                  <a:gd name="connsiteX37" fmla="*/ 27951 w 628650"/>
                  <a:gd name="connsiteY37" fmla="*/ 46412 h 590550"/>
                  <a:gd name="connsiteX38" fmla="*/ 24265 w 628650"/>
                  <a:gd name="connsiteY38" fmla="*/ 46412 h 590550"/>
                  <a:gd name="connsiteX39" fmla="*/ 24265 w 628650"/>
                  <a:gd name="connsiteY39" fmla="*/ 42722 h 590550"/>
                  <a:gd name="connsiteX40" fmla="*/ 20579 w 628650"/>
                  <a:gd name="connsiteY40" fmla="*/ 42722 h 590550"/>
                  <a:gd name="connsiteX41" fmla="*/ 16883 w 628650"/>
                  <a:gd name="connsiteY41" fmla="*/ 42722 h 590550"/>
                  <a:gd name="connsiteX42" fmla="*/ 16883 w 628650"/>
                  <a:gd name="connsiteY42" fmla="*/ 39031 h 590550"/>
                  <a:gd name="connsiteX43" fmla="*/ 13197 w 628650"/>
                  <a:gd name="connsiteY43" fmla="*/ 39031 h 590550"/>
                  <a:gd name="connsiteX44" fmla="*/ 5815 w 628650"/>
                  <a:gd name="connsiteY44" fmla="*/ 46412 h 590550"/>
                  <a:gd name="connsiteX45" fmla="*/ 9511 w 628650"/>
                  <a:gd name="connsiteY45" fmla="*/ 53792 h 590550"/>
                  <a:gd name="connsiteX46" fmla="*/ 13197 w 628650"/>
                  <a:gd name="connsiteY46" fmla="*/ 57483 h 590550"/>
                  <a:gd name="connsiteX47" fmla="*/ 16883 w 628650"/>
                  <a:gd name="connsiteY47" fmla="*/ 61174 h 590550"/>
                  <a:gd name="connsiteX48" fmla="*/ 16883 w 628650"/>
                  <a:gd name="connsiteY48" fmla="*/ 64864 h 590550"/>
                  <a:gd name="connsiteX49" fmla="*/ 24265 w 628650"/>
                  <a:gd name="connsiteY49" fmla="*/ 64864 h 590550"/>
                  <a:gd name="connsiteX50" fmla="*/ 31647 w 628650"/>
                  <a:gd name="connsiteY50" fmla="*/ 64864 h 590550"/>
                  <a:gd name="connsiteX51" fmla="*/ 35333 w 628650"/>
                  <a:gd name="connsiteY51" fmla="*/ 68555 h 590550"/>
                  <a:gd name="connsiteX52" fmla="*/ 46401 w 628650"/>
                  <a:gd name="connsiteY52" fmla="*/ 72246 h 590550"/>
                  <a:gd name="connsiteX53" fmla="*/ 50087 w 628650"/>
                  <a:gd name="connsiteY53" fmla="*/ 79627 h 590550"/>
                  <a:gd name="connsiteX54" fmla="*/ 53773 w 628650"/>
                  <a:gd name="connsiteY54" fmla="*/ 83317 h 590550"/>
                  <a:gd name="connsiteX55" fmla="*/ 57469 w 628650"/>
                  <a:gd name="connsiteY55" fmla="*/ 83317 h 590550"/>
                  <a:gd name="connsiteX56" fmla="*/ 64841 w 628650"/>
                  <a:gd name="connsiteY56" fmla="*/ 90698 h 590550"/>
                  <a:gd name="connsiteX57" fmla="*/ 68537 w 628650"/>
                  <a:gd name="connsiteY57" fmla="*/ 101770 h 590550"/>
                  <a:gd name="connsiteX58" fmla="*/ 75909 w 628650"/>
                  <a:gd name="connsiteY58" fmla="*/ 116533 h 590550"/>
                  <a:gd name="connsiteX59" fmla="*/ 75909 w 628650"/>
                  <a:gd name="connsiteY59" fmla="*/ 120223 h 590550"/>
                  <a:gd name="connsiteX60" fmla="*/ 79605 w 628650"/>
                  <a:gd name="connsiteY60" fmla="*/ 120223 h 590550"/>
                  <a:gd name="connsiteX61" fmla="*/ 83291 w 628650"/>
                  <a:gd name="connsiteY61" fmla="*/ 123914 h 590550"/>
                  <a:gd name="connsiteX62" fmla="*/ 83291 w 628650"/>
                  <a:gd name="connsiteY62" fmla="*/ 127604 h 590550"/>
                  <a:gd name="connsiteX63" fmla="*/ 86978 w 628650"/>
                  <a:gd name="connsiteY63" fmla="*/ 131295 h 590550"/>
                  <a:gd name="connsiteX64" fmla="*/ 86978 w 628650"/>
                  <a:gd name="connsiteY64" fmla="*/ 134985 h 590550"/>
                  <a:gd name="connsiteX65" fmla="*/ 86978 w 628650"/>
                  <a:gd name="connsiteY65" fmla="*/ 138675 h 590550"/>
                  <a:gd name="connsiteX66" fmla="*/ 79605 w 628650"/>
                  <a:gd name="connsiteY66" fmla="*/ 142366 h 590550"/>
                  <a:gd name="connsiteX67" fmla="*/ 75909 w 628650"/>
                  <a:gd name="connsiteY67" fmla="*/ 146057 h 590550"/>
                  <a:gd name="connsiteX68" fmla="*/ 72223 w 628650"/>
                  <a:gd name="connsiteY68" fmla="*/ 149747 h 590550"/>
                  <a:gd name="connsiteX69" fmla="*/ 72223 w 628650"/>
                  <a:gd name="connsiteY69" fmla="*/ 153438 h 590550"/>
                  <a:gd name="connsiteX70" fmla="*/ 72223 w 628650"/>
                  <a:gd name="connsiteY70" fmla="*/ 157129 h 590550"/>
                  <a:gd name="connsiteX71" fmla="*/ 75909 w 628650"/>
                  <a:gd name="connsiteY71" fmla="*/ 157129 h 590550"/>
                  <a:gd name="connsiteX72" fmla="*/ 75909 w 628650"/>
                  <a:gd name="connsiteY72" fmla="*/ 153438 h 590550"/>
                  <a:gd name="connsiteX73" fmla="*/ 83291 w 628650"/>
                  <a:gd name="connsiteY73" fmla="*/ 157129 h 590550"/>
                  <a:gd name="connsiteX74" fmla="*/ 86978 w 628650"/>
                  <a:gd name="connsiteY74" fmla="*/ 157129 h 590550"/>
                  <a:gd name="connsiteX75" fmla="*/ 94359 w 628650"/>
                  <a:gd name="connsiteY75" fmla="*/ 160819 h 590550"/>
                  <a:gd name="connsiteX76" fmla="*/ 98046 w 628650"/>
                  <a:gd name="connsiteY76" fmla="*/ 164510 h 590550"/>
                  <a:gd name="connsiteX77" fmla="*/ 101741 w 628650"/>
                  <a:gd name="connsiteY77" fmla="*/ 168200 h 590550"/>
                  <a:gd name="connsiteX78" fmla="*/ 109114 w 628650"/>
                  <a:gd name="connsiteY78" fmla="*/ 168200 h 590550"/>
                  <a:gd name="connsiteX79" fmla="*/ 112809 w 628650"/>
                  <a:gd name="connsiteY79" fmla="*/ 175582 h 590550"/>
                  <a:gd name="connsiteX80" fmla="*/ 109114 w 628650"/>
                  <a:gd name="connsiteY80" fmla="*/ 179272 h 590550"/>
                  <a:gd name="connsiteX81" fmla="*/ 98046 w 628650"/>
                  <a:gd name="connsiteY81" fmla="*/ 186653 h 590550"/>
                  <a:gd name="connsiteX82" fmla="*/ 94359 w 628650"/>
                  <a:gd name="connsiteY82" fmla="*/ 186653 h 590550"/>
                  <a:gd name="connsiteX83" fmla="*/ 83291 w 628650"/>
                  <a:gd name="connsiteY83" fmla="*/ 190344 h 590550"/>
                  <a:gd name="connsiteX84" fmla="*/ 83291 w 628650"/>
                  <a:gd name="connsiteY84" fmla="*/ 194035 h 590550"/>
                  <a:gd name="connsiteX85" fmla="*/ 75909 w 628650"/>
                  <a:gd name="connsiteY85" fmla="*/ 197725 h 590550"/>
                  <a:gd name="connsiteX86" fmla="*/ 72223 w 628650"/>
                  <a:gd name="connsiteY86" fmla="*/ 197725 h 590550"/>
                  <a:gd name="connsiteX87" fmla="*/ 64841 w 628650"/>
                  <a:gd name="connsiteY87" fmla="*/ 201416 h 590550"/>
                  <a:gd name="connsiteX88" fmla="*/ 61155 w 628650"/>
                  <a:gd name="connsiteY88" fmla="*/ 197725 h 590550"/>
                  <a:gd name="connsiteX89" fmla="*/ 57469 w 628650"/>
                  <a:gd name="connsiteY89" fmla="*/ 194035 h 590550"/>
                  <a:gd name="connsiteX90" fmla="*/ 27951 w 628650"/>
                  <a:gd name="connsiteY90" fmla="*/ 201416 h 590550"/>
                  <a:gd name="connsiteX91" fmla="*/ 24265 w 628650"/>
                  <a:gd name="connsiteY91" fmla="*/ 205107 h 590550"/>
                  <a:gd name="connsiteX92" fmla="*/ 24265 w 628650"/>
                  <a:gd name="connsiteY92" fmla="*/ 212488 h 590550"/>
                  <a:gd name="connsiteX93" fmla="*/ 24265 w 628650"/>
                  <a:gd name="connsiteY93" fmla="*/ 216178 h 590550"/>
                  <a:gd name="connsiteX94" fmla="*/ 24265 w 628650"/>
                  <a:gd name="connsiteY94" fmla="*/ 219868 h 590550"/>
                  <a:gd name="connsiteX95" fmla="*/ 27951 w 628650"/>
                  <a:gd name="connsiteY95" fmla="*/ 223559 h 590550"/>
                  <a:gd name="connsiteX96" fmla="*/ 27951 w 628650"/>
                  <a:gd name="connsiteY96" fmla="*/ 227249 h 590550"/>
                  <a:gd name="connsiteX97" fmla="*/ 13197 w 628650"/>
                  <a:gd name="connsiteY97" fmla="*/ 223559 h 590550"/>
                  <a:gd name="connsiteX98" fmla="*/ 16883 w 628650"/>
                  <a:gd name="connsiteY98" fmla="*/ 227249 h 590550"/>
                  <a:gd name="connsiteX99" fmla="*/ 20579 w 628650"/>
                  <a:gd name="connsiteY99" fmla="*/ 227249 h 590550"/>
                  <a:gd name="connsiteX100" fmla="*/ 24265 w 628650"/>
                  <a:gd name="connsiteY100" fmla="*/ 227249 h 590550"/>
                  <a:gd name="connsiteX101" fmla="*/ 24265 w 628650"/>
                  <a:gd name="connsiteY101" fmla="*/ 230940 h 590550"/>
                  <a:gd name="connsiteX102" fmla="*/ 27951 w 628650"/>
                  <a:gd name="connsiteY102" fmla="*/ 234630 h 590550"/>
                  <a:gd name="connsiteX103" fmla="*/ 27951 w 628650"/>
                  <a:gd name="connsiteY103" fmla="*/ 238321 h 590550"/>
                  <a:gd name="connsiteX104" fmla="*/ 27951 w 628650"/>
                  <a:gd name="connsiteY104" fmla="*/ 242012 h 590550"/>
                  <a:gd name="connsiteX105" fmla="*/ 31647 w 628650"/>
                  <a:gd name="connsiteY105" fmla="*/ 245702 h 590550"/>
                  <a:gd name="connsiteX106" fmla="*/ 35333 w 628650"/>
                  <a:gd name="connsiteY106" fmla="*/ 249393 h 590550"/>
                  <a:gd name="connsiteX107" fmla="*/ 35333 w 628650"/>
                  <a:gd name="connsiteY107" fmla="*/ 253083 h 590550"/>
                  <a:gd name="connsiteX108" fmla="*/ 35333 w 628650"/>
                  <a:gd name="connsiteY108" fmla="*/ 256774 h 590550"/>
                  <a:gd name="connsiteX109" fmla="*/ 39019 w 628650"/>
                  <a:gd name="connsiteY109" fmla="*/ 260465 h 590550"/>
                  <a:gd name="connsiteX110" fmla="*/ 39019 w 628650"/>
                  <a:gd name="connsiteY110" fmla="*/ 267846 h 590550"/>
                  <a:gd name="connsiteX111" fmla="*/ 39019 w 628650"/>
                  <a:gd name="connsiteY111" fmla="*/ 275227 h 590550"/>
                  <a:gd name="connsiteX112" fmla="*/ 46401 w 628650"/>
                  <a:gd name="connsiteY112" fmla="*/ 271537 h 590550"/>
                  <a:gd name="connsiteX113" fmla="*/ 50087 w 628650"/>
                  <a:gd name="connsiteY113" fmla="*/ 275227 h 590550"/>
                  <a:gd name="connsiteX114" fmla="*/ 57469 w 628650"/>
                  <a:gd name="connsiteY114" fmla="*/ 286299 h 590550"/>
                  <a:gd name="connsiteX115" fmla="*/ 61155 w 628650"/>
                  <a:gd name="connsiteY115" fmla="*/ 293680 h 590550"/>
                  <a:gd name="connsiteX116" fmla="*/ 68537 w 628650"/>
                  <a:gd name="connsiteY116" fmla="*/ 304751 h 590550"/>
                  <a:gd name="connsiteX117" fmla="*/ 68537 w 628650"/>
                  <a:gd name="connsiteY117" fmla="*/ 312132 h 590550"/>
                  <a:gd name="connsiteX118" fmla="*/ 75909 w 628650"/>
                  <a:gd name="connsiteY118" fmla="*/ 308442 h 590550"/>
                  <a:gd name="connsiteX119" fmla="*/ 79605 w 628650"/>
                  <a:gd name="connsiteY119" fmla="*/ 304751 h 590550"/>
                  <a:gd name="connsiteX120" fmla="*/ 83291 w 628650"/>
                  <a:gd name="connsiteY120" fmla="*/ 301060 h 590550"/>
                  <a:gd name="connsiteX121" fmla="*/ 83291 w 628650"/>
                  <a:gd name="connsiteY121" fmla="*/ 304751 h 590550"/>
                  <a:gd name="connsiteX122" fmla="*/ 86978 w 628650"/>
                  <a:gd name="connsiteY122" fmla="*/ 308442 h 590550"/>
                  <a:gd name="connsiteX123" fmla="*/ 90673 w 628650"/>
                  <a:gd name="connsiteY123" fmla="*/ 304751 h 590550"/>
                  <a:gd name="connsiteX124" fmla="*/ 98046 w 628650"/>
                  <a:gd name="connsiteY124" fmla="*/ 297371 h 590550"/>
                  <a:gd name="connsiteX125" fmla="*/ 105427 w 628650"/>
                  <a:gd name="connsiteY125" fmla="*/ 289990 h 590550"/>
                  <a:gd name="connsiteX126" fmla="*/ 109114 w 628650"/>
                  <a:gd name="connsiteY126" fmla="*/ 286299 h 590550"/>
                  <a:gd name="connsiteX127" fmla="*/ 112809 w 628650"/>
                  <a:gd name="connsiteY127" fmla="*/ 286299 h 590550"/>
                  <a:gd name="connsiteX128" fmla="*/ 116495 w 628650"/>
                  <a:gd name="connsiteY128" fmla="*/ 286299 h 590550"/>
                  <a:gd name="connsiteX129" fmla="*/ 120182 w 628650"/>
                  <a:gd name="connsiteY129" fmla="*/ 282608 h 590550"/>
                  <a:gd name="connsiteX130" fmla="*/ 123877 w 628650"/>
                  <a:gd name="connsiteY130" fmla="*/ 286299 h 590550"/>
                  <a:gd name="connsiteX131" fmla="*/ 127564 w 628650"/>
                  <a:gd name="connsiteY131" fmla="*/ 286299 h 590550"/>
                  <a:gd name="connsiteX132" fmla="*/ 131250 w 628650"/>
                  <a:gd name="connsiteY132" fmla="*/ 289990 h 590550"/>
                  <a:gd name="connsiteX133" fmla="*/ 134936 w 628650"/>
                  <a:gd name="connsiteY133" fmla="*/ 293680 h 590550"/>
                  <a:gd name="connsiteX134" fmla="*/ 134936 w 628650"/>
                  <a:gd name="connsiteY134" fmla="*/ 297371 h 590550"/>
                  <a:gd name="connsiteX135" fmla="*/ 134936 w 628650"/>
                  <a:gd name="connsiteY135" fmla="*/ 301060 h 590550"/>
                  <a:gd name="connsiteX136" fmla="*/ 138632 w 628650"/>
                  <a:gd name="connsiteY136" fmla="*/ 304751 h 590550"/>
                  <a:gd name="connsiteX137" fmla="*/ 149700 w 628650"/>
                  <a:gd name="connsiteY137" fmla="*/ 308442 h 590550"/>
                  <a:gd name="connsiteX138" fmla="*/ 153386 w 628650"/>
                  <a:gd name="connsiteY138" fmla="*/ 312132 h 590550"/>
                  <a:gd name="connsiteX139" fmla="*/ 153386 w 628650"/>
                  <a:gd name="connsiteY139" fmla="*/ 315823 h 590550"/>
                  <a:gd name="connsiteX140" fmla="*/ 157072 w 628650"/>
                  <a:gd name="connsiteY140" fmla="*/ 326895 h 590550"/>
                  <a:gd name="connsiteX141" fmla="*/ 157072 w 628650"/>
                  <a:gd name="connsiteY141" fmla="*/ 334276 h 590550"/>
                  <a:gd name="connsiteX142" fmla="*/ 160768 w 628650"/>
                  <a:gd name="connsiteY142" fmla="*/ 337967 h 590550"/>
                  <a:gd name="connsiteX143" fmla="*/ 164454 w 628650"/>
                  <a:gd name="connsiteY143" fmla="*/ 341657 h 590550"/>
                  <a:gd name="connsiteX144" fmla="*/ 164454 w 628650"/>
                  <a:gd name="connsiteY144" fmla="*/ 349038 h 590550"/>
                  <a:gd name="connsiteX145" fmla="*/ 160768 w 628650"/>
                  <a:gd name="connsiteY145" fmla="*/ 352729 h 590550"/>
                  <a:gd name="connsiteX146" fmla="*/ 160768 w 628650"/>
                  <a:gd name="connsiteY146" fmla="*/ 356420 h 590550"/>
                  <a:gd name="connsiteX147" fmla="*/ 160768 w 628650"/>
                  <a:gd name="connsiteY147" fmla="*/ 363801 h 590550"/>
                  <a:gd name="connsiteX148" fmla="*/ 164454 w 628650"/>
                  <a:gd name="connsiteY148" fmla="*/ 367491 h 590550"/>
                  <a:gd name="connsiteX149" fmla="*/ 168140 w 628650"/>
                  <a:gd name="connsiteY149" fmla="*/ 367491 h 590550"/>
                  <a:gd name="connsiteX150" fmla="*/ 168140 w 628650"/>
                  <a:gd name="connsiteY150" fmla="*/ 371182 h 590550"/>
                  <a:gd name="connsiteX151" fmla="*/ 168140 w 628650"/>
                  <a:gd name="connsiteY151" fmla="*/ 374873 h 590550"/>
                  <a:gd name="connsiteX152" fmla="*/ 168140 w 628650"/>
                  <a:gd name="connsiteY152" fmla="*/ 382253 h 590550"/>
                  <a:gd name="connsiteX153" fmla="*/ 164454 w 628650"/>
                  <a:gd name="connsiteY153" fmla="*/ 382253 h 590550"/>
                  <a:gd name="connsiteX154" fmla="*/ 164454 w 628650"/>
                  <a:gd name="connsiteY154" fmla="*/ 385943 h 590550"/>
                  <a:gd name="connsiteX155" fmla="*/ 160768 w 628650"/>
                  <a:gd name="connsiteY155" fmla="*/ 385943 h 590550"/>
                  <a:gd name="connsiteX156" fmla="*/ 153386 w 628650"/>
                  <a:gd name="connsiteY156" fmla="*/ 389634 h 590550"/>
                  <a:gd name="connsiteX157" fmla="*/ 146004 w 628650"/>
                  <a:gd name="connsiteY157" fmla="*/ 389634 h 590550"/>
                  <a:gd name="connsiteX158" fmla="*/ 146004 w 628650"/>
                  <a:gd name="connsiteY158" fmla="*/ 393323 h 590550"/>
                  <a:gd name="connsiteX159" fmla="*/ 142318 w 628650"/>
                  <a:gd name="connsiteY159" fmla="*/ 393323 h 590550"/>
                  <a:gd name="connsiteX160" fmla="*/ 142318 w 628650"/>
                  <a:gd name="connsiteY160" fmla="*/ 397018 h 590550"/>
                  <a:gd name="connsiteX161" fmla="*/ 146004 w 628650"/>
                  <a:gd name="connsiteY161" fmla="*/ 400704 h 590550"/>
                  <a:gd name="connsiteX162" fmla="*/ 149700 w 628650"/>
                  <a:gd name="connsiteY162" fmla="*/ 400704 h 590550"/>
                  <a:gd name="connsiteX163" fmla="*/ 153386 w 628650"/>
                  <a:gd name="connsiteY163" fmla="*/ 404400 h 590550"/>
                  <a:gd name="connsiteX164" fmla="*/ 149700 w 628650"/>
                  <a:gd name="connsiteY164" fmla="*/ 404400 h 590550"/>
                  <a:gd name="connsiteX165" fmla="*/ 146004 w 628650"/>
                  <a:gd name="connsiteY165" fmla="*/ 408086 h 590550"/>
                  <a:gd name="connsiteX166" fmla="*/ 142318 w 628650"/>
                  <a:gd name="connsiteY166" fmla="*/ 408086 h 590550"/>
                  <a:gd name="connsiteX167" fmla="*/ 142318 w 628650"/>
                  <a:gd name="connsiteY167" fmla="*/ 415468 h 590550"/>
                  <a:gd name="connsiteX168" fmla="*/ 142318 w 628650"/>
                  <a:gd name="connsiteY168" fmla="*/ 422850 h 590550"/>
                  <a:gd name="connsiteX169" fmla="*/ 142318 w 628650"/>
                  <a:gd name="connsiteY169" fmla="*/ 430232 h 590550"/>
                  <a:gd name="connsiteX170" fmla="*/ 138632 w 628650"/>
                  <a:gd name="connsiteY170" fmla="*/ 430232 h 590550"/>
                  <a:gd name="connsiteX171" fmla="*/ 138632 w 628650"/>
                  <a:gd name="connsiteY171" fmla="*/ 433918 h 590550"/>
                  <a:gd name="connsiteX172" fmla="*/ 142318 w 628650"/>
                  <a:gd name="connsiteY172" fmla="*/ 433918 h 590550"/>
                  <a:gd name="connsiteX173" fmla="*/ 146004 w 628650"/>
                  <a:gd name="connsiteY173" fmla="*/ 433918 h 590550"/>
                  <a:gd name="connsiteX174" fmla="*/ 146004 w 628650"/>
                  <a:gd name="connsiteY174" fmla="*/ 437614 h 590550"/>
                  <a:gd name="connsiteX175" fmla="*/ 146004 w 628650"/>
                  <a:gd name="connsiteY175" fmla="*/ 448682 h 590550"/>
                  <a:gd name="connsiteX176" fmla="*/ 149700 w 628650"/>
                  <a:gd name="connsiteY176" fmla="*/ 448682 h 590550"/>
                  <a:gd name="connsiteX177" fmla="*/ 153386 w 628650"/>
                  <a:gd name="connsiteY177" fmla="*/ 448682 h 590550"/>
                  <a:gd name="connsiteX178" fmla="*/ 157072 w 628650"/>
                  <a:gd name="connsiteY178" fmla="*/ 448682 h 590550"/>
                  <a:gd name="connsiteX179" fmla="*/ 157072 w 628650"/>
                  <a:gd name="connsiteY179" fmla="*/ 452377 h 590550"/>
                  <a:gd name="connsiteX180" fmla="*/ 157072 w 628650"/>
                  <a:gd name="connsiteY180" fmla="*/ 456064 h 590550"/>
                  <a:gd name="connsiteX181" fmla="*/ 160768 w 628650"/>
                  <a:gd name="connsiteY181" fmla="*/ 456064 h 590550"/>
                  <a:gd name="connsiteX182" fmla="*/ 160768 w 628650"/>
                  <a:gd name="connsiteY182" fmla="*/ 467132 h 590550"/>
                  <a:gd name="connsiteX183" fmla="*/ 164454 w 628650"/>
                  <a:gd name="connsiteY183" fmla="*/ 470827 h 590550"/>
                  <a:gd name="connsiteX184" fmla="*/ 168140 w 628650"/>
                  <a:gd name="connsiteY184" fmla="*/ 474514 h 590550"/>
                  <a:gd name="connsiteX185" fmla="*/ 168140 w 628650"/>
                  <a:gd name="connsiteY185" fmla="*/ 478209 h 590550"/>
                  <a:gd name="connsiteX186" fmla="*/ 168140 w 628650"/>
                  <a:gd name="connsiteY186" fmla="*/ 481895 h 590550"/>
                  <a:gd name="connsiteX187" fmla="*/ 168140 w 628650"/>
                  <a:gd name="connsiteY187" fmla="*/ 485591 h 590550"/>
                  <a:gd name="connsiteX188" fmla="*/ 171836 w 628650"/>
                  <a:gd name="connsiteY188" fmla="*/ 489277 h 590550"/>
                  <a:gd name="connsiteX189" fmla="*/ 175522 w 628650"/>
                  <a:gd name="connsiteY189" fmla="*/ 489277 h 590550"/>
                  <a:gd name="connsiteX190" fmla="*/ 179208 w 628650"/>
                  <a:gd name="connsiteY190" fmla="*/ 489277 h 590550"/>
                  <a:gd name="connsiteX191" fmla="*/ 182904 w 628650"/>
                  <a:gd name="connsiteY191" fmla="*/ 489277 h 590550"/>
                  <a:gd name="connsiteX192" fmla="*/ 182904 w 628650"/>
                  <a:gd name="connsiteY192" fmla="*/ 492973 h 590550"/>
                  <a:gd name="connsiteX193" fmla="*/ 179208 w 628650"/>
                  <a:gd name="connsiteY193" fmla="*/ 492973 h 590550"/>
                  <a:gd name="connsiteX194" fmla="*/ 175522 w 628650"/>
                  <a:gd name="connsiteY194" fmla="*/ 496659 h 590550"/>
                  <a:gd name="connsiteX195" fmla="*/ 175522 w 628650"/>
                  <a:gd name="connsiteY195" fmla="*/ 500355 h 590550"/>
                  <a:gd name="connsiteX196" fmla="*/ 179208 w 628650"/>
                  <a:gd name="connsiteY196" fmla="*/ 507737 h 590550"/>
                  <a:gd name="connsiteX197" fmla="*/ 182904 w 628650"/>
                  <a:gd name="connsiteY197" fmla="*/ 507737 h 590550"/>
                  <a:gd name="connsiteX198" fmla="*/ 186590 w 628650"/>
                  <a:gd name="connsiteY198" fmla="*/ 507737 h 590550"/>
                  <a:gd name="connsiteX199" fmla="*/ 186590 w 628650"/>
                  <a:gd name="connsiteY199" fmla="*/ 504041 h 590550"/>
                  <a:gd name="connsiteX200" fmla="*/ 193962 w 628650"/>
                  <a:gd name="connsiteY200" fmla="*/ 500355 h 590550"/>
                  <a:gd name="connsiteX201" fmla="*/ 197658 w 628650"/>
                  <a:gd name="connsiteY201" fmla="*/ 500355 h 590550"/>
                  <a:gd name="connsiteX202" fmla="*/ 197658 w 628650"/>
                  <a:gd name="connsiteY202" fmla="*/ 504041 h 590550"/>
                  <a:gd name="connsiteX203" fmla="*/ 205030 w 628650"/>
                  <a:gd name="connsiteY203" fmla="*/ 504041 h 590550"/>
                  <a:gd name="connsiteX204" fmla="*/ 208726 w 628650"/>
                  <a:gd name="connsiteY204" fmla="*/ 504041 h 590550"/>
                  <a:gd name="connsiteX205" fmla="*/ 212412 w 628650"/>
                  <a:gd name="connsiteY205" fmla="*/ 507737 h 590550"/>
                  <a:gd name="connsiteX206" fmla="*/ 212412 w 628650"/>
                  <a:gd name="connsiteY206" fmla="*/ 504041 h 590550"/>
                  <a:gd name="connsiteX207" fmla="*/ 216098 w 628650"/>
                  <a:gd name="connsiteY207" fmla="*/ 504041 h 590550"/>
                  <a:gd name="connsiteX208" fmla="*/ 219794 w 628650"/>
                  <a:gd name="connsiteY208" fmla="*/ 504041 h 590550"/>
                  <a:gd name="connsiteX209" fmla="*/ 223480 w 628650"/>
                  <a:gd name="connsiteY209" fmla="*/ 504041 h 590550"/>
                  <a:gd name="connsiteX210" fmla="*/ 230862 w 628650"/>
                  <a:gd name="connsiteY210" fmla="*/ 504041 h 590550"/>
                  <a:gd name="connsiteX211" fmla="*/ 234548 w 628650"/>
                  <a:gd name="connsiteY211" fmla="*/ 504041 h 590550"/>
                  <a:gd name="connsiteX212" fmla="*/ 238235 w 628650"/>
                  <a:gd name="connsiteY212" fmla="*/ 507737 h 590550"/>
                  <a:gd name="connsiteX213" fmla="*/ 241930 w 628650"/>
                  <a:gd name="connsiteY213" fmla="*/ 504041 h 590550"/>
                  <a:gd name="connsiteX214" fmla="*/ 245616 w 628650"/>
                  <a:gd name="connsiteY214" fmla="*/ 504041 h 590550"/>
                  <a:gd name="connsiteX215" fmla="*/ 249303 w 628650"/>
                  <a:gd name="connsiteY215" fmla="*/ 504041 h 590550"/>
                  <a:gd name="connsiteX216" fmla="*/ 252998 w 628650"/>
                  <a:gd name="connsiteY216" fmla="*/ 504041 h 590550"/>
                  <a:gd name="connsiteX217" fmla="*/ 252998 w 628650"/>
                  <a:gd name="connsiteY217" fmla="*/ 507737 h 590550"/>
                  <a:gd name="connsiteX218" fmla="*/ 264066 w 628650"/>
                  <a:gd name="connsiteY218" fmla="*/ 507737 h 590550"/>
                  <a:gd name="connsiteX219" fmla="*/ 264066 w 628650"/>
                  <a:gd name="connsiteY219" fmla="*/ 504041 h 590550"/>
                  <a:gd name="connsiteX220" fmla="*/ 271439 w 628650"/>
                  <a:gd name="connsiteY220" fmla="*/ 504041 h 590550"/>
                  <a:gd name="connsiteX221" fmla="*/ 271439 w 628650"/>
                  <a:gd name="connsiteY221" fmla="*/ 496659 h 590550"/>
                  <a:gd name="connsiteX222" fmla="*/ 275125 w 628650"/>
                  <a:gd name="connsiteY222" fmla="*/ 496659 h 590550"/>
                  <a:gd name="connsiteX223" fmla="*/ 278821 w 628650"/>
                  <a:gd name="connsiteY223" fmla="*/ 492973 h 590550"/>
                  <a:gd name="connsiteX224" fmla="*/ 286193 w 628650"/>
                  <a:gd name="connsiteY224" fmla="*/ 492973 h 590550"/>
                  <a:gd name="connsiteX225" fmla="*/ 289889 w 628650"/>
                  <a:gd name="connsiteY225" fmla="*/ 492973 h 590550"/>
                  <a:gd name="connsiteX226" fmla="*/ 293575 w 628650"/>
                  <a:gd name="connsiteY226" fmla="*/ 489277 h 590550"/>
                  <a:gd name="connsiteX227" fmla="*/ 293575 w 628650"/>
                  <a:gd name="connsiteY227" fmla="*/ 492973 h 590550"/>
                  <a:gd name="connsiteX228" fmla="*/ 297261 w 628650"/>
                  <a:gd name="connsiteY228" fmla="*/ 492973 h 590550"/>
                  <a:gd name="connsiteX229" fmla="*/ 300957 w 628650"/>
                  <a:gd name="connsiteY229" fmla="*/ 492973 h 590550"/>
                  <a:gd name="connsiteX230" fmla="*/ 308329 w 628650"/>
                  <a:gd name="connsiteY230" fmla="*/ 492973 h 590550"/>
                  <a:gd name="connsiteX231" fmla="*/ 312025 w 628650"/>
                  <a:gd name="connsiteY231" fmla="*/ 492973 h 590550"/>
                  <a:gd name="connsiteX232" fmla="*/ 312025 w 628650"/>
                  <a:gd name="connsiteY232" fmla="*/ 496659 h 590550"/>
                  <a:gd name="connsiteX233" fmla="*/ 312025 w 628650"/>
                  <a:gd name="connsiteY233" fmla="*/ 500355 h 590550"/>
                  <a:gd name="connsiteX234" fmla="*/ 315711 w 628650"/>
                  <a:gd name="connsiteY234" fmla="*/ 507737 h 590550"/>
                  <a:gd name="connsiteX235" fmla="*/ 326779 w 628650"/>
                  <a:gd name="connsiteY235" fmla="*/ 515109 h 590550"/>
                  <a:gd name="connsiteX236" fmla="*/ 326779 w 628650"/>
                  <a:gd name="connsiteY236" fmla="*/ 522491 h 590550"/>
                  <a:gd name="connsiteX237" fmla="*/ 330465 w 628650"/>
                  <a:gd name="connsiteY237" fmla="*/ 522491 h 590550"/>
                  <a:gd name="connsiteX238" fmla="*/ 330465 w 628650"/>
                  <a:gd name="connsiteY238" fmla="*/ 526187 h 590550"/>
                  <a:gd name="connsiteX239" fmla="*/ 337847 w 628650"/>
                  <a:gd name="connsiteY239" fmla="*/ 526187 h 590550"/>
                  <a:gd name="connsiteX240" fmla="*/ 337847 w 628650"/>
                  <a:gd name="connsiteY240" fmla="*/ 533569 h 590550"/>
                  <a:gd name="connsiteX241" fmla="*/ 341533 w 628650"/>
                  <a:gd name="connsiteY241" fmla="*/ 537255 h 590550"/>
                  <a:gd name="connsiteX242" fmla="*/ 341533 w 628650"/>
                  <a:gd name="connsiteY242" fmla="*/ 540951 h 590550"/>
                  <a:gd name="connsiteX243" fmla="*/ 345219 w 628650"/>
                  <a:gd name="connsiteY243" fmla="*/ 540951 h 590550"/>
                  <a:gd name="connsiteX244" fmla="*/ 348915 w 628650"/>
                  <a:gd name="connsiteY244" fmla="*/ 544637 h 590550"/>
                  <a:gd name="connsiteX245" fmla="*/ 356287 w 628650"/>
                  <a:gd name="connsiteY245" fmla="*/ 540951 h 590550"/>
                  <a:gd name="connsiteX246" fmla="*/ 359983 w 628650"/>
                  <a:gd name="connsiteY246" fmla="*/ 540951 h 590550"/>
                  <a:gd name="connsiteX247" fmla="*/ 378424 w 628650"/>
                  <a:gd name="connsiteY247" fmla="*/ 544637 h 590550"/>
                  <a:gd name="connsiteX248" fmla="*/ 393187 w 628650"/>
                  <a:gd name="connsiteY248" fmla="*/ 540951 h 590550"/>
                  <a:gd name="connsiteX249" fmla="*/ 396873 w 628650"/>
                  <a:gd name="connsiteY249" fmla="*/ 540951 h 590550"/>
                  <a:gd name="connsiteX250" fmla="*/ 404255 w 628650"/>
                  <a:gd name="connsiteY250" fmla="*/ 544637 h 590550"/>
                  <a:gd name="connsiteX251" fmla="*/ 400560 w 628650"/>
                  <a:gd name="connsiteY251" fmla="*/ 548332 h 590550"/>
                  <a:gd name="connsiteX252" fmla="*/ 404255 w 628650"/>
                  <a:gd name="connsiteY252" fmla="*/ 552019 h 590550"/>
                  <a:gd name="connsiteX253" fmla="*/ 407942 w 628650"/>
                  <a:gd name="connsiteY253" fmla="*/ 555714 h 590550"/>
                  <a:gd name="connsiteX254" fmla="*/ 407942 w 628650"/>
                  <a:gd name="connsiteY254" fmla="*/ 552019 h 590550"/>
                  <a:gd name="connsiteX255" fmla="*/ 411628 w 628650"/>
                  <a:gd name="connsiteY255" fmla="*/ 548332 h 590550"/>
                  <a:gd name="connsiteX256" fmla="*/ 415314 w 628650"/>
                  <a:gd name="connsiteY256" fmla="*/ 544637 h 590550"/>
                  <a:gd name="connsiteX257" fmla="*/ 419010 w 628650"/>
                  <a:gd name="connsiteY257" fmla="*/ 548332 h 590550"/>
                  <a:gd name="connsiteX258" fmla="*/ 419010 w 628650"/>
                  <a:gd name="connsiteY258" fmla="*/ 552019 h 590550"/>
                  <a:gd name="connsiteX259" fmla="*/ 422696 w 628650"/>
                  <a:gd name="connsiteY259" fmla="*/ 544637 h 590550"/>
                  <a:gd name="connsiteX260" fmla="*/ 426382 w 628650"/>
                  <a:gd name="connsiteY260" fmla="*/ 544637 h 590550"/>
                  <a:gd name="connsiteX261" fmla="*/ 437450 w 628650"/>
                  <a:gd name="connsiteY261" fmla="*/ 552019 h 590550"/>
                  <a:gd name="connsiteX262" fmla="*/ 437450 w 628650"/>
                  <a:gd name="connsiteY262" fmla="*/ 555714 h 590550"/>
                  <a:gd name="connsiteX263" fmla="*/ 437450 w 628650"/>
                  <a:gd name="connsiteY263" fmla="*/ 559400 h 590550"/>
                  <a:gd name="connsiteX264" fmla="*/ 437450 w 628650"/>
                  <a:gd name="connsiteY264" fmla="*/ 570468 h 590550"/>
                  <a:gd name="connsiteX265" fmla="*/ 430078 w 628650"/>
                  <a:gd name="connsiteY265" fmla="*/ 581546 h 590550"/>
                  <a:gd name="connsiteX266" fmla="*/ 437450 w 628650"/>
                  <a:gd name="connsiteY266" fmla="*/ 581546 h 590550"/>
                  <a:gd name="connsiteX267" fmla="*/ 441146 w 628650"/>
                  <a:gd name="connsiteY267" fmla="*/ 581546 h 590550"/>
                  <a:gd name="connsiteX268" fmla="*/ 448518 w 628650"/>
                  <a:gd name="connsiteY268" fmla="*/ 585232 h 590550"/>
                  <a:gd name="connsiteX269" fmla="*/ 455900 w 628650"/>
                  <a:gd name="connsiteY269" fmla="*/ 588928 h 590550"/>
                  <a:gd name="connsiteX270" fmla="*/ 459586 w 628650"/>
                  <a:gd name="connsiteY270" fmla="*/ 588928 h 590550"/>
                  <a:gd name="connsiteX271" fmla="*/ 481722 w 628650"/>
                  <a:gd name="connsiteY271" fmla="*/ 588928 h 590550"/>
                  <a:gd name="connsiteX272" fmla="*/ 511240 w 628650"/>
                  <a:gd name="connsiteY272" fmla="*/ 588928 h 590550"/>
                  <a:gd name="connsiteX273" fmla="*/ 522308 w 628650"/>
                  <a:gd name="connsiteY273" fmla="*/ 588928 h 590550"/>
                  <a:gd name="connsiteX274" fmla="*/ 525994 w 628650"/>
                  <a:gd name="connsiteY274" fmla="*/ 585232 h 590550"/>
                  <a:gd name="connsiteX275" fmla="*/ 529680 w 628650"/>
                  <a:gd name="connsiteY275" fmla="*/ 581546 h 590550"/>
                  <a:gd name="connsiteX276" fmla="*/ 533376 w 628650"/>
                  <a:gd name="connsiteY276" fmla="*/ 577850 h 590550"/>
                  <a:gd name="connsiteX277" fmla="*/ 533376 w 628650"/>
                  <a:gd name="connsiteY277" fmla="*/ 574164 h 590550"/>
                  <a:gd name="connsiteX278" fmla="*/ 537062 w 628650"/>
                  <a:gd name="connsiteY278" fmla="*/ 555714 h 590550"/>
                  <a:gd name="connsiteX279" fmla="*/ 540749 w 628650"/>
                  <a:gd name="connsiteY279" fmla="*/ 555714 h 590550"/>
                  <a:gd name="connsiteX280" fmla="*/ 540749 w 628650"/>
                  <a:gd name="connsiteY280" fmla="*/ 552019 h 590550"/>
                  <a:gd name="connsiteX281" fmla="*/ 551817 w 628650"/>
                  <a:gd name="connsiteY281" fmla="*/ 544637 h 590550"/>
                  <a:gd name="connsiteX282" fmla="*/ 551817 w 628650"/>
                  <a:gd name="connsiteY282" fmla="*/ 540951 h 590550"/>
                  <a:gd name="connsiteX283" fmla="*/ 562885 w 628650"/>
                  <a:gd name="connsiteY283" fmla="*/ 537255 h 590550"/>
                  <a:gd name="connsiteX284" fmla="*/ 573953 w 628650"/>
                  <a:gd name="connsiteY284" fmla="*/ 537255 h 590550"/>
                  <a:gd name="connsiteX285" fmla="*/ 577639 w 628650"/>
                  <a:gd name="connsiteY285" fmla="*/ 529873 h 590550"/>
                  <a:gd name="connsiteX286" fmla="*/ 577639 w 628650"/>
                  <a:gd name="connsiteY286" fmla="*/ 526187 h 590550"/>
                  <a:gd name="connsiteX287" fmla="*/ 581335 w 628650"/>
                  <a:gd name="connsiteY287" fmla="*/ 522491 h 590550"/>
                  <a:gd name="connsiteX288" fmla="*/ 581335 w 628650"/>
                  <a:gd name="connsiteY288" fmla="*/ 518805 h 590550"/>
                  <a:gd name="connsiteX289" fmla="*/ 585021 w 628650"/>
                  <a:gd name="connsiteY289" fmla="*/ 515109 h 590550"/>
                  <a:gd name="connsiteX290" fmla="*/ 585021 w 628650"/>
                  <a:gd name="connsiteY290" fmla="*/ 511423 h 590550"/>
                  <a:gd name="connsiteX291" fmla="*/ 585021 w 628650"/>
                  <a:gd name="connsiteY291" fmla="*/ 507737 h 590550"/>
                  <a:gd name="connsiteX292" fmla="*/ 585021 w 628650"/>
                  <a:gd name="connsiteY292" fmla="*/ 504041 h 590550"/>
                  <a:gd name="connsiteX293" fmla="*/ 588707 w 628650"/>
                  <a:gd name="connsiteY293" fmla="*/ 500355 h 590550"/>
                  <a:gd name="connsiteX294" fmla="*/ 596089 w 628650"/>
                  <a:gd name="connsiteY294" fmla="*/ 496659 h 590550"/>
                  <a:gd name="connsiteX295" fmla="*/ 599775 w 628650"/>
                  <a:gd name="connsiteY295" fmla="*/ 500355 h 590550"/>
                  <a:gd name="connsiteX296" fmla="*/ 603471 w 628650"/>
                  <a:gd name="connsiteY296" fmla="*/ 500355 h 590550"/>
                  <a:gd name="connsiteX297" fmla="*/ 607157 w 628650"/>
                  <a:gd name="connsiteY297" fmla="*/ 500355 h 590550"/>
                  <a:gd name="connsiteX298" fmla="*/ 614539 w 628650"/>
                  <a:gd name="connsiteY298" fmla="*/ 500355 h 590550"/>
                  <a:gd name="connsiteX299" fmla="*/ 625597 w 628650"/>
                  <a:gd name="connsiteY299" fmla="*/ 492973 h 590550"/>
                  <a:gd name="connsiteX300" fmla="*/ 625597 w 628650"/>
                  <a:gd name="connsiteY300" fmla="*/ 489277 h 590550"/>
                  <a:gd name="connsiteX301" fmla="*/ 614539 w 628650"/>
                  <a:gd name="connsiteY301" fmla="*/ 474514 h 590550"/>
                  <a:gd name="connsiteX302" fmla="*/ 610843 w 628650"/>
                  <a:gd name="connsiteY302" fmla="*/ 470827 h 590550"/>
                  <a:gd name="connsiteX303" fmla="*/ 610843 w 628650"/>
                  <a:gd name="connsiteY303" fmla="*/ 463446 h 590550"/>
                  <a:gd name="connsiteX304" fmla="*/ 607157 w 628650"/>
                  <a:gd name="connsiteY304" fmla="*/ 463446 h 590550"/>
                  <a:gd name="connsiteX305" fmla="*/ 607157 w 628650"/>
                  <a:gd name="connsiteY305" fmla="*/ 459759 h 590550"/>
                  <a:gd name="connsiteX306" fmla="*/ 607157 w 628650"/>
                  <a:gd name="connsiteY306" fmla="*/ 456064 h 590550"/>
                  <a:gd name="connsiteX307" fmla="*/ 607157 w 628650"/>
                  <a:gd name="connsiteY307" fmla="*/ 452377 h 590550"/>
                  <a:gd name="connsiteX308" fmla="*/ 607157 w 628650"/>
                  <a:gd name="connsiteY308" fmla="*/ 448682 h 590550"/>
                  <a:gd name="connsiteX309" fmla="*/ 610843 w 628650"/>
                  <a:gd name="connsiteY309" fmla="*/ 437614 h 590550"/>
                  <a:gd name="connsiteX310" fmla="*/ 610843 w 628650"/>
                  <a:gd name="connsiteY310" fmla="*/ 433918 h 590550"/>
                  <a:gd name="connsiteX311" fmla="*/ 614539 w 628650"/>
                  <a:gd name="connsiteY311" fmla="*/ 433918 h 590550"/>
                  <a:gd name="connsiteX312" fmla="*/ 614539 w 628650"/>
                  <a:gd name="connsiteY312" fmla="*/ 430232 h 590550"/>
                  <a:gd name="connsiteX313" fmla="*/ 618225 w 628650"/>
                  <a:gd name="connsiteY313" fmla="*/ 430232 h 590550"/>
                  <a:gd name="connsiteX314" fmla="*/ 618225 w 628650"/>
                  <a:gd name="connsiteY314" fmla="*/ 426536 h 590550"/>
                  <a:gd name="connsiteX315" fmla="*/ 618225 w 628650"/>
                  <a:gd name="connsiteY315" fmla="*/ 422850 h 590550"/>
                  <a:gd name="connsiteX316" fmla="*/ 621911 w 628650"/>
                  <a:gd name="connsiteY316" fmla="*/ 415468 h 590550"/>
                  <a:gd name="connsiteX317" fmla="*/ 621911 w 628650"/>
                  <a:gd name="connsiteY317" fmla="*/ 411782 h 590550"/>
                  <a:gd name="connsiteX318" fmla="*/ 629293 w 628650"/>
                  <a:gd name="connsiteY318" fmla="*/ 400704 h 590550"/>
                  <a:gd name="connsiteX319" fmla="*/ 629293 w 628650"/>
                  <a:gd name="connsiteY319" fmla="*/ 382253 h 590550"/>
                  <a:gd name="connsiteX320" fmla="*/ 621911 w 628650"/>
                  <a:gd name="connsiteY320" fmla="*/ 367491 h 590550"/>
                  <a:gd name="connsiteX321" fmla="*/ 621911 w 628650"/>
                  <a:gd name="connsiteY321" fmla="*/ 363801 h 590550"/>
                  <a:gd name="connsiteX322" fmla="*/ 621911 w 628650"/>
                  <a:gd name="connsiteY322" fmla="*/ 360110 h 590550"/>
                  <a:gd name="connsiteX323" fmla="*/ 618225 w 628650"/>
                  <a:gd name="connsiteY323" fmla="*/ 360110 h 590550"/>
                  <a:gd name="connsiteX324" fmla="*/ 614539 w 628650"/>
                  <a:gd name="connsiteY324" fmla="*/ 360110 h 590550"/>
                  <a:gd name="connsiteX325" fmla="*/ 610843 w 628650"/>
                  <a:gd name="connsiteY325" fmla="*/ 360110 h 590550"/>
                  <a:gd name="connsiteX326" fmla="*/ 607157 w 628650"/>
                  <a:gd name="connsiteY326" fmla="*/ 352729 h 590550"/>
                  <a:gd name="connsiteX327" fmla="*/ 603471 w 628650"/>
                  <a:gd name="connsiteY327" fmla="*/ 345348 h 590550"/>
                  <a:gd name="connsiteX328" fmla="*/ 596089 w 628650"/>
                  <a:gd name="connsiteY328" fmla="*/ 337967 h 590550"/>
                  <a:gd name="connsiteX329" fmla="*/ 596089 w 628650"/>
                  <a:gd name="connsiteY329" fmla="*/ 334276 h 590550"/>
                  <a:gd name="connsiteX330" fmla="*/ 592403 w 628650"/>
                  <a:gd name="connsiteY330" fmla="*/ 326895 h 590550"/>
                  <a:gd name="connsiteX331" fmla="*/ 592403 w 628650"/>
                  <a:gd name="connsiteY331" fmla="*/ 319514 h 590550"/>
                  <a:gd name="connsiteX332" fmla="*/ 588707 w 628650"/>
                  <a:gd name="connsiteY332" fmla="*/ 312132 h 590550"/>
                  <a:gd name="connsiteX333" fmla="*/ 588707 w 628650"/>
                  <a:gd name="connsiteY333" fmla="*/ 308442 h 590550"/>
                  <a:gd name="connsiteX334" fmla="*/ 585021 w 628650"/>
                  <a:gd name="connsiteY334" fmla="*/ 308442 h 590550"/>
                  <a:gd name="connsiteX335" fmla="*/ 581335 w 628650"/>
                  <a:gd name="connsiteY335" fmla="*/ 308442 h 590550"/>
                  <a:gd name="connsiteX336" fmla="*/ 577639 w 628650"/>
                  <a:gd name="connsiteY336" fmla="*/ 315823 h 590550"/>
                  <a:gd name="connsiteX337" fmla="*/ 573953 w 628650"/>
                  <a:gd name="connsiteY337" fmla="*/ 326895 h 590550"/>
                  <a:gd name="connsiteX338" fmla="*/ 566571 w 628650"/>
                  <a:gd name="connsiteY338" fmla="*/ 330585 h 590550"/>
                  <a:gd name="connsiteX339" fmla="*/ 566571 w 628650"/>
                  <a:gd name="connsiteY339" fmla="*/ 334276 h 590550"/>
                  <a:gd name="connsiteX340" fmla="*/ 562885 w 628650"/>
                  <a:gd name="connsiteY340" fmla="*/ 334276 h 590550"/>
                  <a:gd name="connsiteX341" fmla="*/ 544444 w 628650"/>
                  <a:gd name="connsiteY341" fmla="*/ 330585 h 590550"/>
                  <a:gd name="connsiteX342" fmla="*/ 537062 w 628650"/>
                  <a:gd name="connsiteY342" fmla="*/ 326895 h 590550"/>
                  <a:gd name="connsiteX343" fmla="*/ 525994 w 628650"/>
                  <a:gd name="connsiteY343" fmla="*/ 323204 h 590550"/>
                  <a:gd name="connsiteX344" fmla="*/ 518612 w 628650"/>
                  <a:gd name="connsiteY344" fmla="*/ 323204 h 590550"/>
                  <a:gd name="connsiteX345" fmla="*/ 522308 w 628650"/>
                  <a:gd name="connsiteY345" fmla="*/ 315823 h 590550"/>
                  <a:gd name="connsiteX346" fmla="*/ 514926 w 628650"/>
                  <a:gd name="connsiteY346" fmla="*/ 315823 h 590550"/>
                  <a:gd name="connsiteX347" fmla="*/ 503858 w 628650"/>
                  <a:gd name="connsiteY347" fmla="*/ 315823 h 590550"/>
                  <a:gd name="connsiteX348" fmla="*/ 481722 w 628650"/>
                  <a:gd name="connsiteY348" fmla="*/ 315823 h 590550"/>
                  <a:gd name="connsiteX349" fmla="*/ 474350 w 628650"/>
                  <a:gd name="connsiteY349" fmla="*/ 315823 h 590550"/>
                  <a:gd name="connsiteX350" fmla="*/ 470654 w 628650"/>
                  <a:gd name="connsiteY350" fmla="*/ 312132 h 590550"/>
                  <a:gd name="connsiteX351" fmla="*/ 455900 w 628650"/>
                  <a:gd name="connsiteY351" fmla="*/ 304751 h 590550"/>
                  <a:gd name="connsiteX352" fmla="*/ 452214 w 628650"/>
                  <a:gd name="connsiteY352" fmla="*/ 301060 h 590550"/>
                  <a:gd name="connsiteX353" fmla="*/ 444832 w 628650"/>
                  <a:gd name="connsiteY353" fmla="*/ 297371 h 590550"/>
                  <a:gd name="connsiteX354" fmla="*/ 448518 w 628650"/>
                  <a:gd name="connsiteY354" fmla="*/ 267846 h 590550"/>
                  <a:gd name="connsiteX355" fmla="*/ 441146 w 628650"/>
                  <a:gd name="connsiteY355" fmla="*/ 256774 h 590550"/>
                  <a:gd name="connsiteX356" fmla="*/ 433764 w 628650"/>
                  <a:gd name="connsiteY356" fmla="*/ 242012 h 590550"/>
                  <a:gd name="connsiteX357" fmla="*/ 437450 w 628650"/>
                  <a:gd name="connsiteY357" fmla="*/ 242012 h 590550"/>
                  <a:gd name="connsiteX358" fmla="*/ 444832 w 628650"/>
                  <a:gd name="connsiteY358" fmla="*/ 245702 h 590550"/>
                  <a:gd name="connsiteX359" fmla="*/ 452214 w 628650"/>
                  <a:gd name="connsiteY359" fmla="*/ 245702 h 590550"/>
                  <a:gd name="connsiteX360" fmla="*/ 455900 w 628650"/>
                  <a:gd name="connsiteY360" fmla="*/ 234630 h 590550"/>
                  <a:gd name="connsiteX361" fmla="*/ 463282 w 628650"/>
                  <a:gd name="connsiteY361" fmla="*/ 234630 h 590550"/>
                  <a:gd name="connsiteX362" fmla="*/ 470654 w 628650"/>
                  <a:gd name="connsiteY362" fmla="*/ 238321 h 590550"/>
                  <a:gd name="connsiteX363" fmla="*/ 474350 w 628650"/>
                  <a:gd name="connsiteY363" fmla="*/ 234630 h 590550"/>
                  <a:gd name="connsiteX364" fmla="*/ 452214 w 628650"/>
                  <a:gd name="connsiteY364" fmla="*/ 216178 h 590550"/>
                  <a:gd name="connsiteX365" fmla="*/ 452214 w 628650"/>
                  <a:gd name="connsiteY365" fmla="*/ 208797 h 590550"/>
                  <a:gd name="connsiteX366" fmla="*/ 455900 w 628650"/>
                  <a:gd name="connsiteY366" fmla="*/ 194035 h 590550"/>
                  <a:gd name="connsiteX367" fmla="*/ 455900 w 628650"/>
                  <a:gd name="connsiteY367" fmla="*/ 190344 h 590550"/>
                  <a:gd name="connsiteX368" fmla="*/ 452214 w 628650"/>
                  <a:gd name="connsiteY368" fmla="*/ 186653 h 590550"/>
                  <a:gd name="connsiteX369" fmla="*/ 448518 w 628650"/>
                  <a:gd name="connsiteY369" fmla="*/ 182963 h 590550"/>
                  <a:gd name="connsiteX370" fmla="*/ 444832 w 628650"/>
                  <a:gd name="connsiteY370" fmla="*/ 182963 h 590550"/>
                  <a:gd name="connsiteX371" fmla="*/ 444832 w 628650"/>
                  <a:gd name="connsiteY371" fmla="*/ 179272 h 590550"/>
                  <a:gd name="connsiteX372" fmla="*/ 444832 w 628650"/>
                  <a:gd name="connsiteY372" fmla="*/ 175582 h 590550"/>
                  <a:gd name="connsiteX373" fmla="*/ 444832 w 628650"/>
                  <a:gd name="connsiteY373" fmla="*/ 171891 h 590550"/>
                  <a:gd name="connsiteX374" fmla="*/ 448518 w 628650"/>
                  <a:gd name="connsiteY374" fmla="*/ 168200 h 590550"/>
                  <a:gd name="connsiteX375" fmla="*/ 444832 w 628650"/>
                  <a:gd name="connsiteY375" fmla="*/ 164510 h 590550"/>
                  <a:gd name="connsiteX376" fmla="*/ 437450 w 628650"/>
                  <a:gd name="connsiteY376" fmla="*/ 164510 h 590550"/>
                  <a:gd name="connsiteX377" fmla="*/ 422696 w 628650"/>
                  <a:gd name="connsiteY377" fmla="*/ 157129 h 590550"/>
                  <a:gd name="connsiteX378" fmla="*/ 415314 w 628650"/>
                  <a:gd name="connsiteY378" fmla="*/ 153438 h 590550"/>
                  <a:gd name="connsiteX379" fmla="*/ 407942 w 628650"/>
                  <a:gd name="connsiteY379" fmla="*/ 149747 h 590550"/>
                  <a:gd name="connsiteX380" fmla="*/ 400560 w 628650"/>
                  <a:gd name="connsiteY380" fmla="*/ 146057 h 590550"/>
                  <a:gd name="connsiteX381" fmla="*/ 400560 w 628650"/>
                  <a:gd name="connsiteY381" fmla="*/ 149747 h 590550"/>
                  <a:gd name="connsiteX382" fmla="*/ 396873 w 628650"/>
                  <a:gd name="connsiteY382" fmla="*/ 149747 h 590550"/>
                  <a:gd name="connsiteX383" fmla="*/ 385805 w 628650"/>
                  <a:gd name="connsiteY383" fmla="*/ 153438 h 590550"/>
                  <a:gd name="connsiteX384" fmla="*/ 371051 w 628650"/>
                  <a:gd name="connsiteY384" fmla="*/ 153438 h 590550"/>
                  <a:gd name="connsiteX385" fmla="*/ 367355 w 628650"/>
                  <a:gd name="connsiteY385" fmla="*/ 157129 h 590550"/>
                  <a:gd name="connsiteX386" fmla="*/ 359983 w 628650"/>
                  <a:gd name="connsiteY386" fmla="*/ 164510 h 590550"/>
                  <a:gd name="connsiteX387" fmla="*/ 352601 w 628650"/>
                  <a:gd name="connsiteY387" fmla="*/ 171891 h 590550"/>
                  <a:gd name="connsiteX388" fmla="*/ 356287 w 628650"/>
                  <a:gd name="connsiteY388" fmla="*/ 194035 h 590550"/>
                  <a:gd name="connsiteX389" fmla="*/ 356287 w 628650"/>
                  <a:gd name="connsiteY389" fmla="*/ 197725 h 590550"/>
                  <a:gd name="connsiteX390" fmla="*/ 352601 w 628650"/>
                  <a:gd name="connsiteY390" fmla="*/ 197725 h 590550"/>
                  <a:gd name="connsiteX391" fmla="*/ 348915 w 628650"/>
                  <a:gd name="connsiteY391" fmla="*/ 194035 h 590550"/>
                  <a:gd name="connsiteX392" fmla="*/ 345219 w 628650"/>
                  <a:gd name="connsiteY392" fmla="*/ 194035 h 590550"/>
                  <a:gd name="connsiteX393" fmla="*/ 337847 w 628650"/>
                  <a:gd name="connsiteY393" fmla="*/ 194035 h 590550"/>
                  <a:gd name="connsiteX394" fmla="*/ 334161 w 628650"/>
                  <a:gd name="connsiteY394" fmla="*/ 190344 h 590550"/>
                  <a:gd name="connsiteX395" fmla="*/ 330465 w 628650"/>
                  <a:gd name="connsiteY395" fmla="*/ 186653 h 590550"/>
                  <a:gd name="connsiteX396" fmla="*/ 330465 w 628650"/>
                  <a:gd name="connsiteY396" fmla="*/ 190344 h 590550"/>
                  <a:gd name="connsiteX397" fmla="*/ 326779 w 628650"/>
                  <a:gd name="connsiteY397" fmla="*/ 194035 h 590550"/>
                  <a:gd name="connsiteX398" fmla="*/ 323093 w 628650"/>
                  <a:gd name="connsiteY398" fmla="*/ 197725 h 590550"/>
                  <a:gd name="connsiteX399" fmla="*/ 319397 w 628650"/>
                  <a:gd name="connsiteY399" fmla="*/ 194035 h 590550"/>
                  <a:gd name="connsiteX400" fmla="*/ 315711 w 628650"/>
                  <a:gd name="connsiteY400" fmla="*/ 194035 h 590550"/>
                  <a:gd name="connsiteX401" fmla="*/ 315711 w 628650"/>
                  <a:gd name="connsiteY401" fmla="*/ 190344 h 590550"/>
                  <a:gd name="connsiteX402" fmla="*/ 315711 w 628650"/>
                  <a:gd name="connsiteY402" fmla="*/ 186653 h 590550"/>
                  <a:gd name="connsiteX403" fmla="*/ 312025 w 628650"/>
                  <a:gd name="connsiteY403" fmla="*/ 186653 h 590550"/>
                  <a:gd name="connsiteX404" fmla="*/ 308329 w 628650"/>
                  <a:gd name="connsiteY404" fmla="*/ 190344 h 590550"/>
                  <a:gd name="connsiteX405" fmla="*/ 308329 w 628650"/>
                  <a:gd name="connsiteY405" fmla="*/ 194035 h 590550"/>
                  <a:gd name="connsiteX406" fmla="*/ 304643 w 628650"/>
                  <a:gd name="connsiteY406" fmla="*/ 194035 h 590550"/>
                  <a:gd name="connsiteX407" fmla="*/ 304643 w 628650"/>
                  <a:gd name="connsiteY407" fmla="*/ 190344 h 590550"/>
                  <a:gd name="connsiteX408" fmla="*/ 300957 w 628650"/>
                  <a:gd name="connsiteY408" fmla="*/ 190344 h 590550"/>
                  <a:gd name="connsiteX409" fmla="*/ 300957 w 628650"/>
                  <a:gd name="connsiteY409" fmla="*/ 194035 h 590550"/>
                  <a:gd name="connsiteX410" fmla="*/ 297261 w 628650"/>
                  <a:gd name="connsiteY410" fmla="*/ 194035 h 590550"/>
                  <a:gd name="connsiteX411" fmla="*/ 293575 w 628650"/>
                  <a:gd name="connsiteY411" fmla="*/ 194035 h 590550"/>
                  <a:gd name="connsiteX412" fmla="*/ 293575 w 628650"/>
                  <a:gd name="connsiteY412" fmla="*/ 197725 h 590550"/>
                  <a:gd name="connsiteX413" fmla="*/ 289889 w 628650"/>
                  <a:gd name="connsiteY413" fmla="*/ 197725 h 590550"/>
                  <a:gd name="connsiteX414" fmla="*/ 286193 w 628650"/>
                  <a:gd name="connsiteY414" fmla="*/ 194035 h 590550"/>
                  <a:gd name="connsiteX415" fmla="*/ 286193 w 628650"/>
                  <a:gd name="connsiteY415" fmla="*/ 186653 h 590550"/>
                  <a:gd name="connsiteX416" fmla="*/ 282507 w 628650"/>
                  <a:gd name="connsiteY416" fmla="*/ 182963 h 590550"/>
                  <a:gd name="connsiteX417" fmla="*/ 282507 w 628650"/>
                  <a:gd name="connsiteY417" fmla="*/ 179272 h 590550"/>
                  <a:gd name="connsiteX418" fmla="*/ 278821 w 628650"/>
                  <a:gd name="connsiteY418" fmla="*/ 179272 h 590550"/>
                  <a:gd name="connsiteX419" fmla="*/ 278821 w 628650"/>
                  <a:gd name="connsiteY419" fmla="*/ 175582 h 590550"/>
                  <a:gd name="connsiteX420" fmla="*/ 278821 w 628650"/>
                  <a:gd name="connsiteY420" fmla="*/ 171891 h 590550"/>
                  <a:gd name="connsiteX421" fmla="*/ 275125 w 628650"/>
                  <a:gd name="connsiteY421" fmla="*/ 171891 h 590550"/>
                  <a:gd name="connsiteX422" fmla="*/ 271439 w 628650"/>
                  <a:gd name="connsiteY422" fmla="*/ 168200 h 590550"/>
                  <a:gd name="connsiteX423" fmla="*/ 267753 w 628650"/>
                  <a:gd name="connsiteY423" fmla="*/ 168200 h 590550"/>
                  <a:gd name="connsiteX424" fmla="*/ 264066 w 628650"/>
                  <a:gd name="connsiteY424" fmla="*/ 164510 h 590550"/>
                  <a:gd name="connsiteX425" fmla="*/ 264066 w 628650"/>
                  <a:gd name="connsiteY425" fmla="*/ 160819 h 590550"/>
                  <a:gd name="connsiteX426" fmla="*/ 260371 w 628650"/>
                  <a:gd name="connsiteY426" fmla="*/ 160819 h 590550"/>
                  <a:gd name="connsiteX427" fmla="*/ 260371 w 628650"/>
                  <a:gd name="connsiteY427" fmla="*/ 157129 h 590550"/>
                  <a:gd name="connsiteX428" fmla="*/ 264066 w 628650"/>
                  <a:gd name="connsiteY428" fmla="*/ 157129 h 590550"/>
                  <a:gd name="connsiteX429" fmla="*/ 264066 w 628650"/>
                  <a:gd name="connsiteY429" fmla="*/ 153438 h 590550"/>
                  <a:gd name="connsiteX430" fmla="*/ 260371 w 628650"/>
                  <a:gd name="connsiteY430" fmla="*/ 153438 h 590550"/>
                  <a:gd name="connsiteX431" fmla="*/ 256684 w 628650"/>
                  <a:gd name="connsiteY431" fmla="*/ 153438 h 590550"/>
                  <a:gd name="connsiteX432" fmla="*/ 252998 w 628650"/>
                  <a:gd name="connsiteY432" fmla="*/ 157129 h 590550"/>
                  <a:gd name="connsiteX433" fmla="*/ 249303 w 628650"/>
                  <a:gd name="connsiteY433" fmla="*/ 157129 h 590550"/>
                  <a:gd name="connsiteX434" fmla="*/ 245616 w 628650"/>
                  <a:gd name="connsiteY434" fmla="*/ 157129 h 590550"/>
                  <a:gd name="connsiteX435" fmla="*/ 241930 w 628650"/>
                  <a:gd name="connsiteY435" fmla="*/ 157129 h 590550"/>
                  <a:gd name="connsiteX436" fmla="*/ 241930 w 628650"/>
                  <a:gd name="connsiteY436" fmla="*/ 153438 h 590550"/>
                  <a:gd name="connsiteX437" fmla="*/ 238235 w 628650"/>
                  <a:gd name="connsiteY437" fmla="*/ 153438 h 590550"/>
                  <a:gd name="connsiteX438" fmla="*/ 238235 w 628650"/>
                  <a:gd name="connsiteY438" fmla="*/ 157129 h 590550"/>
                  <a:gd name="connsiteX439" fmla="*/ 234548 w 628650"/>
                  <a:gd name="connsiteY439" fmla="*/ 157129 h 590550"/>
                  <a:gd name="connsiteX440" fmla="*/ 230862 w 628650"/>
                  <a:gd name="connsiteY440" fmla="*/ 157129 h 590550"/>
                  <a:gd name="connsiteX441" fmla="*/ 230862 w 628650"/>
                  <a:gd name="connsiteY441" fmla="*/ 153438 h 590550"/>
                  <a:gd name="connsiteX442" fmla="*/ 227166 w 628650"/>
                  <a:gd name="connsiteY442" fmla="*/ 153438 h 590550"/>
                  <a:gd name="connsiteX443" fmla="*/ 223480 w 628650"/>
                  <a:gd name="connsiteY443" fmla="*/ 149747 h 590550"/>
                  <a:gd name="connsiteX444" fmla="*/ 223480 w 628650"/>
                  <a:gd name="connsiteY444" fmla="*/ 146057 h 590550"/>
                  <a:gd name="connsiteX445" fmla="*/ 219794 w 628650"/>
                  <a:gd name="connsiteY445" fmla="*/ 146057 h 590550"/>
                  <a:gd name="connsiteX446" fmla="*/ 216098 w 628650"/>
                  <a:gd name="connsiteY446" fmla="*/ 146057 h 590550"/>
                  <a:gd name="connsiteX447" fmla="*/ 212412 w 628650"/>
                  <a:gd name="connsiteY447" fmla="*/ 146057 h 590550"/>
                  <a:gd name="connsiteX448" fmla="*/ 212412 w 628650"/>
                  <a:gd name="connsiteY448" fmla="*/ 142366 h 590550"/>
                  <a:gd name="connsiteX449" fmla="*/ 208726 w 628650"/>
                  <a:gd name="connsiteY449" fmla="*/ 142366 h 590550"/>
                  <a:gd name="connsiteX450" fmla="*/ 205030 w 628650"/>
                  <a:gd name="connsiteY450" fmla="*/ 142366 h 590550"/>
                  <a:gd name="connsiteX451" fmla="*/ 201344 w 628650"/>
                  <a:gd name="connsiteY451" fmla="*/ 142366 h 590550"/>
                  <a:gd name="connsiteX452" fmla="*/ 197658 w 628650"/>
                  <a:gd name="connsiteY452" fmla="*/ 146057 h 590550"/>
                  <a:gd name="connsiteX453" fmla="*/ 197658 w 628650"/>
                  <a:gd name="connsiteY453" fmla="*/ 149747 h 590550"/>
                  <a:gd name="connsiteX454" fmla="*/ 193962 w 628650"/>
                  <a:gd name="connsiteY454" fmla="*/ 146057 h 590550"/>
                  <a:gd name="connsiteX455" fmla="*/ 193962 w 628650"/>
                  <a:gd name="connsiteY455" fmla="*/ 142366 h 590550"/>
                  <a:gd name="connsiteX456" fmla="*/ 190276 w 628650"/>
                  <a:gd name="connsiteY456" fmla="*/ 146057 h 590550"/>
                  <a:gd name="connsiteX457" fmla="*/ 193962 w 628650"/>
                  <a:gd name="connsiteY457" fmla="*/ 149747 h 590550"/>
                  <a:gd name="connsiteX458" fmla="*/ 182904 w 628650"/>
                  <a:gd name="connsiteY458" fmla="*/ 146057 h 590550"/>
                  <a:gd name="connsiteX459" fmla="*/ 186590 w 628650"/>
                  <a:gd name="connsiteY459" fmla="*/ 142366 h 590550"/>
                  <a:gd name="connsiteX460" fmla="*/ 186590 w 628650"/>
                  <a:gd name="connsiteY460" fmla="*/ 138675 h 590550"/>
                  <a:gd name="connsiteX461" fmla="*/ 179208 w 628650"/>
                  <a:gd name="connsiteY461" fmla="*/ 134985 h 590550"/>
                  <a:gd name="connsiteX462" fmla="*/ 179208 w 628650"/>
                  <a:gd name="connsiteY462" fmla="*/ 131295 h 590550"/>
                  <a:gd name="connsiteX463" fmla="*/ 171836 w 628650"/>
                  <a:gd name="connsiteY463" fmla="*/ 120223 h 590550"/>
                  <a:gd name="connsiteX464" fmla="*/ 171836 w 628650"/>
                  <a:gd name="connsiteY464" fmla="*/ 116533 h 590550"/>
                  <a:gd name="connsiteX465" fmla="*/ 171836 w 628650"/>
                  <a:gd name="connsiteY465" fmla="*/ 112842 h 590550"/>
                  <a:gd name="connsiteX466" fmla="*/ 168140 w 628650"/>
                  <a:gd name="connsiteY466" fmla="*/ 105461 h 590550"/>
                  <a:gd name="connsiteX467" fmla="*/ 164454 w 628650"/>
                  <a:gd name="connsiteY467" fmla="*/ 98080 h 590550"/>
                  <a:gd name="connsiteX468" fmla="*/ 160768 w 628650"/>
                  <a:gd name="connsiteY468" fmla="*/ 90698 h 590550"/>
                  <a:gd name="connsiteX469" fmla="*/ 160768 w 628650"/>
                  <a:gd name="connsiteY469" fmla="*/ 87008 h 590550"/>
                  <a:gd name="connsiteX470" fmla="*/ 164454 w 628650"/>
                  <a:gd name="connsiteY470" fmla="*/ 87008 h 590550"/>
                  <a:gd name="connsiteX471" fmla="*/ 168140 w 628650"/>
                  <a:gd name="connsiteY471" fmla="*/ 83317 h 590550"/>
                  <a:gd name="connsiteX472" fmla="*/ 179208 w 628650"/>
                  <a:gd name="connsiteY472" fmla="*/ 79627 h 590550"/>
                  <a:gd name="connsiteX473" fmla="*/ 182904 w 628650"/>
                  <a:gd name="connsiteY473" fmla="*/ 75936 h 590550"/>
                  <a:gd name="connsiteX474" fmla="*/ 186590 w 628650"/>
                  <a:gd name="connsiteY474" fmla="*/ 75936 h 590550"/>
                  <a:gd name="connsiteX475" fmla="*/ 186590 w 628650"/>
                  <a:gd name="connsiteY475" fmla="*/ 72246 h 590550"/>
                  <a:gd name="connsiteX476" fmla="*/ 193962 w 628650"/>
                  <a:gd name="connsiteY476" fmla="*/ 64864 h 590550"/>
                  <a:gd name="connsiteX477" fmla="*/ 197658 w 628650"/>
                  <a:gd name="connsiteY477" fmla="*/ 61174 h 590550"/>
                  <a:gd name="connsiteX478" fmla="*/ 201344 w 628650"/>
                  <a:gd name="connsiteY478" fmla="*/ 53792 h 590550"/>
                  <a:gd name="connsiteX479" fmla="*/ 197658 w 628650"/>
                  <a:gd name="connsiteY479" fmla="*/ 53792 h 590550"/>
                  <a:gd name="connsiteX480" fmla="*/ 193962 w 628650"/>
                  <a:gd name="connsiteY480" fmla="*/ 46412 h 590550"/>
                  <a:gd name="connsiteX481" fmla="*/ 190276 w 628650"/>
                  <a:gd name="connsiteY481" fmla="*/ 42722 h 590550"/>
                  <a:gd name="connsiteX482" fmla="*/ 186590 w 628650"/>
                  <a:gd name="connsiteY482" fmla="*/ 39031 h 590550"/>
                  <a:gd name="connsiteX483" fmla="*/ 179208 w 628650"/>
                  <a:gd name="connsiteY483" fmla="*/ 31650 h 590550"/>
                  <a:gd name="connsiteX484" fmla="*/ 175522 w 628650"/>
                  <a:gd name="connsiteY484" fmla="*/ 27959 h 590550"/>
                  <a:gd name="connsiteX485" fmla="*/ 164454 w 628650"/>
                  <a:gd name="connsiteY485" fmla="*/ 16887 h 590550"/>
                  <a:gd name="connsiteX486" fmla="*/ 164454 w 628650"/>
                  <a:gd name="connsiteY486" fmla="*/ 13197 h 590550"/>
                  <a:gd name="connsiteX487" fmla="*/ 160768 w 628650"/>
                  <a:gd name="connsiteY487" fmla="*/ 5815 h 590550"/>
                  <a:gd name="connsiteX488" fmla="*/ 186590 w 628650"/>
                  <a:gd name="connsiteY488" fmla="*/ 507737 h 590550"/>
                  <a:gd name="connsiteX489" fmla="*/ 186590 w 628650"/>
                  <a:gd name="connsiteY489" fmla="*/ 511423 h 590550"/>
                  <a:gd name="connsiteX490" fmla="*/ 186590 w 628650"/>
                  <a:gd name="connsiteY490" fmla="*/ 515109 h 590550"/>
                  <a:gd name="connsiteX491" fmla="*/ 190276 w 628650"/>
                  <a:gd name="connsiteY491" fmla="*/ 511423 h 590550"/>
                  <a:gd name="connsiteX492" fmla="*/ 186590 w 628650"/>
                  <a:gd name="connsiteY492" fmla="*/ 507737 h 590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628650" h="590550">
                    <a:moveTo>
                      <a:pt x="160768" y="5815"/>
                    </a:moveTo>
                    <a:lnTo>
                      <a:pt x="149700" y="13197"/>
                    </a:lnTo>
                    <a:lnTo>
                      <a:pt x="146004" y="16887"/>
                    </a:lnTo>
                    <a:lnTo>
                      <a:pt x="142318" y="20578"/>
                    </a:lnTo>
                    <a:lnTo>
                      <a:pt x="131250" y="20578"/>
                    </a:lnTo>
                    <a:lnTo>
                      <a:pt x="127564" y="20578"/>
                    </a:lnTo>
                    <a:lnTo>
                      <a:pt x="131250" y="27959"/>
                    </a:lnTo>
                    <a:lnTo>
                      <a:pt x="131250" y="31650"/>
                    </a:lnTo>
                    <a:lnTo>
                      <a:pt x="127564" y="31650"/>
                    </a:lnTo>
                    <a:lnTo>
                      <a:pt x="123877" y="35340"/>
                    </a:lnTo>
                    <a:lnTo>
                      <a:pt x="116495" y="39031"/>
                    </a:lnTo>
                    <a:lnTo>
                      <a:pt x="116495" y="31650"/>
                    </a:lnTo>
                    <a:lnTo>
                      <a:pt x="105427" y="35340"/>
                    </a:lnTo>
                    <a:lnTo>
                      <a:pt x="101741" y="39031"/>
                    </a:lnTo>
                    <a:lnTo>
                      <a:pt x="101741" y="35340"/>
                    </a:lnTo>
                    <a:lnTo>
                      <a:pt x="98046" y="35340"/>
                    </a:lnTo>
                    <a:lnTo>
                      <a:pt x="94359" y="31650"/>
                    </a:lnTo>
                    <a:lnTo>
                      <a:pt x="90673" y="24269"/>
                    </a:lnTo>
                    <a:lnTo>
                      <a:pt x="90673" y="16887"/>
                    </a:lnTo>
                    <a:lnTo>
                      <a:pt x="83291" y="20578"/>
                    </a:lnTo>
                    <a:lnTo>
                      <a:pt x="83291" y="24269"/>
                    </a:lnTo>
                    <a:lnTo>
                      <a:pt x="75909" y="20578"/>
                    </a:lnTo>
                    <a:lnTo>
                      <a:pt x="75909" y="24269"/>
                    </a:lnTo>
                    <a:lnTo>
                      <a:pt x="68537" y="24269"/>
                    </a:lnTo>
                    <a:lnTo>
                      <a:pt x="64841" y="27959"/>
                    </a:lnTo>
                    <a:lnTo>
                      <a:pt x="64841" y="31650"/>
                    </a:lnTo>
                    <a:lnTo>
                      <a:pt x="61155" y="35340"/>
                    </a:lnTo>
                    <a:lnTo>
                      <a:pt x="61155" y="39031"/>
                    </a:lnTo>
                    <a:lnTo>
                      <a:pt x="57469" y="42722"/>
                    </a:lnTo>
                    <a:lnTo>
                      <a:pt x="53773" y="42722"/>
                    </a:lnTo>
                    <a:lnTo>
                      <a:pt x="53773" y="46412"/>
                    </a:lnTo>
                    <a:lnTo>
                      <a:pt x="50087" y="46412"/>
                    </a:lnTo>
                    <a:lnTo>
                      <a:pt x="46401" y="50102"/>
                    </a:lnTo>
                    <a:lnTo>
                      <a:pt x="42715" y="50102"/>
                    </a:lnTo>
                    <a:lnTo>
                      <a:pt x="39019" y="50102"/>
                    </a:lnTo>
                    <a:lnTo>
                      <a:pt x="35333" y="50102"/>
                    </a:lnTo>
                    <a:lnTo>
                      <a:pt x="31647" y="46412"/>
                    </a:lnTo>
                    <a:lnTo>
                      <a:pt x="27951" y="46412"/>
                    </a:lnTo>
                    <a:lnTo>
                      <a:pt x="24265" y="46412"/>
                    </a:lnTo>
                    <a:lnTo>
                      <a:pt x="24265" y="42722"/>
                    </a:lnTo>
                    <a:lnTo>
                      <a:pt x="20579" y="42722"/>
                    </a:lnTo>
                    <a:lnTo>
                      <a:pt x="16883" y="42722"/>
                    </a:lnTo>
                    <a:lnTo>
                      <a:pt x="16883" y="39031"/>
                    </a:lnTo>
                    <a:lnTo>
                      <a:pt x="13197" y="39031"/>
                    </a:lnTo>
                    <a:lnTo>
                      <a:pt x="5815" y="46412"/>
                    </a:lnTo>
                    <a:lnTo>
                      <a:pt x="9511" y="53792"/>
                    </a:lnTo>
                    <a:lnTo>
                      <a:pt x="13197" y="57483"/>
                    </a:lnTo>
                    <a:lnTo>
                      <a:pt x="16883" y="61174"/>
                    </a:lnTo>
                    <a:lnTo>
                      <a:pt x="16883" y="64864"/>
                    </a:lnTo>
                    <a:lnTo>
                      <a:pt x="24265" y="64864"/>
                    </a:lnTo>
                    <a:lnTo>
                      <a:pt x="31647" y="64864"/>
                    </a:lnTo>
                    <a:lnTo>
                      <a:pt x="35333" y="68555"/>
                    </a:lnTo>
                    <a:lnTo>
                      <a:pt x="46401" y="72246"/>
                    </a:lnTo>
                    <a:lnTo>
                      <a:pt x="50087" y="79627"/>
                    </a:lnTo>
                    <a:lnTo>
                      <a:pt x="53773" y="83317"/>
                    </a:lnTo>
                    <a:lnTo>
                      <a:pt x="57469" y="83317"/>
                    </a:lnTo>
                    <a:lnTo>
                      <a:pt x="64841" y="90698"/>
                    </a:lnTo>
                    <a:lnTo>
                      <a:pt x="68537" y="101770"/>
                    </a:lnTo>
                    <a:lnTo>
                      <a:pt x="75909" y="116533"/>
                    </a:lnTo>
                    <a:lnTo>
                      <a:pt x="75909" y="120223"/>
                    </a:lnTo>
                    <a:lnTo>
                      <a:pt x="79605" y="120223"/>
                    </a:lnTo>
                    <a:lnTo>
                      <a:pt x="83291" y="123914"/>
                    </a:lnTo>
                    <a:lnTo>
                      <a:pt x="83291" y="127604"/>
                    </a:lnTo>
                    <a:lnTo>
                      <a:pt x="86978" y="131295"/>
                    </a:lnTo>
                    <a:lnTo>
                      <a:pt x="86978" y="134985"/>
                    </a:lnTo>
                    <a:lnTo>
                      <a:pt x="86978" y="138675"/>
                    </a:lnTo>
                    <a:lnTo>
                      <a:pt x="79605" y="142366"/>
                    </a:lnTo>
                    <a:lnTo>
                      <a:pt x="75909" y="146057"/>
                    </a:lnTo>
                    <a:lnTo>
                      <a:pt x="72223" y="149747"/>
                    </a:lnTo>
                    <a:lnTo>
                      <a:pt x="72223" y="153438"/>
                    </a:lnTo>
                    <a:lnTo>
                      <a:pt x="72223" y="157129"/>
                    </a:lnTo>
                    <a:lnTo>
                      <a:pt x="75909" y="157129"/>
                    </a:lnTo>
                    <a:lnTo>
                      <a:pt x="75909" y="153438"/>
                    </a:lnTo>
                    <a:lnTo>
                      <a:pt x="83291" y="157129"/>
                    </a:lnTo>
                    <a:lnTo>
                      <a:pt x="86978" y="157129"/>
                    </a:lnTo>
                    <a:lnTo>
                      <a:pt x="94359" y="160819"/>
                    </a:lnTo>
                    <a:lnTo>
                      <a:pt x="98046" y="164510"/>
                    </a:lnTo>
                    <a:lnTo>
                      <a:pt x="101741" y="168200"/>
                    </a:lnTo>
                    <a:lnTo>
                      <a:pt x="109114" y="168200"/>
                    </a:lnTo>
                    <a:lnTo>
                      <a:pt x="112809" y="175582"/>
                    </a:lnTo>
                    <a:lnTo>
                      <a:pt x="109114" y="179272"/>
                    </a:lnTo>
                    <a:lnTo>
                      <a:pt x="98046" y="186653"/>
                    </a:lnTo>
                    <a:lnTo>
                      <a:pt x="94359" y="186653"/>
                    </a:lnTo>
                    <a:lnTo>
                      <a:pt x="83291" y="190344"/>
                    </a:lnTo>
                    <a:lnTo>
                      <a:pt x="83291" y="194035"/>
                    </a:lnTo>
                    <a:lnTo>
                      <a:pt x="75909" y="197725"/>
                    </a:lnTo>
                    <a:lnTo>
                      <a:pt x="72223" y="197725"/>
                    </a:lnTo>
                    <a:lnTo>
                      <a:pt x="64841" y="201416"/>
                    </a:lnTo>
                    <a:lnTo>
                      <a:pt x="61155" y="197725"/>
                    </a:lnTo>
                    <a:lnTo>
                      <a:pt x="57469" y="194035"/>
                    </a:lnTo>
                    <a:lnTo>
                      <a:pt x="27951" y="201416"/>
                    </a:lnTo>
                    <a:lnTo>
                      <a:pt x="24265" y="205107"/>
                    </a:lnTo>
                    <a:lnTo>
                      <a:pt x="24265" y="212488"/>
                    </a:lnTo>
                    <a:lnTo>
                      <a:pt x="24265" y="216178"/>
                    </a:lnTo>
                    <a:lnTo>
                      <a:pt x="24265" y="219868"/>
                    </a:lnTo>
                    <a:lnTo>
                      <a:pt x="27951" y="223559"/>
                    </a:lnTo>
                    <a:lnTo>
                      <a:pt x="27951" y="227249"/>
                    </a:lnTo>
                    <a:lnTo>
                      <a:pt x="13197" y="223559"/>
                    </a:lnTo>
                    <a:lnTo>
                      <a:pt x="16883" y="227249"/>
                    </a:lnTo>
                    <a:lnTo>
                      <a:pt x="20579" y="227249"/>
                    </a:lnTo>
                    <a:lnTo>
                      <a:pt x="24265" y="227249"/>
                    </a:lnTo>
                    <a:lnTo>
                      <a:pt x="24265" y="230940"/>
                    </a:lnTo>
                    <a:lnTo>
                      <a:pt x="27951" y="234630"/>
                    </a:lnTo>
                    <a:lnTo>
                      <a:pt x="27951" y="238321"/>
                    </a:lnTo>
                    <a:lnTo>
                      <a:pt x="27951" y="242012"/>
                    </a:lnTo>
                    <a:lnTo>
                      <a:pt x="31647" y="245702"/>
                    </a:lnTo>
                    <a:lnTo>
                      <a:pt x="35333" y="249393"/>
                    </a:lnTo>
                    <a:lnTo>
                      <a:pt x="35333" y="253083"/>
                    </a:lnTo>
                    <a:lnTo>
                      <a:pt x="35333" y="256774"/>
                    </a:lnTo>
                    <a:lnTo>
                      <a:pt x="39019" y="260465"/>
                    </a:lnTo>
                    <a:lnTo>
                      <a:pt x="39019" y="267846"/>
                    </a:lnTo>
                    <a:lnTo>
                      <a:pt x="39019" y="275227"/>
                    </a:lnTo>
                    <a:lnTo>
                      <a:pt x="46401" y="271537"/>
                    </a:lnTo>
                    <a:lnTo>
                      <a:pt x="50087" y="275227"/>
                    </a:lnTo>
                    <a:lnTo>
                      <a:pt x="57469" y="286299"/>
                    </a:lnTo>
                    <a:lnTo>
                      <a:pt x="61155" y="293680"/>
                    </a:lnTo>
                    <a:lnTo>
                      <a:pt x="68537" y="304751"/>
                    </a:lnTo>
                    <a:lnTo>
                      <a:pt x="68537" y="312132"/>
                    </a:lnTo>
                    <a:lnTo>
                      <a:pt x="75909" y="308442"/>
                    </a:lnTo>
                    <a:lnTo>
                      <a:pt x="79605" y="304751"/>
                    </a:lnTo>
                    <a:lnTo>
                      <a:pt x="83291" y="301060"/>
                    </a:lnTo>
                    <a:lnTo>
                      <a:pt x="83291" y="304751"/>
                    </a:lnTo>
                    <a:lnTo>
                      <a:pt x="86978" y="308442"/>
                    </a:lnTo>
                    <a:lnTo>
                      <a:pt x="90673" y="304751"/>
                    </a:lnTo>
                    <a:lnTo>
                      <a:pt x="98046" y="297371"/>
                    </a:lnTo>
                    <a:lnTo>
                      <a:pt x="105427" y="289990"/>
                    </a:lnTo>
                    <a:lnTo>
                      <a:pt x="109114" y="286299"/>
                    </a:lnTo>
                    <a:lnTo>
                      <a:pt x="112809" y="286299"/>
                    </a:lnTo>
                    <a:lnTo>
                      <a:pt x="116495" y="286299"/>
                    </a:lnTo>
                    <a:lnTo>
                      <a:pt x="120182" y="282608"/>
                    </a:lnTo>
                    <a:lnTo>
                      <a:pt x="123877" y="286299"/>
                    </a:lnTo>
                    <a:lnTo>
                      <a:pt x="127564" y="286299"/>
                    </a:lnTo>
                    <a:lnTo>
                      <a:pt x="131250" y="289990"/>
                    </a:lnTo>
                    <a:lnTo>
                      <a:pt x="134936" y="293680"/>
                    </a:lnTo>
                    <a:lnTo>
                      <a:pt x="134936" y="297371"/>
                    </a:lnTo>
                    <a:lnTo>
                      <a:pt x="134936" y="301060"/>
                    </a:lnTo>
                    <a:lnTo>
                      <a:pt x="138632" y="304751"/>
                    </a:lnTo>
                    <a:lnTo>
                      <a:pt x="149700" y="308442"/>
                    </a:lnTo>
                    <a:lnTo>
                      <a:pt x="153386" y="312132"/>
                    </a:lnTo>
                    <a:lnTo>
                      <a:pt x="153386" y="315823"/>
                    </a:lnTo>
                    <a:lnTo>
                      <a:pt x="157072" y="326895"/>
                    </a:lnTo>
                    <a:lnTo>
                      <a:pt x="157072" y="334276"/>
                    </a:lnTo>
                    <a:lnTo>
                      <a:pt x="160768" y="337967"/>
                    </a:lnTo>
                    <a:lnTo>
                      <a:pt x="164454" y="341657"/>
                    </a:lnTo>
                    <a:lnTo>
                      <a:pt x="164454" y="349038"/>
                    </a:lnTo>
                    <a:lnTo>
                      <a:pt x="160768" y="352729"/>
                    </a:lnTo>
                    <a:lnTo>
                      <a:pt x="160768" y="356420"/>
                    </a:lnTo>
                    <a:lnTo>
                      <a:pt x="160768" y="363801"/>
                    </a:lnTo>
                    <a:lnTo>
                      <a:pt x="164454" y="367491"/>
                    </a:lnTo>
                    <a:lnTo>
                      <a:pt x="168140" y="367491"/>
                    </a:lnTo>
                    <a:lnTo>
                      <a:pt x="168140" y="371182"/>
                    </a:lnTo>
                    <a:lnTo>
                      <a:pt x="168140" y="374873"/>
                    </a:lnTo>
                    <a:lnTo>
                      <a:pt x="168140" y="382253"/>
                    </a:lnTo>
                    <a:lnTo>
                      <a:pt x="164454" y="382253"/>
                    </a:lnTo>
                    <a:lnTo>
                      <a:pt x="164454" y="385943"/>
                    </a:lnTo>
                    <a:lnTo>
                      <a:pt x="160768" y="385943"/>
                    </a:lnTo>
                    <a:lnTo>
                      <a:pt x="153386" y="389634"/>
                    </a:lnTo>
                    <a:lnTo>
                      <a:pt x="146004" y="389634"/>
                    </a:lnTo>
                    <a:lnTo>
                      <a:pt x="146004" y="393323"/>
                    </a:lnTo>
                    <a:lnTo>
                      <a:pt x="142318" y="393323"/>
                    </a:lnTo>
                    <a:lnTo>
                      <a:pt x="142318" y="397018"/>
                    </a:lnTo>
                    <a:lnTo>
                      <a:pt x="146004" y="400704"/>
                    </a:lnTo>
                    <a:lnTo>
                      <a:pt x="149700" y="400704"/>
                    </a:lnTo>
                    <a:lnTo>
                      <a:pt x="153386" y="404400"/>
                    </a:lnTo>
                    <a:lnTo>
                      <a:pt x="149700" y="404400"/>
                    </a:lnTo>
                    <a:lnTo>
                      <a:pt x="146004" y="408086"/>
                    </a:lnTo>
                    <a:lnTo>
                      <a:pt x="142318" y="408086"/>
                    </a:lnTo>
                    <a:lnTo>
                      <a:pt x="142318" y="415468"/>
                    </a:lnTo>
                    <a:lnTo>
                      <a:pt x="142318" y="422850"/>
                    </a:lnTo>
                    <a:lnTo>
                      <a:pt x="142318" y="430232"/>
                    </a:lnTo>
                    <a:lnTo>
                      <a:pt x="138632" y="430232"/>
                    </a:lnTo>
                    <a:lnTo>
                      <a:pt x="138632" y="433918"/>
                    </a:lnTo>
                    <a:lnTo>
                      <a:pt x="142318" y="433918"/>
                    </a:lnTo>
                    <a:lnTo>
                      <a:pt x="146004" y="433918"/>
                    </a:lnTo>
                    <a:lnTo>
                      <a:pt x="146004" y="437614"/>
                    </a:lnTo>
                    <a:lnTo>
                      <a:pt x="146004" y="448682"/>
                    </a:lnTo>
                    <a:lnTo>
                      <a:pt x="149700" y="448682"/>
                    </a:lnTo>
                    <a:lnTo>
                      <a:pt x="153386" y="448682"/>
                    </a:lnTo>
                    <a:lnTo>
                      <a:pt x="157072" y="448682"/>
                    </a:lnTo>
                    <a:lnTo>
                      <a:pt x="157072" y="452377"/>
                    </a:lnTo>
                    <a:lnTo>
                      <a:pt x="157072" y="456064"/>
                    </a:lnTo>
                    <a:lnTo>
                      <a:pt x="160768" y="456064"/>
                    </a:lnTo>
                    <a:lnTo>
                      <a:pt x="160768" y="467132"/>
                    </a:lnTo>
                    <a:lnTo>
                      <a:pt x="164454" y="470827"/>
                    </a:lnTo>
                    <a:lnTo>
                      <a:pt x="168140" y="474514"/>
                    </a:lnTo>
                    <a:lnTo>
                      <a:pt x="168140" y="478209"/>
                    </a:lnTo>
                    <a:lnTo>
                      <a:pt x="168140" y="481895"/>
                    </a:lnTo>
                    <a:lnTo>
                      <a:pt x="168140" y="485591"/>
                    </a:lnTo>
                    <a:lnTo>
                      <a:pt x="171836" y="489277"/>
                    </a:lnTo>
                    <a:lnTo>
                      <a:pt x="175522" y="489277"/>
                    </a:lnTo>
                    <a:lnTo>
                      <a:pt x="179208" y="489277"/>
                    </a:lnTo>
                    <a:lnTo>
                      <a:pt x="182904" y="489277"/>
                    </a:lnTo>
                    <a:lnTo>
                      <a:pt x="182904" y="492973"/>
                    </a:lnTo>
                    <a:lnTo>
                      <a:pt x="179208" y="492973"/>
                    </a:lnTo>
                    <a:lnTo>
                      <a:pt x="175522" y="496659"/>
                    </a:lnTo>
                    <a:lnTo>
                      <a:pt x="175522" y="500355"/>
                    </a:lnTo>
                    <a:lnTo>
                      <a:pt x="179208" y="507737"/>
                    </a:lnTo>
                    <a:lnTo>
                      <a:pt x="182904" y="507737"/>
                    </a:lnTo>
                    <a:lnTo>
                      <a:pt x="186590" y="507737"/>
                    </a:lnTo>
                    <a:lnTo>
                      <a:pt x="186590" y="504041"/>
                    </a:lnTo>
                    <a:lnTo>
                      <a:pt x="193962" y="500355"/>
                    </a:lnTo>
                    <a:lnTo>
                      <a:pt x="197658" y="500355"/>
                    </a:lnTo>
                    <a:lnTo>
                      <a:pt x="197658" y="504041"/>
                    </a:lnTo>
                    <a:lnTo>
                      <a:pt x="205030" y="504041"/>
                    </a:lnTo>
                    <a:lnTo>
                      <a:pt x="208726" y="504041"/>
                    </a:lnTo>
                    <a:lnTo>
                      <a:pt x="212412" y="507737"/>
                    </a:lnTo>
                    <a:lnTo>
                      <a:pt x="212412" y="504041"/>
                    </a:lnTo>
                    <a:lnTo>
                      <a:pt x="216098" y="504041"/>
                    </a:lnTo>
                    <a:lnTo>
                      <a:pt x="219794" y="504041"/>
                    </a:lnTo>
                    <a:lnTo>
                      <a:pt x="223480" y="504041"/>
                    </a:lnTo>
                    <a:lnTo>
                      <a:pt x="230862" y="504041"/>
                    </a:lnTo>
                    <a:lnTo>
                      <a:pt x="234548" y="504041"/>
                    </a:lnTo>
                    <a:lnTo>
                      <a:pt x="238235" y="507737"/>
                    </a:lnTo>
                    <a:lnTo>
                      <a:pt x="241930" y="504041"/>
                    </a:lnTo>
                    <a:lnTo>
                      <a:pt x="245616" y="504041"/>
                    </a:lnTo>
                    <a:lnTo>
                      <a:pt x="249303" y="504041"/>
                    </a:lnTo>
                    <a:lnTo>
                      <a:pt x="252998" y="504041"/>
                    </a:lnTo>
                    <a:lnTo>
                      <a:pt x="252998" y="507737"/>
                    </a:lnTo>
                    <a:lnTo>
                      <a:pt x="264066" y="507737"/>
                    </a:lnTo>
                    <a:lnTo>
                      <a:pt x="264066" y="504041"/>
                    </a:lnTo>
                    <a:lnTo>
                      <a:pt x="271439" y="504041"/>
                    </a:lnTo>
                    <a:lnTo>
                      <a:pt x="271439" y="496659"/>
                    </a:lnTo>
                    <a:lnTo>
                      <a:pt x="275125" y="496659"/>
                    </a:lnTo>
                    <a:lnTo>
                      <a:pt x="278821" y="492973"/>
                    </a:lnTo>
                    <a:lnTo>
                      <a:pt x="286193" y="492973"/>
                    </a:lnTo>
                    <a:lnTo>
                      <a:pt x="289889" y="492973"/>
                    </a:lnTo>
                    <a:lnTo>
                      <a:pt x="293575" y="489277"/>
                    </a:lnTo>
                    <a:lnTo>
                      <a:pt x="293575" y="492973"/>
                    </a:lnTo>
                    <a:lnTo>
                      <a:pt x="297261" y="492973"/>
                    </a:lnTo>
                    <a:lnTo>
                      <a:pt x="300957" y="492973"/>
                    </a:lnTo>
                    <a:lnTo>
                      <a:pt x="308329" y="492973"/>
                    </a:lnTo>
                    <a:lnTo>
                      <a:pt x="312025" y="492973"/>
                    </a:lnTo>
                    <a:lnTo>
                      <a:pt x="312025" y="496659"/>
                    </a:lnTo>
                    <a:lnTo>
                      <a:pt x="312025" y="500355"/>
                    </a:lnTo>
                    <a:lnTo>
                      <a:pt x="315711" y="507737"/>
                    </a:lnTo>
                    <a:lnTo>
                      <a:pt x="326779" y="515109"/>
                    </a:lnTo>
                    <a:lnTo>
                      <a:pt x="326779" y="522491"/>
                    </a:lnTo>
                    <a:lnTo>
                      <a:pt x="330465" y="522491"/>
                    </a:lnTo>
                    <a:lnTo>
                      <a:pt x="330465" y="526187"/>
                    </a:lnTo>
                    <a:lnTo>
                      <a:pt x="337847" y="526187"/>
                    </a:lnTo>
                    <a:lnTo>
                      <a:pt x="337847" y="533569"/>
                    </a:lnTo>
                    <a:lnTo>
                      <a:pt x="341533" y="537255"/>
                    </a:lnTo>
                    <a:lnTo>
                      <a:pt x="341533" y="540951"/>
                    </a:lnTo>
                    <a:lnTo>
                      <a:pt x="345219" y="540951"/>
                    </a:lnTo>
                    <a:lnTo>
                      <a:pt x="348915" y="544637"/>
                    </a:lnTo>
                    <a:lnTo>
                      <a:pt x="356287" y="540951"/>
                    </a:lnTo>
                    <a:lnTo>
                      <a:pt x="359983" y="540951"/>
                    </a:lnTo>
                    <a:lnTo>
                      <a:pt x="378424" y="544637"/>
                    </a:lnTo>
                    <a:lnTo>
                      <a:pt x="393187" y="540951"/>
                    </a:lnTo>
                    <a:lnTo>
                      <a:pt x="396873" y="540951"/>
                    </a:lnTo>
                    <a:lnTo>
                      <a:pt x="404255" y="544637"/>
                    </a:lnTo>
                    <a:lnTo>
                      <a:pt x="400560" y="548332"/>
                    </a:lnTo>
                    <a:lnTo>
                      <a:pt x="404255" y="552019"/>
                    </a:lnTo>
                    <a:lnTo>
                      <a:pt x="407942" y="555714"/>
                    </a:lnTo>
                    <a:lnTo>
                      <a:pt x="407942" y="552019"/>
                    </a:lnTo>
                    <a:lnTo>
                      <a:pt x="411628" y="548332"/>
                    </a:lnTo>
                    <a:lnTo>
                      <a:pt x="415314" y="544637"/>
                    </a:lnTo>
                    <a:lnTo>
                      <a:pt x="419010" y="548332"/>
                    </a:lnTo>
                    <a:lnTo>
                      <a:pt x="419010" y="552019"/>
                    </a:lnTo>
                    <a:lnTo>
                      <a:pt x="422696" y="544637"/>
                    </a:lnTo>
                    <a:lnTo>
                      <a:pt x="426382" y="544637"/>
                    </a:lnTo>
                    <a:lnTo>
                      <a:pt x="437450" y="552019"/>
                    </a:lnTo>
                    <a:lnTo>
                      <a:pt x="437450" y="555714"/>
                    </a:lnTo>
                    <a:lnTo>
                      <a:pt x="437450" y="559400"/>
                    </a:lnTo>
                    <a:lnTo>
                      <a:pt x="437450" y="570468"/>
                    </a:lnTo>
                    <a:lnTo>
                      <a:pt x="430078" y="581546"/>
                    </a:lnTo>
                    <a:lnTo>
                      <a:pt x="437450" y="581546"/>
                    </a:lnTo>
                    <a:lnTo>
                      <a:pt x="441146" y="581546"/>
                    </a:lnTo>
                    <a:lnTo>
                      <a:pt x="448518" y="585232"/>
                    </a:lnTo>
                    <a:lnTo>
                      <a:pt x="455900" y="588928"/>
                    </a:lnTo>
                    <a:lnTo>
                      <a:pt x="459586" y="588928"/>
                    </a:lnTo>
                    <a:lnTo>
                      <a:pt x="481722" y="588928"/>
                    </a:lnTo>
                    <a:lnTo>
                      <a:pt x="511240" y="588928"/>
                    </a:lnTo>
                    <a:lnTo>
                      <a:pt x="522308" y="588928"/>
                    </a:lnTo>
                    <a:lnTo>
                      <a:pt x="525994" y="585232"/>
                    </a:lnTo>
                    <a:lnTo>
                      <a:pt x="529680" y="581546"/>
                    </a:lnTo>
                    <a:lnTo>
                      <a:pt x="533376" y="577850"/>
                    </a:lnTo>
                    <a:lnTo>
                      <a:pt x="533376" y="574164"/>
                    </a:lnTo>
                    <a:lnTo>
                      <a:pt x="537062" y="555714"/>
                    </a:lnTo>
                    <a:lnTo>
                      <a:pt x="540749" y="555714"/>
                    </a:lnTo>
                    <a:lnTo>
                      <a:pt x="540749" y="552019"/>
                    </a:lnTo>
                    <a:lnTo>
                      <a:pt x="551817" y="544637"/>
                    </a:lnTo>
                    <a:lnTo>
                      <a:pt x="551817" y="540951"/>
                    </a:lnTo>
                    <a:lnTo>
                      <a:pt x="562885" y="537255"/>
                    </a:lnTo>
                    <a:lnTo>
                      <a:pt x="573953" y="537255"/>
                    </a:lnTo>
                    <a:lnTo>
                      <a:pt x="577639" y="529873"/>
                    </a:lnTo>
                    <a:lnTo>
                      <a:pt x="577639" y="526187"/>
                    </a:lnTo>
                    <a:lnTo>
                      <a:pt x="581335" y="522491"/>
                    </a:lnTo>
                    <a:lnTo>
                      <a:pt x="581335" y="518805"/>
                    </a:lnTo>
                    <a:lnTo>
                      <a:pt x="585021" y="515109"/>
                    </a:lnTo>
                    <a:lnTo>
                      <a:pt x="585021" y="511423"/>
                    </a:lnTo>
                    <a:lnTo>
                      <a:pt x="585021" y="507737"/>
                    </a:lnTo>
                    <a:lnTo>
                      <a:pt x="585021" y="504041"/>
                    </a:lnTo>
                    <a:lnTo>
                      <a:pt x="588707" y="500355"/>
                    </a:lnTo>
                    <a:lnTo>
                      <a:pt x="596089" y="496659"/>
                    </a:lnTo>
                    <a:lnTo>
                      <a:pt x="599775" y="500355"/>
                    </a:lnTo>
                    <a:lnTo>
                      <a:pt x="603471" y="500355"/>
                    </a:lnTo>
                    <a:lnTo>
                      <a:pt x="607157" y="500355"/>
                    </a:lnTo>
                    <a:lnTo>
                      <a:pt x="614539" y="500355"/>
                    </a:lnTo>
                    <a:lnTo>
                      <a:pt x="625597" y="492973"/>
                    </a:lnTo>
                    <a:lnTo>
                      <a:pt x="625597" y="489277"/>
                    </a:lnTo>
                    <a:lnTo>
                      <a:pt x="614539" y="474514"/>
                    </a:lnTo>
                    <a:lnTo>
                      <a:pt x="610843" y="470827"/>
                    </a:lnTo>
                    <a:lnTo>
                      <a:pt x="610843" y="463446"/>
                    </a:lnTo>
                    <a:lnTo>
                      <a:pt x="607157" y="463446"/>
                    </a:lnTo>
                    <a:lnTo>
                      <a:pt x="607157" y="459759"/>
                    </a:lnTo>
                    <a:lnTo>
                      <a:pt x="607157" y="456064"/>
                    </a:lnTo>
                    <a:lnTo>
                      <a:pt x="607157" y="452377"/>
                    </a:lnTo>
                    <a:lnTo>
                      <a:pt x="607157" y="448682"/>
                    </a:lnTo>
                    <a:lnTo>
                      <a:pt x="610843" y="437614"/>
                    </a:lnTo>
                    <a:lnTo>
                      <a:pt x="610843" y="433918"/>
                    </a:lnTo>
                    <a:lnTo>
                      <a:pt x="614539" y="433918"/>
                    </a:lnTo>
                    <a:lnTo>
                      <a:pt x="614539" y="430232"/>
                    </a:lnTo>
                    <a:lnTo>
                      <a:pt x="618225" y="430232"/>
                    </a:lnTo>
                    <a:lnTo>
                      <a:pt x="618225" y="426536"/>
                    </a:lnTo>
                    <a:lnTo>
                      <a:pt x="618225" y="422850"/>
                    </a:lnTo>
                    <a:lnTo>
                      <a:pt x="621911" y="415468"/>
                    </a:lnTo>
                    <a:lnTo>
                      <a:pt x="621911" y="411782"/>
                    </a:lnTo>
                    <a:lnTo>
                      <a:pt x="629293" y="400704"/>
                    </a:lnTo>
                    <a:lnTo>
                      <a:pt x="629293" y="382253"/>
                    </a:lnTo>
                    <a:lnTo>
                      <a:pt x="621911" y="367491"/>
                    </a:lnTo>
                    <a:lnTo>
                      <a:pt x="621911" y="363801"/>
                    </a:lnTo>
                    <a:lnTo>
                      <a:pt x="621911" y="360110"/>
                    </a:lnTo>
                    <a:lnTo>
                      <a:pt x="618225" y="360110"/>
                    </a:lnTo>
                    <a:lnTo>
                      <a:pt x="614539" y="360110"/>
                    </a:lnTo>
                    <a:lnTo>
                      <a:pt x="610843" y="360110"/>
                    </a:lnTo>
                    <a:lnTo>
                      <a:pt x="607157" y="352729"/>
                    </a:lnTo>
                    <a:lnTo>
                      <a:pt x="603471" y="345348"/>
                    </a:lnTo>
                    <a:lnTo>
                      <a:pt x="596089" y="337967"/>
                    </a:lnTo>
                    <a:lnTo>
                      <a:pt x="596089" y="334276"/>
                    </a:lnTo>
                    <a:lnTo>
                      <a:pt x="592403" y="326895"/>
                    </a:lnTo>
                    <a:lnTo>
                      <a:pt x="592403" y="319514"/>
                    </a:lnTo>
                    <a:lnTo>
                      <a:pt x="588707" y="312132"/>
                    </a:lnTo>
                    <a:lnTo>
                      <a:pt x="588707" y="308442"/>
                    </a:lnTo>
                    <a:lnTo>
                      <a:pt x="585021" y="308442"/>
                    </a:lnTo>
                    <a:lnTo>
                      <a:pt x="581335" y="308442"/>
                    </a:lnTo>
                    <a:lnTo>
                      <a:pt x="577639" y="315823"/>
                    </a:lnTo>
                    <a:lnTo>
                      <a:pt x="573953" y="326895"/>
                    </a:lnTo>
                    <a:lnTo>
                      <a:pt x="566571" y="330585"/>
                    </a:lnTo>
                    <a:lnTo>
                      <a:pt x="566571" y="334276"/>
                    </a:lnTo>
                    <a:lnTo>
                      <a:pt x="562885" y="334276"/>
                    </a:lnTo>
                    <a:lnTo>
                      <a:pt x="544444" y="330585"/>
                    </a:lnTo>
                    <a:lnTo>
                      <a:pt x="537062" y="326895"/>
                    </a:lnTo>
                    <a:lnTo>
                      <a:pt x="525994" y="323204"/>
                    </a:lnTo>
                    <a:lnTo>
                      <a:pt x="518612" y="323204"/>
                    </a:lnTo>
                    <a:lnTo>
                      <a:pt x="522308" y="315823"/>
                    </a:lnTo>
                    <a:lnTo>
                      <a:pt x="514926" y="315823"/>
                    </a:lnTo>
                    <a:lnTo>
                      <a:pt x="503858" y="315823"/>
                    </a:lnTo>
                    <a:lnTo>
                      <a:pt x="481722" y="315823"/>
                    </a:lnTo>
                    <a:lnTo>
                      <a:pt x="474350" y="315823"/>
                    </a:lnTo>
                    <a:lnTo>
                      <a:pt x="470654" y="312132"/>
                    </a:lnTo>
                    <a:lnTo>
                      <a:pt x="455900" y="304751"/>
                    </a:lnTo>
                    <a:lnTo>
                      <a:pt x="452214" y="301060"/>
                    </a:lnTo>
                    <a:lnTo>
                      <a:pt x="444832" y="297371"/>
                    </a:lnTo>
                    <a:lnTo>
                      <a:pt x="448518" y="267846"/>
                    </a:lnTo>
                    <a:lnTo>
                      <a:pt x="441146" y="256774"/>
                    </a:lnTo>
                    <a:lnTo>
                      <a:pt x="433764" y="242012"/>
                    </a:lnTo>
                    <a:lnTo>
                      <a:pt x="437450" y="242012"/>
                    </a:lnTo>
                    <a:lnTo>
                      <a:pt x="444832" y="245702"/>
                    </a:lnTo>
                    <a:lnTo>
                      <a:pt x="452214" y="245702"/>
                    </a:lnTo>
                    <a:lnTo>
                      <a:pt x="455900" y="234630"/>
                    </a:lnTo>
                    <a:lnTo>
                      <a:pt x="463282" y="234630"/>
                    </a:lnTo>
                    <a:lnTo>
                      <a:pt x="470654" y="238321"/>
                    </a:lnTo>
                    <a:lnTo>
                      <a:pt x="474350" y="234630"/>
                    </a:lnTo>
                    <a:lnTo>
                      <a:pt x="452214" y="216178"/>
                    </a:lnTo>
                    <a:lnTo>
                      <a:pt x="452214" y="208797"/>
                    </a:lnTo>
                    <a:lnTo>
                      <a:pt x="455900" y="194035"/>
                    </a:lnTo>
                    <a:lnTo>
                      <a:pt x="455900" y="190344"/>
                    </a:lnTo>
                    <a:lnTo>
                      <a:pt x="452214" y="186653"/>
                    </a:lnTo>
                    <a:lnTo>
                      <a:pt x="448518" y="182963"/>
                    </a:lnTo>
                    <a:lnTo>
                      <a:pt x="444832" y="182963"/>
                    </a:lnTo>
                    <a:lnTo>
                      <a:pt x="444832" y="179272"/>
                    </a:lnTo>
                    <a:lnTo>
                      <a:pt x="444832" y="175582"/>
                    </a:lnTo>
                    <a:lnTo>
                      <a:pt x="444832" y="171891"/>
                    </a:lnTo>
                    <a:lnTo>
                      <a:pt x="448518" y="168200"/>
                    </a:lnTo>
                    <a:lnTo>
                      <a:pt x="444832" y="164510"/>
                    </a:lnTo>
                    <a:lnTo>
                      <a:pt x="437450" y="164510"/>
                    </a:lnTo>
                    <a:lnTo>
                      <a:pt x="422696" y="157129"/>
                    </a:lnTo>
                    <a:lnTo>
                      <a:pt x="415314" y="153438"/>
                    </a:lnTo>
                    <a:lnTo>
                      <a:pt x="407942" y="149747"/>
                    </a:lnTo>
                    <a:lnTo>
                      <a:pt x="400560" y="146057"/>
                    </a:lnTo>
                    <a:lnTo>
                      <a:pt x="400560" y="149747"/>
                    </a:lnTo>
                    <a:lnTo>
                      <a:pt x="396873" y="149747"/>
                    </a:lnTo>
                    <a:lnTo>
                      <a:pt x="385805" y="153438"/>
                    </a:lnTo>
                    <a:lnTo>
                      <a:pt x="371051" y="153438"/>
                    </a:lnTo>
                    <a:lnTo>
                      <a:pt x="367355" y="157129"/>
                    </a:lnTo>
                    <a:lnTo>
                      <a:pt x="359983" y="164510"/>
                    </a:lnTo>
                    <a:lnTo>
                      <a:pt x="352601" y="171891"/>
                    </a:lnTo>
                    <a:lnTo>
                      <a:pt x="356287" y="194035"/>
                    </a:lnTo>
                    <a:lnTo>
                      <a:pt x="356287" y="197725"/>
                    </a:lnTo>
                    <a:lnTo>
                      <a:pt x="352601" y="197725"/>
                    </a:lnTo>
                    <a:lnTo>
                      <a:pt x="348915" y="194035"/>
                    </a:lnTo>
                    <a:lnTo>
                      <a:pt x="345219" y="194035"/>
                    </a:lnTo>
                    <a:lnTo>
                      <a:pt x="337847" y="194035"/>
                    </a:lnTo>
                    <a:lnTo>
                      <a:pt x="334161" y="190344"/>
                    </a:lnTo>
                    <a:lnTo>
                      <a:pt x="330465" y="186653"/>
                    </a:lnTo>
                    <a:lnTo>
                      <a:pt x="330465" y="190344"/>
                    </a:lnTo>
                    <a:lnTo>
                      <a:pt x="326779" y="194035"/>
                    </a:lnTo>
                    <a:lnTo>
                      <a:pt x="323093" y="197725"/>
                    </a:lnTo>
                    <a:lnTo>
                      <a:pt x="319397" y="194035"/>
                    </a:lnTo>
                    <a:lnTo>
                      <a:pt x="315711" y="194035"/>
                    </a:lnTo>
                    <a:lnTo>
                      <a:pt x="315711" y="190344"/>
                    </a:lnTo>
                    <a:lnTo>
                      <a:pt x="315711" y="186653"/>
                    </a:lnTo>
                    <a:lnTo>
                      <a:pt x="312025" y="186653"/>
                    </a:lnTo>
                    <a:lnTo>
                      <a:pt x="308329" y="190344"/>
                    </a:lnTo>
                    <a:lnTo>
                      <a:pt x="308329" y="194035"/>
                    </a:lnTo>
                    <a:lnTo>
                      <a:pt x="304643" y="194035"/>
                    </a:lnTo>
                    <a:lnTo>
                      <a:pt x="304643" y="190344"/>
                    </a:lnTo>
                    <a:lnTo>
                      <a:pt x="300957" y="190344"/>
                    </a:lnTo>
                    <a:lnTo>
                      <a:pt x="300957" y="194035"/>
                    </a:lnTo>
                    <a:lnTo>
                      <a:pt x="297261" y="194035"/>
                    </a:lnTo>
                    <a:lnTo>
                      <a:pt x="293575" y="194035"/>
                    </a:lnTo>
                    <a:lnTo>
                      <a:pt x="293575" y="197725"/>
                    </a:lnTo>
                    <a:lnTo>
                      <a:pt x="289889" y="197725"/>
                    </a:lnTo>
                    <a:lnTo>
                      <a:pt x="286193" y="194035"/>
                    </a:lnTo>
                    <a:lnTo>
                      <a:pt x="286193" y="186653"/>
                    </a:lnTo>
                    <a:lnTo>
                      <a:pt x="282507" y="182963"/>
                    </a:lnTo>
                    <a:lnTo>
                      <a:pt x="282507" y="179272"/>
                    </a:lnTo>
                    <a:lnTo>
                      <a:pt x="278821" y="179272"/>
                    </a:lnTo>
                    <a:lnTo>
                      <a:pt x="278821" y="175582"/>
                    </a:lnTo>
                    <a:lnTo>
                      <a:pt x="278821" y="171891"/>
                    </a:lnTo>
                    <a:lnTo>
                      <a:pt x="275125" y="171891"/>
                    </a:lnTo>
                    <a:lnTo>
                      <a:pt x="271439" y="168200"/>
                    </a:lnTo>
                    <a:lnTo>
                      <a:pt x="267753" y="168200"/>
                    </a:lnTo>
                    <a:lnTo>
                      <a:pt x="264066" y="164510"/>
                    </a:lnTo>
                    <a:lnTo>
                      <a:pt x="264066" y="160819"/>
                    </a:lnTo>
                    <a:lnTo>
                      <a:pt x="260371" y="160819"/>
                    </a:lnTo>
                    <a:lnTo>
                      <a:pt x="260371" y="157129"/>
                    </a:lnTo>
                    <a:lnTo>
                      <a:pt x="264066" y="157129"/>
                    </a:lnTo>
                    <a:lnTo>
                      <a:pt x="264066" y="153438"/>
                    </a:lnTo>
                    <a:lnTo>
                      <a:pt x="260371" y="153438"/>
                    </a:lnTo>
                    <a:lnTo>
                      <a:pt x="256684" y="153438"/>
                    </a:lnTo>
                    <a:lnTo>
                      <a:pt x="252998" y="157129"/>
                    </a:lnTo>
                    <a:lnTo>
                      <a:pt x="249303" y="157129"/>
                    </a:lnTo>
                    <a:lnTo>
                      <a:pt x="245616" y="157129"/>
                    </a:lnTo>
                    <a:lnTo>
                      <a:pt x="241930" y="157129"/>
                    </a:lnTo>
                    <a:lnTo>
                      <a:pt x="241930" y="153438"/>
                    </a:lnTo>
                    <a:lnTo>
                      <a:pt x="238235" y="153438"/>
                    </a:lnTo>
                    <a:lnTo>
                      <a:pt x="238235" y="157129"/>
                    </a:lnTo>
                    <a:lnTo>
                      <a:pt x="234548" y="157129"/>
                    </a:lnTo>
                    <a:lnTo>
                      <a:pt x="230862" y="157129"/>
                    </a:lnTo>
                    <a:lnTo>
                      <a:pt x="230862" y="153438"/>
                    </a:lnTo>
                    <a:lnTo>
                      <a:pt x="227166" y="153438"/>
                    </a:lnTo>
                    <a:lnTo>
                      <a:pt x="223480" y="149747"/>
                    </a:lnTo>
                    <a:lnTo>
                      <a:pt x="223480" y="146057"/>
                    </a:lnTo>
                    <a:lnTo>
                      <a:pt x="219794" y="146057"/>
                    </a:lnTo>
                    <a:lnTo>
                      <a:pt x="216098" y="146057"/>
                    </a:lnTo>
                    <a:lnTo>
                      <a:pt x="212412" y="146057"/>
                    </a:lnTo>
                    <a:lnTo>
                      <a:pt x="212412" y="142366"/>
                    </a:lnTo>
                    <a:lnTo>
                      <a:pt x="208726" y="142366"/>
                    </a:lnTo>
                    <a:lnTo>
                      <a:pt x="205030" y="142366"/>
                    </a:lnTo>
                    <a:lnTo>
                      <a:pt x="201344" y="142366"/>
                    </a:lnTo>
                    <a:lnTo>
                      <a:pt x="197658" y="146057"/>
                    </a:lnTo>
                    <a:lnTo>
                      <a:pt x="197658" y="149747"/>
                    </a:lnTo>
                    <a:lnTo>
                      <a:pt x="193962" y="146057"/>
                    </a:lnTo>
                    <a:lnTo>
                      <a:pt x="193962" y="142366"/>
                    </a:lnTo>
                    <a:lnTo>
                      <a:pt x="190276" y="146057"/>
                    </a:lnTo>
                    <a:lnTo>
                      <a:pt x="193962" y="149747"/>
                    </a:lnTo>
                    <a:lnTo>
                      <a:pt x="182904" y="146057"/>
                    </a:lnTo>
                    <a:lnTo>
                      <a:pt x="186590" y="142366"/>
                    </a:lnTo>
                    <a:lnTo>
                      <a:pt x="186590" y="138675"/>
                    </a:lnTo>
                    <a:lnTo>
                      <a:pt x="179208" y="134985"/>
                    </a:lnTo>
                    <a:lnTo>
                      <a:pt x="179208" y="131295"/>
                    </a:lnTo>
                    <a:lnTo>
                      <a:pt x="171836" y="120223"/>
                    </a:lnTo>
                    <a:lnTo>
                      <a:pt x="171836" y="116533"/>
                    </a:lnTo>
                    <a:lnTo>
                      <a:pt x="171836" y="112842"/>
                    </a:lnTo>
                    <a:lnTo>
                      <a:pt x="168140" y="105461"/>
                    </a:lnTo>
                    <a:lnTo>
                      <a:pt x="164454" y="98080"/>
                    </a:lnTo>
                    <a:lnTo>
                      <a:pt x="160768" y="90698"/>
                    </a:lnTo>
                    <a:lnTo>
                      <a:pt x="160768" y="87008"/>
                    </a:lnTo>
                    <a:lnTo>
                      <a:pt x="164454" y="87008"/>
                    </a:lnTo>
                    <a:lnTo>
                      <a:pt x="168140" y="83317"/>
                    </a:lnTo>
                    <a:lnTo>
                      <a:pt x="179208" y="79627"/>
                    </a:lnTo>
                    <a:lnTo>
                      <a:pt x="182904" y="75936"/>
                    </a:lnTo>
                    <a:lnTo>
                      <a:pt x="186590" y="75936"/>
                    </a:lnTo>
                    <a:lnTo>
                      <a:pt x="186590" y="72246"/>
                    </a:lnTo>
                    <a:lnTo>
                      <a:pt x="193962" y="64864"/>
                    </a:lnTo>
                    <a:lnTo>
                      <a:pt x="197658" y="61174"/>
                    </a:lnTo>
                    <a:lnTo>
                      <a:pt x="201344" y="53792"/>
                    </a:lnTo>
                    <a:lnTo>
                      <a:pt x="197658" y="53792"/>
                    </a:lnTo>
                    <a:lnTo>
                      <a:pt x="193962" y="46412"/>
                    </a:lnTo>
                    <a:lnTo>
                      <a:pt x="190276" y="42722"/>
                    </a:lnTo>
                    <a:lnTo>
                      <a:pt x="186590" y="39031"/>
                    </a:lnTo>
                    <a:lnTo>
                      <a:pt x="179208" y="31650"/>
                    </a:lnTo>
                    <a:lnTo>
                      <a:pt x="175522" y="27959"/>
                    </a:lnTo>
                    <a:lnTo>
                      <a:pt x="164454" y="16887"/>
                    </a:lnTo>
                    <a:lnTo>
                      <a:pt x="164454" y="13197"/>
                    </a:lnTo>
                    <a:lnTo>
                      <a:pt x="160768" y="5815"/>
                    </a:lnTo>
                    <a:close/>
                    <a:moveTo>
                      <a:pt x="186590" y="507737"/>
                    </a:moveTo>
                    <a:lnTo>
                      <a:pt x="186590" y="511423"/>
                    </a:lnTo>
                    <a:lnTo>
                      <a:pt x="186590" y="515109"/>
                    </a:lnTo>
                    <a:lnTo>
                      <a:pt x="190276" y="511423"/>
                    </a:lnTo>
                    <a:lnTo>
                      <a:pt x="186590" y="507737"/>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37" name="Freeform: Shape 36">
                <a:extLst>
                  <a:ext uri="{FF2B5EF4-FFF2-40B4-BE49-F238E27FC236}">
                    <a16:creationId xmlns:a16="http://schemas.microsoft.com/office/drawing/2014/main" id="{B94CA4FA-B1F7-417B-A6C5-5C844914102E}"/>
                  </a:ext>
                </a:extLst>
              </p:cNvPr>
              <p:cNvSpPr/>
              <p:nvPr/>
            </p:nvSpPr>
            <p:spPr>
              <a:xfrm>
                <a:off x="5401604" y="3035721"/>
                <a:ext cx="2042957" cy="1425814"/>
              </a:xfrm>
              <a:custGeom>
                <a:avLst/>
                <a:gdLst>
                  <a:gd name="connsiteX0" fmla="*/ 437447 w 914400"/>
                  <a:gd name="connsiteY0" fmla="*/ 5812 h 638175"/>
                  <a:gd name="connsiteX1" fmla="*/ 430065 w 914400"/>
                  <a:gd name="connsiteY1" fmla="*/ 9502 h 638175"/>
                  <a:gd name="connsiteX2" fmla="*/ 430065 w 914400"/>
                  <a:gd name="connsiteY2" fmla="*/ 13193 h 638175"/>
                  <a:gd name="connsiteX3" fmla="*/ 426379 w 914400"/>
                  <a:gd name="connsiteY3" fmla="*/ 24264 h 638175"/>
                  <a:gd name="connsiteX4" fmla="*/ 422693 w 914400"/>
                  <a:gd name="connsiteY4" fmla="*/ 31645 h 638175"/>
                  <a:gd name="connsiteX5" fmla="*/ 422693 w 914400"/>
                  <a:gd name="connsiteY5" fmla="*/ 35335 h 638175"/>
                  <a:gd name="connsiteX6" fmla="*/ 422693 w 914400"/>
                  <a:gd name="connsiteY6" fmla="*/ 39026 h 638175"/>
                  <a:gd name="connsiteX7" fmla="*/ 418998 w 914400"/>
                  <a:gd name="connsiteY7" fmla="*/ 46407 h 638175"/>
                  <a:gd name="connsiteX8" fmla="*/ 418998 w 914400"/>
                  <a:gd name="connsiteY8" fmla="*/ 50098 h 638175"/>
                  <a:gd name="connsiteX9" fmla="*/ 418998 w 914400"/>
                  <a:gd name="connsiteY9" fmla="*/ 53789 h 638175"/>
                  <a:gd name="connsiteX10" fmla="*/ 415311 w 914400"/>
                  <a:gd name="connsiteY10" fmla="*/ 50098 h 638175"/>
                  <a:gd name="connsiteX11" fmla="*/ 415311 w 914400"/>
                  <a:gd name="connsiteY11" fmla="*/ 57479 h 638175"/>
                  <a:gd name="connsiteX12" fmla="*/ 411625 w 914400"/>
                  <a:gd name="connsiteY12" fmla="*/ 57479 h 638175"/>
                  <a:gd name="connsiteX13" fmla="*/ 411625 w 914400"/>
                  <a:gd name="connsiteY13" fmla="*/ 53789 h 638175"/>
                  <a:gd name="connsiteX14" fmla="*/ 411625 w 914400"/>
                  <a:gd name="connsiteY14" fmla="*/ 50098 h 638175"/>
                  <a:gd name="connsiteX15" fmla="*/ 407929 w 914400"/>
                  <a:gd name="connsiteY15" fmla="*/ 57479 h 638175"/>
                  <a:gd name="connsiteX16" fmla="*/ 407929 w 914400"/>
                  <a:gd name="connsiteY16" fmla="*/ 61170 h 638175"/>
                  <a:gd name="connsiteX17" fmla="*/ 411625 w 914400"/>
                  <a:gd name="connsiteY17" fmla="*/ 61170 h 638175"/>
                  <a:gd name="connsiteX18" fmla="*/ 411625 w 914400"/>
                  <a:gd name="connsiteY18" fmla="*/ 64860 h 638175"/>
                  <a:gd name="connsiteX19" fmla="*/ 407929 w 914400"/>
                  <a:gd name="connsiteY19" fmla="*/ 64860 h 638175"/>
                  <a:gd name="connsiteX20" fmla="*/ 411625 w 914400"/>
                  <a:gd name="connsiteY20" fmla="*/ 68551 h 638175"/>
                  <a:gd name="connsiteX21" fmla="*/ 407929 w 914400"/>
                  <a:gd name="connsiteY21" fmla="*/ 72242 h 638175"/>
                  <a:gd name="connsiteX22" fmla="*/ 404243 w 914400"/>
                  <a:gd name="connsiteY22" fmla="*/ 75932 h 638175"/>
                  <a:gd name="connsiteX23" fmla="*/ 393175 w 914400"/>
                  <a:gd name="connsiteY23" fmla="*/ 87004 h 638175"/>
                  <a:gd name="connsiteX24" fmla="*/ 385793 w 914400"/>
                  <a:gd name="connsiteY24" fmla="*/ 94385 h 638175"/>
                  <a:gd name="connsiteX25" fmla="*/ 378421 w 914400"/>
                  <a:gd name="connsiteY25" fmla="*/ 98075 h 638175"/>
                  <a:gd name="connsiteX26" fmla="*/ 378421 w 914400"/>
                  <a:gd name="connsiteY26" fmla="*/ 101766 h 638175"/>
                  <a:gd name="connsiteX27" fmla="*/ 374725 w 914400"/>
                  <a:gd name="connsiteY27" fmla="*/ 101766 h 638175"/>
                  <a:gd name="connsiteX28" fmla="*/ 371039 w 914400"/>
                  <a:gd name="connsiteY28" fmla="*/ 105456 h 638175"/>
                  <a:gd name="connsiteX29" fmla="*/ 367353 w 914400"/>
                  <a:gd name="connsiteY29" fmla="*/ 105456 h 638175"/>
                  <a:gd name="connsiteX30" fmla="*/ 363667 w 914400"/>
                  <a:gd name="connsiteY30" fmla="*/ 109147 h 638175"/>
                  <a:gd name="connsiteX31" fmla="*/ 363667 w 914400"/>
                  <a:gd name="connsiteY31" fmla="*/ 112837 h 638175"/>
                  <a:gd name="connsiteX32" fmla="*/ 359971 w 914400"/>
                  <a:gd name="connsiteY32" fmla="*/ 112837 h 638175"/>
                  <a:gd name="connsiteX33" fmla="*/ 359971 w 914400"/>
                  <a:gd name="connsiteY33" fmla="*/ 116528 h 638175"/>
                  <a:gd name="connsiteX34" fmla="*/ 356285 w 914400"/>
                  <a:gd name="connsiteY34" fmla="*/ 116528 h 638175"/>
                  <a:gd name="connsiteX35" fmla="*/ 352599 w 914400"/>
                  <a:gd name="connsiteY35" fmla="*/ 116528 h 638175"/>
                  <a:gd name="connsiteX36" fmla="*/ 345217 w 914400"/>
                  <a:gd name="connsiteY36" fmla="*/ 120218 h 638175"/>
                  <a:gd name="connsiteX37" fmla="*/ 341531 w 914400"/>
                  <a:gd name="connsiteY37" fmla="*/ 123909 h 638175"/>
                  <a:gd name="connsiteX38" fmla="*/ 337835 w 914400"/>
                  <a:gd name="connsiteY38" fmla="*/ 123909 h 638175"/>
                  <a:gd name="connsiteX39" fmla="*/ 334149 w 914400"/>
                  <a:gd name="connsiteY39" fmla="*/ 127597 h 638175"/>
                  <a:gd name="connsiteX40" fmla="*/ 326767 w 914400"/>
                  <a:gd name="connsiteY40" fmla="*/ 131293 h 638175"/>
                  <a:gd name="connsiteX41" fmla="*/ 323081 w 914400"/>
                  <a:gd name="connsiteY41" fmla="*/ 131293 h 638175"/>
                  <a:gd name="connsiteX42" fmla="*/ 319395 w 914400"/>
                  <a:gd name="connsiteY42" fmla="*/ 134979 h 638175"/>
                  <a:gd name="connsiteX43" fmla="*/ 315699 w 914400"/>
                  <a:gd name="connsiteY43" fmla="*/ 138675 h 638175"/>
                  <a:gd name="connsiteX44" fmla="*/ 315699 w 914400"/>
                  <a:gd name="connsiteY44" fmla="*/ 142361 h 638175"/>
                  <a:gd name="connsiteX45" fmla="*/ 312013 w 914400"/>
                  <a:gd name="connsiteY45" fmla="*/ 142361 h 638175"/>
                  <a:gd name="connsiteX46" fmla="*/ 308326 w 914400"/>
                  <a:gd name="connsiteY46" fmla="*/ 142361 h 638175"/>
                  <a:gd name="connsiteX47" fmla="*/ 308326 w 914400"/>
                  <a:gd name="connsiteY47" fmla="*/ 146057 h 638175"/>
                  <a:gd name="connsiteX48" fmla="*/ 308326 w 914400"/>
                  <a:gd name="connsiteY48" fmla="*/ 149743 h 638175"/>
                  <a:gd name="connsiteX49" fmla="*/ 304631 w 914400"/>
                  <a:gd name="connsiteY49" fmla="*/ 149743 h 638175"/>
                  <a:gd name="connsiteX50" fmla="*/ 304631 w 914400"/>
                  <a:gd name="connsiteY50" fmla="*/ 153439 h 638175"/>
                  <a:gd name="connsiteX51" fmla="*/ 300945 w 914400"/>
                  <a:gd name="connsiteY51" fmla="*/ 153439 h 638175"/>
                  <a:gd name="connsiteX52" fmla="*/ 300945 w 914400"/>
                  <a:gd name="connsiteY52" fmla="*/ 157125 h 638175"/>
                  <a:gd name="connsiteX53" fmla="*/ 297258 w 914400"/>
                  <a:gd name="connsiteY53" fmla="*/ 157125 h 638175"/>
                  <a:gd name="connsiteX54" fmla="*/ 297258 w 914400"/>
                  <a:gd name="connsiteY54" fmla="*/ 160811 h 638175"/>
                  <a:gd name="connsiteX55" fmla="*/ 289877 w 914400"/>
                  <a:gd name="connsiteY55" fmla="*/ 164507 h 638175"/>
                  <a:gd name="connsiteX56" fmla="*/ 286190 w 914400"/>
                  <a:gd name="connsiteY56" fmla="*/ 168193 h 638175"/>
                  <a:gd name="connsiteX57" fmla="*/ 282504 w 914400"/>
                  <a:gd name="connsiteY57" fmla="*/ 171889 h 638175"/>
                  <a:gd name="connsiteX58" fmla="*/ 282504 w 914400"/>
                  <a:gd name="connsiteY58" fmla="*/ 175575 h 638175"/>
                  <a:gd name="connsiteX59" fmla="*/ 278808 w 914400"/>
                  <a:gd name="connsiteY59" fmla="*/ 182957 h 638175"/>
                  <a:gd name="connsiteX60" fmla="*/ 278808 w 914400"/>
                  <a:gd name="connsiteY60" fmla="*/ 190338 h 638175"/>
                  <a:gd name="connsiteX61" fmla="*/ 275122 w 914400"/>
                  <a:gd name="connsiteY61" fmla="*/ 197720 h 638175"/>
                  <a:gd name="connsiteX62" fmla="*/ 275122 w 914400"/>
                  <a:gd name="connsiteY62" fmla="*/ 201407 h 638175"/>
                  <a:gd name="connsiteX63" fmla="*/ 271436 w 914400"/>
                  <a:gd name="connsiteY63" fmla="*/ 208788 h 638175"/>
                  <a:gd name="connsiteX64" fmla="*/ 267740 w 914400"/>
                  <a:gd name="connsiteY64" fmla="*/ 212484 h 638175"/>
                  <a:gd name="connsiteX65" fmla="*/ 252986 w 914400"/>
                  <a:gd name="connsiteY65" fmla="*/ 212484 h 638175"/>
                  <a:gd name="connsiteX66" fmla="*/ 249300 w 914400"/>
                  <a:gd name="connsiteY66" fmla="*/ 212484 h 638175"/>
                  <a:gd name="connsiteX67" fmla="*/ 241918 w 914400"/>
                  <a:gd name="connsiteY67" fmla="*/ 219866 h 638175"/>
                  <a:gd name="connsiteX68" fmla="*/ 238232 w 914400"/>
                  <a:gd name="connsiteY68" fmla="*/ 216170 h 638175"/>
                  <a:gd name="connsiteX69" fmla="*/ 234536 w 914400"/>
                  <a:gd name="connsiteY69" fmla="*/ 219866 h 638175"/>
                  <a:gd name="connsiteX70" fmla="*/ 223478 w 914400"/>
                  <a:gd name="connsiteY70" fmla="*/ 223552 h 638175"/>
                  <a:gd name="connsiteX71" fmla="*/ 216096 w 914400"/>
                  <a:gd name="connsiteY71" fmla="*/ 223552 h 638175"/>
                  <a:gd name="connsiteX72" fmla="*/ 212410 w 914400"/>
                  <a:gd name="connsiteY72" fmla="*/ 227248 h 638175"/>
                  <a:gd name="connsiteX73" fmla="*/ 205028 w 914400"/>
                  <a:gd name="connsiteY73" fmla="*/ 227248 h 638175"/>
                  <a:gd name="connsiteX74" fmla="*/ 201342 w 914400"/>
                  <a:gd name="connsiteY74" fmla="*/ 245698 h 638175"/>
                  <a:gd name="connsiteX75" fmla="*/ 201342 w 914400"/>
                  <a:gd name="connsiteY75" fmla="*/ 249384 h 638175"/>
                  <a:gd name="connsiteX76" fmla="*/ 208714 w 914400"/>
                  <a:gd name="connsiteY76" fmla="*/ 253080 h 638175"/>
                  <a:gd name="connsiteX77" fmla="*/ 208714 w 914400"/>
                  <a:gd name="connsiteY77" fmla="*/ 249384 h 638175"/>
                  <a:gd name="connsiteX78" fmla="*/ 223478 w 914400"/>
                  <a:gd name="connsiteY78" fmla="*/ 260461 h 638175"/>
                  <a:gd name="connsiteX79" fmla="*/ 223478 w 914400"/>
                  <a:gd name="connsiteY79" fmla="*/ 264148 h 638175"/>
                  <a:gd name="connsiteX80" fmla="*/ 223478 w 914400"/>
                  <a:gd name="connsiteY80" fmla="*/ 267843 h 638175"/>
                  <a:gd name="connsiteX81" fmla="*/ 223478 w 914400"/>
                  <a:gd name="connsiteY81" fmla="*/ 271530 h 638175"/>
                  <a:gd name="connsiteX82" fmla="*/ 223478 w 914400"/>
                  <a:gd name="connsiteY82" fmla="*/ 275225 h 638175"/>
                  <a:gd name="connsiteX83" fmla="*/ 223478 w 914400"/>
                  <a:gd name="connsiteY83" fmla="*/ 286293 h 638175"/>
                  <a:gd name="connsiteX84" fmla="*/ 227164 w 914400"/>
                  <a:gd name="connsiteY84" fmla="*/ 289989 h 638175"/>
                  <a:gd name="connsiteX85" fmla="*/ 245604 w 914400"/>
                  <a:gd name="connsiteY85" fmla="*/ 289989 h 638175"/>
                  <a:gd name="connsiteX86" fmla="*/ 245604 w 914400"/>
                  <a:gd name="connsiteY86" fmla="*/ 293675 h 638175"/>
                  <a:gd name="connsiteX87" fmla="*/ 241918 w 914400"/>
                  <a:gd name="connsiteY87" fmla="*/ 293675 h 638175"/>
                  <a:gd name="connsiteX88" fmla="*/ 245604 w 914400"/>
                  <a:gd name="connsiteY88" fmla="*/ 297361 h 638175"/>
                  <a:gd name="connsiteX89" fmla="*/ 245604 w 914400"/>
                  <a:gd name="connsiteY89" fmla="*/ 301057 h 638175"/>
                  <a:gd name="connsiteX90" fmla="*/ 245604 w 914400"/>
                  <a:gd name="connsiteY90" fmla="*/ 304743 h 638175"/>
                  <a:gd name="connsiteX91" fmla="*/ 249300 w 914400"/>
                  <a:gd name="connsiteY91" fmla="*/ 304743 h 638175"/>
                  <a:gd name="connsiteX92" fmla="*/ 252986 w 914400"/>
                  <a:gd name="connsiteY92" fmla="*/ 304743 h 638175"/>
                  <a:gd name="connsiteX93" fmla="*/ 252986 w 914400"/>
                  <a:gd name="connsiteY93" fmla="*/ 312125 h 638175"/>
                  <a:gd name="connsiteX94" fmla="*/ 260368 w 914400"/>
                  <a:gd name="connsiteY94" fmla="*/ 312125 h 638175"/>
                  <a:gd name="connsiteX95" fmla="*/ 260368 w 914400"/>
                  <a:gd name="connsiteY95" fmla="*/ 315821 h 638175"/>
                  <a:gd name="connsiteX96" fmla="*/ 260368 w 914400"/>
                  <a:gd name="connsiteY96" fmla="*/ 319507 h 638175"/>
                  <a:gd name="connsiteX97" fmla="*/ 252986 w 914400"/>
                  <a:gd name="connsiteY97" fmla="*/ 319507 h 638175"/>
                  <a:gd name="connsiteX98" fmla="*/ 252986 w 914400"/>
                  <a:gd name="connsiteY98" fmla="*/ 323203 h 638175"/>
                  <a:gd name="connsiteX99" fmla="*/ 252986 w 914400"/>
                  <a:gd name="connsiteY99" fmla="*/ 326889 h 638175"/>
                  <a:gd name="connsiteX100" fmla="*/ 256672 w 914400"/>
                  <a:gd name="connsiteY100" fmla="*/ 326889 h 638175"/>
                  <a:gd name="connsiteX101" fmla="*/ 256672 w 914400"/>
                  <a:gd name="connsiteY101" fmla="*/ 330585 h 638175"/>
                  <a:gd name="connsiteX102" fmla="*/ 252986 w 914400"/>
                  <a:gd name="connsiteY102" fmla="*/ 330585 h 638175"/>
                  <a:gd name="connsiteX103" fmla="*/ 249300 w 914400"/>
                  <a:gd name="connsiteY103" fmla="*/ 330585 h 638175"/>
                  <a:gd name="connsiteX104" fmla="*/ 249300 w 914400"/>
                  <a:gd name="connsiteY104" fmla="*/ 334271 h 638175"/>
                  <a:gd name="connsiteX105" fmla="*/ 245604 w 914400"/>
                  <a:gd name="connsiteY105" fmla="*/ 337966 h 638175"/>
                  <a:gd name="connsiteX106" fmla="*/ 245604 w 914400"/>
                  <a:gd name="connsiteY106" fmla="*/ 345339 h 638175"/>
                  <a:gd name="connsiteX107" fmla="*/ 245604 w 914400"/>
                  <a:gd name="connsiteY107" fmla="*/ 349035 h 638175"/>
                  <a:gd name="connsiteX108" fmla="*/ 241918 w 914400"/>
                  <a:gd name="connsiteY108" fmla="*/ 352721 h 638175"/>
                  <a:gd name="connsiteX109" fmla="*/ 238232 w 914400"/>
                  <a:gd name="connsiteY109" fmla="*/ 356416 h 638175"/>
                  <a:gd name="connsiteX110" fmla="*/ 234536 w 914400"/>
                  <a:gd name="connsiteY110" fmla="*/ 356416 h 638175"/>
                  <a:gd name="connsiteX111" fmla="*/ 234536 w 914400"/>
                  <a:gd name="connsiteY111" fmla="*/ 360103 h 638175"/>
                  <a:gd name="connsiteX112" fmla="*/ 238232 w 914400"/>
                  <a:gd name="connsiteY112" fmla="*/ 363798 h 638175"/>
                  <a:gd name="connsiteX113" fmla="*/ 245604 w 914400"/>
                  <a:gd name="connsiteY113" fmla="*/ 367484 h 638175"/>
                  <a:gd name="connsiteX114" fmla="*/ 249300 w 914400"/>
                  <a:gd name="connsiteY114" fmla="*/ 367484 h 638175"/>
                  <a:gd name="connsiteX115" fmla="*/ 252986 w 914400"/>
                  <a:gd name="connsiteY115" fmla="*/ 367484 h 638175"/>
                  <a:gd name="connsiteX116" fmla="*/ 256672 w 914400"/>
                  <a:gd name="connsiteY116" fmla="*/ 363798 h 638175"/>
                  <a:gd name="connsiteX117" fmla="*/ 260368 w 914400"/>
                  <a:gd name="connsiteY117" fmla="*/ 360103 h 638175"/>
                  <a:gd name="connsiteX118" fmla="*/ 264054 w 914400"/>
                  <a:gd name="connsiteY118" fmla="*/ 360103 h 638175"/>
                  <a:gd name="connsiteX119" fmla="*/ 267740 w 914400"/>
                  <a:gd name="connsiteY119" fmla="*/ 356416 h 638175"/>
                  <a:gd name="connsiteX120" fmla="*/ 267740 w 914400"/>
                  <a:gd name="connsiteY120" fmla="*/ 352721 h 638175"/>
                  <a:gd name="connsiteX121" fmla="*/ 271436 w 914400"/>
                  <a:gd name="connsiteY121" fmla="*/ 352721 h 638175"/>
                  <a:gd name="connsiteX122" fmla="*/ 271436 w 914400"/>
                  <a:gd name="connsiteY122" fmla="*/ 349035 h 638175"/>
                  <a:gd name="connsiteX123" fmla="*/ 271436 w 914400"/>
                  <a:gd name="connsiteY123" fmla="*/ 345339 h 638175"/>
                  <a:gd name="connsiteX124" fmla="*/ 267740 w 914400"/>
                  <a:gd name="connsiteY124" fmla="*/ 341653 h 638175"/>
                  <a:gd name="connsiteX125" fmla="*/ 278808 w 914400"/>
                  <a:gd name="connsiteY125" fmla="*/ 337966 h 638175"/>
                  <a:gd name="connsiteX126" fmla="*/ 282504 w 914400"/>
                  <a:gd name="connsiteY126" fmla="*/ 345339 h 638175"/>
                  <a:gd name="connsiteX127" fmla="*/ 282504 w 914400"/>
                  <a:gd name="connsiteY127" fmla="*/ 349035 h 638175"/>
                  <a:gd name="connsiteX128" fmla="*/ 282504 w 914400"/>
                  <a:gd name="connsiteY128" fmla="*/ 352721 h 638175"/>
                  <a:gd name="connsiteX129" fmla="*/ 282504 w 914400"/>
                  <a:gd name="connsiteY129" fmla="*/ 356416 h 638175"/>
                  <a:gd name="connsiteX130" fmla="*/ 286190 w 914400"/>
                  <a:gd name="connsiteY130" fmla="*/ 360103 h 638175"/>
                  <a:gd name="connsiteX131" fmla="*/ 282504 w 914400"/>
                  <a:gd name="connsiteY131" fmla="*/ 363798 h 638175"/>
                  <a:gd name="connsiteX132" fmla="*/ 282504 w 914400"/>
                  <a:gd name="connsiteY132" fmla="*/ 367484 h 638175"/>
                  <a:gd name="connsiteX133" fmla="*/ 282504 w 914400"/>
                  <a:gd name="connsiteY133" fmla="*/ 385944 h 638175"/>
                  <a:gd name="connsiteX134" fmla="*/ 289877 w 914400"/>
                  <a:gd name="connsiteY134" fmla="*/ 385944 h 638175"/>
                  <a:gd name="connsiteX135" fmla="*/ 289877 w 914400"/>
                  <a:gd name="connsiteY135" fmla="*/ 389630 h 638175"/>
                  <a:gd name="connsiteX136" fmla="*/ 286190 w 914400"/>
                  <a:gd name="connsiteY136" fmla="*/ 389630 h 638175"/>
                  <a:gd name="connsiteX137" fmla="*/ 297258 w 914400"/>
                  <a:gd name="connsiteY137" fmla="*/ 397012 h 638175"/>
                  <a:gd name="connsiteX138" fmla="*/ 297258 w 914400"/>
                  <a:gd name="connsiteY138" fmla="*/ 408080 h 638175"/>
                  <a:gd name="connsiteX139" fmla="*/ 297258 w 914400"/>
                  <a:gd name="connsiteY139" fmla="*/ 411776 h 638175"/>
                  <a:gd name="connsiteX140" fmla="*/ 297258 w 914400"/>
                  <a:gd name="connsiteY140" fmla="*/ 415462 h 638175"/>
                  <a:gd name="connsiteX141" fmla="*/ 297258 w 914400"/>
                  <a:gd name="connsiteY141" fmla="*/ 419158 h 638175"/>
                  <a:gd name="connsiteX142" fmla="*/ 300945 w 914400"/>
                  <a:gd name="connsiteY142" fmla="*/ 422844 h 638175"/>
                  <a:gd name="connsiteX143" fmla="*/ 304631 w 914400"/>
                  <a:gd name="connsiteY143" fmla="*/ 426539 h 638175"/>
                  <a:gd name="connsiteX144" fmla="*/ 308326 w 914400"/>
                  <a:gd name="connsiteY144" fmla="*/ 426539 h 638175"/>
                  <a:gd name="connsiteX145" fmla="*/ 308326 w 914400"/>
                  <a:gd name="connsiteY145" fmla="*/ 430226 h 638175"/>
                  <a:gd name="connsiteX146" fmla="*/ 312013 w 914400"/>
                  <a:gd name="connsiteY146" fmla="*/ 437607 h 638175"/>
                  <a:gd name="connsiteX147" fmla="*/ 312013 w 914400"/>
                  <a:gd name="connsiteY147" fmla="*/ 441294 h 638175"/>
                  <a:gd name="connsiteX148" fmla="*/ 315699 w 914400"/>
                  <a:gd name="connsiteY148" fmla="*/ 444989 h 638175"/>
                  <a:gd name="connsiteX149" fmla="*/ 312013 w 914400"/>
                  <a:gd name="connsiteY149" fmla="*/ 448676 h 638175"/>
                  <a:gd name="connsiteX150" fmla="*/ 315699 w 914400"/>
                  <a:gd name="connsiteY150" fmla="*/ 452371 h 638175"/>
                  <a:gd name="connsiteX151" fmla="*/ 315699 w 914400"/>
                  <a:gd name="connsiteY151" fmla="*/ 456057 h 638175"/>
                  <a:gd name="connsiteX152" fmla="*/ 315699 w 914400"/>
                  <a:gd name="connsiteY152" fmla="*/ 459753 h 638175"/>
                  <a:gd name="connsiteX153" fmla="*/ 312013 w 914400"/>
                  <a:gd name="connsiteY153" fmla="*/ 463439 h 638175"/>
                  <a:gd name="connsiteX154" fmla="*/ 304631 w 914400"/>
                  <a:gd name="connsiteY154" fmla="*/ 467135 h 638175"/>
                  <a:gd name="connsiteX155" fmla="*/ 297258 w 914400"/>
                  <a:gd name="connsiteY155" fmla="*/ 463439 h 638175"/>
                  <a:gd name="connsiteX156" fmla="*/ 286190 w 914400"/>
                  <a:gd name="connsiteY156" fmla="*/ 459753 h 638175"/>
                  <a:gd name="connsiteX157" fmla="*/ 278808 w 914400"/>
                  <a:gd name="connsiteY157" fmla="*/ 456057 h 638175"/>
                  <a:gd name="connsiteX158" fmla="*/ 275122 w 914400"/>
                  <a:gd name="connsiteY158" fmla="*/ 448676 h 638175"/>
                  <a:gd name="connsiteX159" fmla="*/ 271436 w 914400"/>
                  <a:gd name="connsiteY159" fmla="*/ 448676 h 638175"/>
                  <a:gd name="connsiteX160" fmla="*/ 267740 w 914400"/>
                  <a:gd name="connsiteY160" fmla="*/ 448676 h 638175"/>
                  <a:gd name="connsiteX161" fmla="*/ 264054 w 914400"/>
                  <a:gd name="connsiteY161" fmla="*/ 444989 h 638175"/>
                  <a:gd name="connsiteX162" fmla="*/ 260368 w 914400"/>
                  <a:gd name="connsiteY162" fmla="*/ 444989 h 638175"/>
                  <a:gd name="connsiteX163" fmla="*/ 252986 w 914400"/>
                  <a:gd name="connsiteY163" fmla="*/ 441294 h 638175"/>
                  <a:gd name="connsiteX164" fmla="*/ 249300 w 914400"/>
                  <a:gd name="connsiteY164" fmla="*/ 437607 h 638175"/>
                  <a:gd name="connsiteX165" fmla="*/ 245604 w 914400"/>
                  <a:gd name="connsiteY165" fmla="*/ 437607 h 638175"/>
                  <a:gd name="connsiteX166" fmla="*/ 241918 w 914400"/>
                  <a:gd name="connsiteY166" fmla="*/ 437607 h 638175"/>
                  <a:gd name="connsiteX167" fmla="*/ 230850 w 914400"/>
                  <a:gd name="connsiteY167" fmla="*/ 437607 h 638175"/>
                  <a:gd name="connsiteX168" fmla="*/ 227164 w 914400"/>
                  <a:gd name="connsiteY168" fmla="*/ 433921 h 638175"/>
                  <a:gd name="connsiteX169" fmla="*/ 223478 w 914400"/>
                  <a:gd name="connsiteY169" fmla="*/ 433921 h 638175"/>
                  <a:gd name="connsiteX170" fmla="*/ 219782 w 914400"/>
                  <a:gd name="connsiteY170" fmla="*/ 437607 h 638175"/>
                  <a:gd name="connsiteX171" fmla="*/ 216096 w 914400"/>
                  <a:gd name="connsiteY171" fmla="*/ 441294 h 638175"/>
                  <a:gd name="connsiteX172" fmla="*/ 212410 w 914400"/>
                  <a:gd name="connsiteY172" fmla="*/ 441294 h 638175"/>
                  <a:gd name="connsiteX173" fmla="*/ 205028 w 914400"/>
                  <a:gd name="connsiteY173" fmla="*/ 444989 h 638175"/>
                  <a:gd name="connsiteX174" fmla="*/ 201342 w 914400"/>
                  <a:gd name="connsiteY174" fmla="*/ 444989 h 638175"/>
                  <a:gd name="connsiteX175" fmla="*/ 197646 w 914400"/>
                  <a:gd name="connsiteY175" fmla="*/ 448676 h 638175"/>
                  <a:gd name="connsiteX176" fmla="*/ 193960 w 914400"/>
                  <a:gd name="connsiteY176" fmla="*/ 448676 h 638175"/>
                  <a:gd name="connsiteX177" fmla="*/ 186578 w 914400"/>
                  <a:gd name="connsiteY177" fmla="*/ 444989 h 638175"/>
                  <a:gd name="connsiteX178" fmla="*/ 182892 w 914400"/>
                  <a:gd name="connsiteY178" fmla="*/ 448676 h 638175"/>
                  <a:gd name="connsiteX179" fmla="*/ 179206 w 914400"/>
                  <a:gd name="connsiteY179" fmla="*/ 448676 h 638175"/>
                  <a:gd name="connsiteX180" fmla="*/ 175510 w 914400"/>
                  <a:gd name="connsiteY180" fmla="*/ 452371 h 638175"/>
                  <a:gd name="connsiteX181" fmla="*/ 175510 w 914400"/>
                  <a:gd name="connsiteY181" fmla="*/ 456057 h 638175"/>
                  <a:gd name="connsiteX182" fmla="*/ 171824 w 914400"/>
                  <a:gd name="connsiteY182" fmla="*/ 456057 h 638175"/>
                  <a:gd name="connsiteX183" fmla="*/ 168138 w 914400"/>
                  <a:gd name="connsiteY183" fmla="*/ 459753 h 638175"/>
                  <a:gd name="connsiteX184" fmla="*/ 164442 w 914400"/>
                  <a:gd name="connsiteY184" fmla="*/ 459753 h 638175"/>
                  <a:gd name="connsiteX185" fmla="*/ 160756 w 914400"/>
                  <a:gd name="connsiteY185" fmla="*/ 456057 h 638175"/>
                  <a:gd name="connsiteX186" fmla="*/ 157069 w 914400"/>
                  <a:gd name="connsiteY186" fmla="*/ 452371 h 638175"/>
                  <a:gd name="connsiteX187" fmla="*/ 146001 w 914400"/>
                  <a:gd name="connsiteY187" fmla="*/ 452371 h 638175"/>
                  <a:gd name="connsiteX188" fmla="*/ 142315 w 914400"/>
                  <a:gd name="connsiteY188" fmla="*/ 452371 h 638175"/>
                  <a:gd name="connsiteX189" fmla="*/ 134933 w 914400"/>
                  <a:gd name="connsiteY189" fmla="*/ 444989 h 638175"/>
                  <a:gd name="connsiteX190" fmla="*/ 127554 w 914400"/>
                  <a:gd name="connsiteY190" fmla="*/ 441294 h 638175"/>
                  <a:gd name="connsiteX191" fmla="*/ 123865 w 914400"/>
                  <a:gd name="connsiteY191" fmla="*/ 441294 h 638175"/>
                  <a:gd name="connsiteX192" fmla="*/ 120176 w 914400"/>
                  <a:gd name="connsiteY192" fmla="*/ 441294 h 638175"/>
                  <a:gd name="connsiteX193" fmla="*/ 120176 w 914400"/>
                  <a:gd name="connsiteY193" fmla="*/ 448676 h 638175"/>
                  <a:gd name="connsiteX194" fmla="*/ 116487 w 914400"/>
                  <a:gd name="connsiteY194" fmla="*/ 452371 h 638175"/>
                  <a:gd name="connsiteX195" fmla="*/ 112798 w 914400"/>
                  <a:gd name="connsiteY195" fmla="*/ 456057 h 638175"/>
                  <a:gd name="connsiteX196" fmla="*/ 109108 w 914400"/>
                  <a:gd name="connsiteY196" fmla="*/ 456057 h 638175"/>
                  <a:gd name="connsiteX197" fmla="*/ 105419 w 914400"/>
                  <a:gd name="connsiteY197" fmla="*/ 456057 h 638175"/>
                  <a:gd name="connsiteX198" fmla="*/ 101730 w 914400"/>
                  <a:gd name="connsiteY198" fmla="*/ 452371 h 638175"/>
                  <a:gd name="connsiteX199" fmla="*/ 98041 w 914400"/>
                  <a:gd name="connsiteY199" fmla="*/ 448676 h 638175"/>
                  <a:gd name="connsiteX200" fmla="*/ 94352 w 914400"/>
                  <a:gd name="connsiteY200" fmla="*/ 456057 h 638175"/>
                  <a:gd name="connsiteX201" fmla="*/ 90663 w 914400"/>
                  <a:gd name="connsiteY201" fmla="*/ 467135 h 638175"/>
                  <a:gd name="connsiteX202" fmla="*/ 83284 w 914400"/>
                  <a:gd name="connsiteY202" fmla="*/ 474517 h 638175"/>
                  <a:gd name="connsiteX203" fmla="*/ 79595 w 914400"/>
                  <a:gd name="connsiteY203" fmla="*/ 478203 h 638175"/>
                  <a:gd name="connsiteX204" fmla="*/ 83284 w 914400"/>
                  <a:gd name="connsiteY204" fmla="*/ 478203 h 638175"/>
                  <a:gd name="connsiteX205" fmla="*/ 79595 w 914400"/>
                  <a:gd name="connsiteY205" fmla="*/ 481899 h 638175"/>
                  <a:gd name="connsiteX206" fmla="*/ 75906 w 914400"/>
                  <a:gd name="connsiteY206" fmla="*/ 489271 h 638175"/>
                  <a:gd name="connsiteX207" fmla="*/ 72217 w 914400"/>
                  <a:gd name="connsiteY207" fmla="*/ 489271 h 638175"/>
                  <a:gd name="connsiteX208" fmla="*/ 72217 w 914400"/>
                  <a:gd name="connsiteY208" fmla="*/ 492967 h 638175"/>
                  <a:gd name="connsiteX209" fmla="*/ 68528 w 914400"/>
                  <a:gd name="connsiteY209" fmla="*/ 504035 h 638175"/>
                  <a:gd name="connsiteX210" fmla="*/ 64839 w 914400"/>
                  <a:gd name="connsiteY210" fmla="*/ 507730 h 638175"/>
                  <a:gd name="connsiteX211" fmla="*/ 64839 w 914400"/>
                  <a:gd name="connsiteY211" fmla="*/ 511417 h 638175"/>
                  <a:gd name="connsiteX212" fmla="*/ 61149 w 914400"/>
                  <a:gd name="connsiteY212" fmla="*/ 511417 h 638175"/>
                  <a:gd name="connsiteX213" fmla="*/ 53771 w 914400"/>
                  <a:gd name="connsiteY213" fmla="*/ 511417 h 638175"/>
                  <a:gd name="connsiteX214" fmla="*/ 50082 w 914400"/>
                  <a:gd name="connsiteY214" fmla="*/ 511417 h 638175"/>
                  <a:gd name="connsiteX215" fmla="*/ 50082 w 914400"/>
                  <a:gd name="connsiteY215" fmla="*/ 518799 h 638175"/>
                  <a:gd name="connsiteX216" fmla="*/ 46393 w 914400"/>
                  <a:gd name="connsiteY216" fmla="*/ 522494 h 638175"/>
                  <a:gd name="connsiteX217" fmla="*/ 42704 w 914400"/>
                  <a:gd name="connsiteY217" fmla="*/ 522494 h 638175"/>
                  <a:gd name="connsiteX218" fmla="*/ 39014 w 914400"/>
                  <a:gd name="connsiteY218" fmla="*/ 522494 h 638175"/>
                  <a:gd name="connsiteX219" fmla="*/ 35325 w 914400"/>
                  <a:gd name="connsiteY219" fmla="*/ 522494 h 638175"/>
                  <a:gd name="connsiteX220" fmla="*/ 35325 w 914400"/>
                  <a:gd name="connsiteY220" fmla="*/ 526180 h 638175"/>
                  <a:gd name="connsiteX221" fmla="*/ 35325 w 914400"/>
                  <a:gd name="connsiteY221" fmla="*/ 529876 h 638175"/>
                  <a:gd name="connsiteX222" fmla="*/ 39014 w 914400"/>
                  <a:gd name="connsiteY222" fmla="*/ 533562 h 638175"/>
                  <a:gd name="connsiteX223" fmla="*/ 39014 w 914400"/>
                  <a:gd name="connsiteY223" fmla="*/ 537248 h 638175"/>
                  <a:gd name="connsiteX224" fmla="*/ 35325 w 914400"/>
                  <a:gd name="connsiteY224" fmla="*/ 537248 h 638175"/>
                  <a:gd name="connsiteX225" fmla="*/ 31636 w 914400"/>
                  <a:gd name="connsiteY225" fmla="*/ 533562 h 638175"/>
                  <a:gd name="connsiteX226" fmla="*/ 20569 w 914400"/>
                  <a:gd name="connsiteY226" fmla="*/ 537248 h 638175"/>
                  <a:gd name="connsiteX227" fmla="*/ 16879 w 914400"/>
                  <a:gd name="connsiteY227" fmla="*/ 533562 h 638175"/>
                  <a:gd name="connsiteX228" fmla="*/ 9501 w 914400"/>
                  <a:gd name="connsiteY228" fmla="*/ 537248 h 638175"/>
                  <a:gd name="connsiteX229" fmla="*/ 5812 w 914400"/>
                  <a:gd name="connsiteY229" fmla="*/ 533562 h 638175"/>
                  <a:gd name="connsiteX230" fmla="*/ 5812 w 914400"/>
                  <a:gd name="connsiteY230" fmla="*/ 537248 h 638175"/>
                  <a:gd name="connsiteX231" fmla="*/ 5812 w 914400"/>
                  <a:gd name="connsiteY231" fmla="*/ 540944 h 638175"/>
                  <a:gd name="connsiteX232" fmla="*/ 9501 w 914400"/>
                  <a:gd name="connsiteY232" fmla="*/ 544630 h 638175"/>
                  <a:gd name="connsiteX233" fmla="*/ 5812 w 914400"/>
                  <a:gd name="connsiteY233" fmla="*/ 544630 h 638175"/>
                  <a:gd name="connsiteX234" fmla="*/ 9501 w 914400"/>
                  <a:gd name="connsiteY234" fmla="*/ 548326 h 638175"/>
                  <a:gd name="connsiteX235" fmla="*/ 13190 w 914400"/>
                  <a:gd name="connsiteY235" fmla="*/ 548326 h 638175"/>
                  <a:gd name="connsiteX236" fmla="*/ 16879 w 914400"/>
                  <a:gd name="connsiteY236" fmla="*/ 548326 h 638175"/>
                  <a:gd name="connsiteX237" fmla="*/ 24258 w 914400"/>
                  <a:gd name="connsiteY237" fmla="*/ 548326 h 638175"/>
                  <a:gd name="connsiteX238" fmla="*/ 20569 w 914400"/>
                  <a:gd name="connsiteY238" fmla="*/ 563090 h 638175"/>
                  <a:gd name="connsiteX239" fmla="*/ 20569 w 914400"/>
                  <a:gd name="connsiteY239" fmla="*/ 566776 h 638175"/>
                  <a:gd name="connsiteX240" fmla="*/ 13190 w 914400"/>
                  <a:gd name="connsiteY240" fmla="*/ 566776 h 638175"/>
                  <a:gd name="connsiteX241" fmla="*/ 13190 w 914400"/>
                  <a:gd name="connsiteY241" fmla="*/ 570472 h 638175"/>
                  <a:gd name="connsiteX242" fmla="*/ 13190 w 914400"/>
                  <a:gd name="connsiteY242" fmla="*/ 574158 h 638175"/>
                  <a:gd name="connsiteX243" fmla="*/ 16879 w 914400"/>
                  <a:gd name="connsiteY243" fmla="*/ 574158 h 638175"/>
                  <a:gd name="connsiteX244" fmla="*/ 20569 w 914400"/>
                  <a:gd name="connsiteY244" fmla="*/ 577854 h 638175"/>
                  <a:gd name="connsiteX245" fmla="*/ 27947 w 914400"/>
                  <a:gd name="connsiteY245" fmla="*/ 581540 h 638175"/>
                  <a:gd name="connsiteX246" fmla="*/ 31636 w 914400"/>
                  <a:gd name="connsiteY246" fmla="*/ 585226 h 638175"/>
                  <a:gd name="connsiteX247" fmla="*/ 35325 w 914400"/>
                  <a:gd name="connsiteY247" fmla="*/ 585226 h 638175"/>
                  <a:gd name="connsiteX248" fmla="*/ 35325 w 914400"/>
                  <a:gd name="connsiteY248" fmla="*/ 588922 h 638175"/>
                  <a:gd name="connsiteX249" fmla="*/ 39014 w 914400"/>
                  <a:gd name="connsiteY249" fmla="*/ 592608 h 638175"/>
                  <a:gd name="connsiteX250" fmla="*/ 39014 w 914400"/>
                  <a:gd name="connsiteY250" fmla="*/ 596303 h 638175"/>
                  <a:gd name="connsiteX251" fmla="*/ 42704 w 914400"/>
                  <a:gd name="connsiteY251" fmla="*/ 596303 h 638175"/>
                  <a:gd name="connsiteX252" fmla="*/ 42704 w 914400"/>
                  <a:gd name="connsiteY252" fmla="*/ 599990 h 638175"/>
                  <a:gd name="connsiteX253" fmla="*/ 46393 w 914400"/>
                  <a:gd name="connsiteY253" fmla="*/ 599990 h 638175"/>
                  <a:gd name="connsiteX254" fmla="*/ 50082 w 914400"/>
                  <a:gd name="connsiteY254" fmla="*/ 596303 h 638175"/>
                  <a:gd name="connsiteX255" fmla="*/ 53771 w 914400"/>
                  <a:gd name="connsiteY255" fmla="*/ 592608 h 638175"/>
                  <a:gd name="connsiteX256" fmla="*/ 57460 w 914400"/>
                  <a:gd name="connsiteY256" fmla="*/ 592608 h 638175"/>
                  <a:gd name="connsiteX257" fmla="*/ 61149 w 914400"/>
                  <a:gd name="connsiteY257" fmla="*/ 596303 h 638175"/>
                  <a:gd name="connsiteX258" fmla="*/ 64839 w 914400"/>
                  <a:gd name="connsiteY258" fmla="*/ 599990 h 638175"/>
                  <a:gd name="connsiteX259" fmla="*/ 75906 w 914400"/>
                  <a:gd name="connsiteY259" fmla="*/ 603685 h 638175"/>
                  <a:gd name="connsiteX260" fmla="*/ 75906 w 914400"/>
                  <a:gd name="connsiteY260" fmla="*/ 607372 h 638175"/>
                  <a:gd name="connsiteX261" fmla="*/ 75906 w 914400"/>
                  <a:gd name="connsiteY261" fmla="*/ 611067 h 638175"/>
                  <a:gd name="connsiteX262" fmla="*/ 75906 w 914400"/>
                  <a:gd name="connsiteY262" fmla="*/ 614753 h 638175"/>
                  <a:gd name="connsiteX263" fmla="*/ 79595 w 914400"/>
                  <a:gd name="connsiteY263" fmla="*/ 618449 h 638175"/>
                  <a:gd name="connsiteX264" fmla="*/ 75906 w 914400"/>
                  <a:gd name="connsiteY264" fmla="*/ 622135 h 638175"/>
                  <a:gd name="connsiteX265" fmla="*/ 72217 w 914400"/>
                  <a:gd name="connsiteY265" fmla="*/ 625831 h 638175"/>
                  <a:gd name="connsiteX266" fmla="*/ 68528 w 914400"/>
                  <a:gd name="connsiteY266" fmla="*/ 625831 h 638175"/>
                  <a:gd name="connsiteX267" fmla="*/ 68528 w 914400"/>
                  <a:gd name="connsiteY267" fmla="*/ 629517 h 638175"/>
                  <a:gd name="connsiteX268" fmla="*/ 72217 w 914400"/>
                  <a:gd name="connsiteY268" fmla="*/ 633203 h 638175"/>
                  <a:gd name="connsiteX269" fmla="*/ 79595 w 914400"/>
                  <a:gd name="connsiteY269" fmla="*/ 629517 h 638175"/>
                  <a:gd name="connsiteX270" fmla="*/ 86973 w 914400"/>
                  <a:gd name="connsiteY270" fmla="*/ 629517 h 638175"/>
                  <a:gd name="connsiteX271" fmla="*/ 94352 w 914400"/>
                  <a:gd name="connsiteY271" fmla="*/ 629517 h 638175"/>
                  <a:gd name="connsiteX272" fmla="*/ 98041 w 914400"/>
                  <a:gd name="connsiteY272" fmla="*/ 629517 h 638175"/>
                  <a:gd name="connsiteX273" fmla="*/ 105419 w 914400"/>
                  <a:gd name="connsiteY273" fmla="*/ 629517 h 638175"/>
                  <a:gd name="connsiteX274" fmla="*/ 109108 w 914400"/>
                  <a:gd name="connsiteY274" fmla="*/ 629517 h 638175"/>
                  <a:gd name="connsiteX275" fmla="*/ 112798 w 914400"/>
                  <a:gd name="connsiteY275" fmla="*/ 629517 h 638175"/>
                  <a:gd name="connsiteX276" fmla="*/ 116487 w 914400"/>
                  <a:gd name="connsiteY276" fmla="*/ 625831 h 638175"/>
                  <a:gd name="connsiteX277" fmla="*/ 120176 w 914400"/>
                  <a:gd name="connsiteY277" fmla="*/ 629517 h 638175"/>
                  <a:gd name="connsiteX278" fmla="*/ 127554 w 914400"/>
                  <a:gd name="connsiteY278" fmla="*/ 633203 h 638175"/>
                  <a:gd name="connsiteX279" fmla="*/ 131243 w 914400"/>
                  <a:gd name="connsiteY279" fmla="*/ 636899 h 638175"/>
                  <a:gd name="connsiteX280" fmla="*/ 134933 w 914400"/>
                  <a:gd name="connsiteY280" fmla="*/ 633203 h 638175"/>
                  <a:gd name="connsiteX281" fmla="*/ 138620 w 914400"/>
                  <a:gd name="connsiteY281" fmla="*/ 629517 h 638175"/>
                  <a:gd name="connsiteX282" fmla="*/ 146001 w 914400"/>
                  <a:gd name="connsiteY282" fmla="*/ 629517 h 638175"/>
                  <a:gd name="connsiteX283" fmla="*/ 153383 w 914400"/>
                  <a:gd name="connsiteY283" fmla="*/ 633203 h 638175"/>
                  <a:gd name="connsiteX284" fmla="*/ 157069 w 914400"/>
                  <a:gd name="connsiteY284" fmla="*/ 633203 h 638175"/>
                  <a:gd name="connsiteX285" fmla="*/ 157069 w 914400"/>
                  <a:gd name="connsiteY285" fmla="*/ 629517 h 638175"/>
                  <a:gd name="connsiteX286" fmla="*/ 164442 w 914400"/>
                  <a:gd name="connsiteY286" fmla="*/ 625831 h 638175"/>
                  <a:gd name="connsiteX287" fmla="*/ 182892 w 914400"/>
                  <a:gd name="connsiteY287" fmla="*/ 618449 h 638175"/>
                  <a:gd name="connsiteX288" fmla="*/ 182892 w 914400"/>
                  <a:gd name="connsiteY288" fmla="*/ 614753 h 638175"/>
                  <a:gd name="connsiteX289" fmla="*/ 186578 w 914400"/>
                  <a:gd name="connsiteY289" fmla="*/ 614753 h 638175"/>
                  <a:gd name="connsiteX290" fmla="*/ 186578 w 914400"/>
                  <a:gd name="connsiteY290" fmla="*/ 607372 h 638175"/>
                  <a:gd name="connsiteX291" fmla="*/ 186578 w 914400"/>
                  <a:gd name="connsiteY291" fmla="*/ 599990 h 638175"/>
                  <a:gd name="connsiteX292" fmla="*/ 190274 w 914400"/>
                  <a:gd name="connsiteY292" fmla="*/ 592608 h 638175"/>
                  <a:gd name="connsiteX293" fmla="*/ 190274 w 914400"/>
                  <a:gd name="connsiteY293" fmla="*/ 588922 h 638175"/>
                  <a:gd name="connsiteX294" fmla="*/ 197646 w 914400"/>
                  <a:gd name="connsiteY294" fmla="*/ 577854 h 638175"/>
                  <a:gd name="connsiteX295" fmla="*/ 201342 w 914400"/>
                  <a:gd name="connsiteY295" fmla="*/ 574158 h 638175"/>
                  <a:gd name="connsiteX296" fmla="*/ 205028 w 914400"/>
                  <a:gd name="connsiteY296" fmla="*/ 570472 h 638175"/>
                  <a:gd name="connsiteX297" fmla="*/ 205028 w 914400"/>
                  <a:gd name="connsiteY297" fmla="*/ 566776 h 638175"/>
                  <a:gd name="connsiteX298" fmla="*/ 208714 w 914400"/>
                  <a:gd name="connsiteY298" fmla="*/ 563090 h 638175"/>
                  <a:gd name="connsiteX299" fmla="*/ 212410 w 914400"/>
                  <a:gd name="connsiteY299" fmla="*/ 563090 h 638175"/>
                  <a:gd name="connsiteX300" fmla="*/ 212410 w 914400"/>
                  <a:gd name="connsiteY300" fmla="*/ 566776 h 638175"/>
                  <a:gd name="connsiteX301" fmla="*/ 216096 w 914400"/>
                  <a:gd name="connsiteY301" fmla="*/ 570472 h 638175"/>
                  <a:gd name="connsiteX302" fmla="*/ 219782 w 914400"/>
                  <a:gd name="connsiteY302" fmla="*/ 574158 h 638175"/>
                  <a:gd name="connsiteX303" fmla="*/ 223478 w 914400"/>
                  <a:gd name="connsiteY303" fmla="*/ 574158 h 638175"/>
                  <a:gd name="connsiteX304" fmla="*/ 230850 w 914400"/>
                  <a:gd name="connsiteY304" fmla="*/ 574158 h 638175"/>
                  <a:gd name="connsiteX305" fmla="*/ 238232 w 914400"/>
                  <a:gd name="connsiteY305" fmla="*/ 574158 h 638175"/>
                  <a:gd name="connsiteX306" fmla="*/ 241918 w 914400"/>
                  <a:gd name="connsiteY306" fmla="*/ 570472 h 638175"/>
                  <a:gd name="connsiteX307" fmla="*/ 245604 w 914400"/>
                  <a:gd name="connsiteY307" fmla="*/ 563090 h 638175"/>
                  <a:gd name="connsiteX308" fmla="*/ 245604 w 914400"/>
                  <a:gd name="connsiteY308" fmla="*/ 559394 h 638175"/>
                  <a:gd name="connsiteX309" fmla="*/ 249300 w 914400"/>
                  <a:gd name="connsiteY309" fmla="*/ 559394 h 638175"/>
                  <a:gd name="connsiteX310" fmla="*/ 252986 w 914400"/>
                  <a:gd name="connsiteY310" fmla="*/ 559394 h 638175"/>
                  <a:gd name="connsiteX311" fmla="*/ 256672 w 914400"/>
                  <a:gd name="connsiteY311" fmla="*/ 559394 h 638175"/>
                  <a:gd name="connsiteX312" fmla="*/ 260368 w 914400"/>
                  <a:gd name="connsiteY312" fmla="*/ 563090 h 638175"/>
                  <a:gd name="connsiteX313" fmla="*/ 260368 w 914400"/>
                  <a:gd name="connsiteY313" fmla="*/ 566776 h 638175"/>
                  <a:gd name="connsiteX314" fmla="*/ 264054 w 914400"/>
                  <a:gd name="connsiteY314" fmla="*/ 566776 h 638175"/>
                  <a:gd name="connsiteX315" fmla="*/ 267740 w 914400"/>
                  <a:gd name="connsiteY315" fmla="*/ 566776 h 638175"/>
                  <a:gd name="connsiteX316" fmla="*/ 271436 w 914400"/>
                  <a:gd name="connsiteY316" fmla="*/ 570472 h 638175"/>
                  <a:gd name="connsiteX317" fmla="*/ 275122 w 914400"/>
                  <a:gd name="connsiteY317" fmla="*/ 570472 h 638175"/>
                  <a:gd name="connsiteX318" fmla="*/ 278808 w 914400"/>
                  <a:gd name="connsiteY318" fmla="*/ 566776 h 638175"/>
                  <a:gd name="connsiteX319" fmla="*/ 278808 w 914400"/>
                  <a:gd name="connsiteY319" fmla="*/ 563090 h 638175"/>
                  <a:gd name="connsiteX320" fmla="*/ 282504 w 914400"/>
                  <a:gd name="connsiteY320" fmla="*/ 559394 h 638175"/>
                  <a:gd name="connsiteX321" fmla="*/ 286190 w 914400"/>
                  <a:gd name="connsiteY321" fmla="*/ 559394 h 638175"/>
                  <a:gd name="connsiteX322" fmla="*/ 293572 w 914400"/>
                  <a:gd name="connsiteY322" fmla="*/ 559394 h 638175"/>
                  <a:gd name="connsiteX323" fmla="*/ 297258 w 914400"/>
                  <a:gd name="connsiteY323" fmla="*/ 559394 h 638175"/>
                  <a:gd name="connsiteX324" fmla="*/ 300945 w 914400"/>
                  <a:gd name="connsiteY324" fmla="*/ 559394 h 638175"/>
                  <a:gd name="connsiteX325" fmla="*/ 308326 w 914400"/>
                  <a:gd name="connsiteY325" fmla="*/ 563090 h 638175"/>
                  <a:gd name="connsiteX326" fmla="*/ 312013 w 914400"/>
                  <a:gd name="connsiteY326" fmla="*/ 566776 h 638175"/>
                  <a:gd name="connsiteX327" fmla="*/ 315699 w 914400"/>
                  <a:gd name="connsiteY327" fmla="*/ 566776 h 638175"/>
                  <a:gd name="connsiteX328" fmla="*/ 323081 w 914400"/>
                  <a:gd name="connsiteY328" fmla="*/ 566776 h 638175"/>
                  <a:gd name="connsiteX329" fmla="*/ 326767 w 914400"/>
                  <a:gd name="connsiteY329" fmla="*/ 570472 h 638175"/>
                  <a:gd name="connsiteX330" fmla="*/ 326767 w 914400"/>
                  <a:gd name="connsiteY330" fmla="*/ 577854 h 638175"/>
                  <a:gd name="connsiteX331" fmla="*/ 330463 w 914400"/>
                  <a:gd name="connsiteY331" fmla="*/ 581540 h 638175"/>
                  <a:gd name="connsiteX332" fmla="*/ 334149 w 914400"/>
                  <a:gd name="connsiteY332" fmla="*/ 585226 h 638175"/>
                  <a:gd name="connsiteX333" fmla="*/ 337835 w 914400"/>
                  <a:gd name="connsiteY333" fmla="*/ 588922 h 638175"/>
                  <a:gd name="connsiteX334" fmla="*/ 341531 w 914400"/>
                  <a:gd name="connsiteY334" fmla="*/ 588922 h 638175"/>
                  <a:gd name="connsiteX335" fmla="*/ 345217 w 914400"/>
                  <a:gd name="connsiteY335" fmla="*/ 588922 h 638175"/>
                  <a:gd name="connsiteX336" fmla="*/ 348903 w 914400"/>
                  <a:gd name="connsiteY336" fmla="*/ 592608 h 638175"/>
                  <a:gd name="connsiteX337" fmla="*/ 352599 w 914400"/>
                  <a:gd name="connsiteY337" fmla="*/ 592608 h 638175"/>
                  <a:gd name="connsiteX338" fmla="*/ 352599 w 914400"/>
                  <a:gd name="connsiteY338" fmla="*/ 599990 h 638175"/>
                  <a:gd name="connsiteX339" fmla="*/ 356285 w 914400"/>
                  <a:gd name="connsiteY339" fmla="*/ 599990 h 638175"/>
                  <a:gd name="connsiteX340" fmla="*/ 359971 w 914400"/>
                  <a:gd name="connsiteY340" fmla="*/ 603685 h 638175"/>
                  <a:gd name="connsiteX341" fmla="*/ 363667 w 914400"/>
                  <a:gd name="connsiteY341" fmla="*/ 603685 h 638175"/>
                  <a:gd name="connsiteX342" fmla="*/ 367353 w 914400"/>
                  <a:gd name="connsiteY342" fmla="*/ 603685 h 638175"/>
                  <a:gd name="connsiteX343" fmla="*/ 371039 w 914400"/>
                  <a:gd name="connsiteY343" fmla="*/ 607372 h 638175"/>
                  <a:gd name="connsiteX344" fmla="*/ 374725 w 914400"/>
                  <a:gd name="connsiteY344" fmla="*/ 611067 h 638175"/>
                  <a:gd name="connsiteX345" fmla="*/ 374725 w 914400"/>
                  <a:gd name="connsiteY345" fmla="*/ 614753 h 638175"/>
                  <a:gd name="connsiteX346" fmla="*/ 378421 w 914400"/>
                  <a:gd name="connsiteY346" fmla="*/ 618449 h 638175"/>
                  <a:gd name="connsiteX347" fmla="*/ 382107 w 914400"/>
                  <a:gd name="connsiteY347" fmla="*/ 618449 h 638175"/>
                  <a:gd name="connsiteX348" fmla="*/ 385793 w 914400"/>
                  <a:gd name="connsiteY348" fmla="*/ 618449 h 638175"/>
                  <a:gd name="connsiteX349" fmla="*/ 393175 w 914400"/>
                  <a:gd name="connsiteY349" fmla="*/ 618449 h 638175"/>
                  <a:gd name="connsiteX350" fmla="*/ 396861 w 914400"/>
                  <a:gd name="connsiteY350" fmla="*/ 618449 h 638175"/>
                  <a:gd name="connsiteX351" fmla="*/ 407929 w 914400"/>
                  <a:gd name="connsiteY351" fmla="*/ 614753 h 638175"/>
                  <a:gd name="connsiteX352" fmla="*/ 411625 w 914400"/>
                  <a:gd name="connsiteY352" fmla="*/ 614753 h 638175"/>
                  <a:gd name="connsiteX353" fmla="*/ 422693 w 914400"/>
                  <a:gd name="connsiteY353" fmla="*/ 614753 h 638175"/>
                  <a:gd name="connsiteX354" fmla="*/ 430065 w 914400"/>
                  <a:gd name="connsiteY354" fmla="*/ 614753 h 638175"/>
                  <a:gd name="connsiteX355" fmla="*/ 433761 w 914400"/>
                  <a:gd name="connsiteY355" fmla="*/ 614753 h 638175"/>
                  <a:gd name="connsiteX356" fmla="*/ 437447 w 914400"/>
                  <a:gd name="connsiteY356" fmla="*/ 614753 h 638175"/>
                  <a:gd name="connsiteX357" fmla="*/ 437447 w 914400"/>
                  <a:gd name="connsiteY357" fmla="*/ 611067 h 638175"/>
                  <a:gd name="connsiteX358" fmla="*/ 437447 w 914400"/>
                  <a:gd name="connsiteY358" fmla="*/ 607372 h 638175"/>
                  <a:gd name="connsiteX359" fmla="*/ 433761 w 914400"/>
                  <a:gd name="connsiteY359" fmla="*/ 603685 h 638175"/>
                  <a:gd name="connsiteX360" fmla="*/ 437447 w 914400"/>
                  <a:gd name="connsiteY360" fmla="*/ 599990 h 638175"/>
                  <a:gd name="connsiteX361" fmla="*/ 444820 w 914400"/>
                  <a:gd name="connsiteY361" fmla="*/ 599990 h 638175"/>
                  <a:gd name="connsiteX362" fmla="*/ 448516 w 914400"/>
                  <a:gd name="connsiteY362" fmla="*/ 599990 h 638175"/>
                  <a:gd name="connsiteX363" fmla="*/ 452202 w 914400"/>
                  <a:gd name="connsiteY363" fmla="*/ 603685 h 638175"/>
                  <a:gd name="connsiteX364" fmla="*/ 455888 w 914400"/>
                  <a:gd name="connsiteY364" fmla="*/ 607372 h 638175"/>
                  <a:gd name="connsiteX365" fmla="*/ 455888 w 914400"/>
                  <a:gd name="connsiteY365" fmla="*/ 611067 h 638175"/>
                  <a:gd name="connsiteX366" fmla="*/ 459583 w 914400"/>
                  <a:gd name="connsiteY366" fmla="*/ 614753 h 638175"/>
                  <a:gd name="connsiteX367" fmla="*/ 459583 w 914400"/>
                  <a:gd name="connsiteY367" fmla="*/ 618449 h 638175"/>
                  <a:gd name="connsiteX368" fmla="*/ 463270 w 914400"/>
                  <a:gd name="connsiteY368" fmla="*/ 622135 h 638175"/>
                  <a:gd name="connsiteX369" fmla="*/ 466956 w 914400"/>
                  <a:gd name="connsiteY369" fmla="*/ 622135 h 638175"/>
                  <a:gd name="connsiteX370" fmla="*/ 466956 w 914400"/>
                  <a:gd name="connsiteY370" fmla="*/ 625831 h 638175"/>
                  <a:gd name="connsiteX371" fmla="*/ 470652 w 914400"/>
                  <a:gd name="connsiteY371" fmla="*/ 629517 h 638175"/>
                  <a:gd name="connsiteX372" fmla="*/ 474338 w 914400"/>
                  <a:gd name="connsiteY372" fmla="*/ 629517 h 638175"/>
                  <a:gd name="connsiteX373" fmla="*/ 478024 w 914400"/>
                  <a:gd name="connsiteY373" fmla="*/ 625831 h 638175"/>
                  <a:gd name="connsiteX374" fmla="*/ 478024 w 914400"/>
                  <a:gd name="connsiteY374" fmla="*/ 622135 h 638175"/>
                  <a:gd name="connsiteX375" fmla="*/ 481720 w 914400"/>
                  <a:gd name="connsiteY375" fmla="*/ 618449 h 638175"/>
                  <a:gd name="connsiteX376" fmla="*/ 489092 w 914400"/>
                  <a:gd name="connsiteY376" fmla="*/ 614753 h 638175"/>
                  <a:gd name="connsiteX377" fmla="*/ 492788 w 914400"/>
                  <a:gd name="connsiteY377" fmla="*/ 614753 h 638175"/>
                  <a:gd name="connsiteX378" fmla="*/ 496474 w 914400"/>
                  <a:gd name="connsiteY378" fmla="*/ 607372 h 638175"/>
                  <a:gd name="connsiteX379" fmla="*/ 496474 w 914400"/>
                  <a:gd name="connsiteY379" fmla="*/ 603685 h 638175"/>
                  <a:gd name="connsiteX380" fmla="*/ 492788 w 914400"/>
                  <a:gd name="connsiteY380" fmla="*/ 603685 h 638175"/>
                  <a:gd name="connsiteX381" fmla="*/ 492788 w 914400"/>
                  <a:gd name="connsiteY381" fmla="*/ 596303 h 638175"/>
                  <a:gd name="connsiteX382" fmla="*/ 496474 w 914400"/>
                  <a:gd name="connsiteY382" fmla="*/ 596303 h 638175"/>
                  <a:gd name="connsiteX383" fmla="*/ 492788 w 914400"/>
                  <a:gd name="connsiteY383" fmla="*/ 592608 h 638175"/>
                  <a:gd name="connsiteX384" fmla="*/ 489092 w 914400"/>
                  <a:gd name="connsiteY384" fmla="*/ 592608 h 638175"/>
                  <a:gd name="connsiteX385" fmla="*/ 489092 w 914400"/>
                  <a:gd name="connsiteY385" fmla="*/ 588922 h 638175"/>
                  <a:gd name="connsiteX386" fmla="*/ 489092 w 914400"/>
                  <a:gd name="connsiteY386" fmla="*/ 585226 h 638175"/>
                  <a:gd name="connsiteX387" fmla="*/ 489092 w 914400"/>
                  <a:gd name="connsiteY387" fmla="*/ 581540 h 638175"/>
                  <a:gd name="connsiteX388" fmla="*/ 481720 w 914400"/>
                  <a:gd name="connsiteY388" fmla="*/ 574158 h 638175"/>
                  <a:gd name="connsiteX389" fmla="*/ 478024 w 914400"/>
                  <a:gd name="connsiteY389" fmla="*/ 574158 h 638175"/>
                  <a:gd name="connsiteX390" fmla="*/ 474338 w 914400"/>
                  <a:gd name="connsiteY390" fmla="*/ 574158 h 638175"/>
                  <a:gd name="connsiteX391" fmla="*/ 474338 w 914400"/>
                  <a:gd name="connsiteY391" fmla="*/ 570472 h 638175"/>
                  <a:gd name="connsiteX392" fmla="*/ 478024 w 914400"/>
                  <a:gd name="connsiteY392" fmla="*/ 566776 h 638175"/>
                  <a:gd name="connsiteX393" fmla="*/ 481720 w 914400"/>
                  <a:gd name="connsiteY393" fmla="*/ 566776 h 638175"/>
                  <a:gd name="connsiteX394" fmla="*/ 474338 w 914400"/>
                  <a:gd name="connsiteY394" fmla="*/ 563090 h 638175"/>
                  <a:gd name="connsiteX395" fmla="*/ 481720 w 914400"/>
                  <a:gd name="connsiteY395" fmla="*/ 552012 h 638175"/>
                  <a:gd name="connsiteX396" fmla="*/ 485406 w 914400"/>
                  <a:gd name="connsiteY396" fmla="*/ 552012 h 638175"/>
                  <a:gd name="connsiteX397" fmla="*/ 485406 w 914400"/>
                  <a:gd name="connsiteY397" fmla="*/ 555708 h 638175"/>
                  <a:gd name="connsiteX398" fmla="*/ 492788 w 914400"/>
                  <a:gd name="connsiteY398" fmla="*/ 555708 h 638175"/>
                  <a:gd name="connsiteX399" fmla="*/ 496474 w 914400"/>
                  <a:gd name="connsiteY399" fmla="*/ 555708 h 638175"/>
                  <a:gd name="connsiteX400" fmla="*/ 503856 w 914400"/>
                  <a:gd name="connsiteY400" fmla="*/ 552012 h 638175"/>
                  <a:gd name="connsiteX401" fmla="*/ 507542 w 914400"/>
                  <a:gd name="connsiteY401" fmla="*/ 552012 h 638175"/>
                  <a:gd name="connsiteX402" fmla="*/ 511228 w 914400"/>
                  <a:gd name="connsiteY402" fmla="*/ 548326 h 638175"/>
                  <a:gd name="connsiteX403" fmla="*/ 514924 w 914400"/>
                  <a:gd name="connsiteY403" fmla="*/ 544630 h 638175"/>
                  <a:gd name="connsiteX404" fmla="*/ 518610 w 914400"/>
                  <a:gd name="connsiteY404" fmla="*/ 548326 h 638175"/>
                  <a:gd name="connsiteX405" fmla="*/ 522296 w 914400"/>
                  <a:gd name="connsiteY405" fmla="*/ 544630 h 638175"/>
                  <a:gd name="connsiteX406" fmla="*/ 525982 w 914400"/>
                  <a:gd name="connsiteY406" fmla="*/ 540944 h 638175"/>
                  <a:gd name="connsiteX407" fmla="*/ 529678 w 914400"/>
                  <a:gd name="connsiteY407" fmla="*/ 540944 h 638175"/>
                  <a:gd name="connsiteX408" fmla="*/ 525982 w 914400"/>
                  <a:gd name="connsiteY408" fmla="*/ 537248 h 638175"/>
                  <a:gd name="connsiteX409" fmla="*/ 529678 w 914400"/>
                  <a:gd name="connsiteY409" fmla="*/ 533562 h 638175"/>
                  <a:gd name="connsiteX410" fmla="*/ 533364 w 914400"/>
                  <a:gd name="connsiteY410" fmla="*/ 529876 h 638175"/>
                  <a:gd name="connsiteX411" fmla="*/ 537050 w 914400"/>
                  <a:gd name="connsiteY411" fmla="*/ 533562 h 638175"/>
                  <a:gd name="connsiteX412" fmla="*/ 544432 w 914400"/>
                  <a:gd name="connsiteY412" fmla="*/ 540944 h 638175"/>
                  <a:gd name="connsiteX413" fmla="*/ 548118 w 914400"/>
                  <a:gd name="connsiteY413" fmla="*/ 540944 h 638175"/>
                  <a:gd name="connsiteX414" fmla="*/ 551814 w 914400"/>
                  <a:gd name="connsiteY414" fmla="*/ 540944 h 638175"/>
                  <a:gd name="connsiteX415" fmla="*/ 566568 w 914400"/>
                  <a:gd name="connsiteY415" fmla="*/ 544630 h 638175"/>
                  <a:gd name="connsiteX416" fmla="*/ 577636 w 914400"/>
                  <a:gd name="connsiteY416" fmla="*/ 544630 h 638175"/>
                  <a:gd name="connsiteX417" fmla="*/ 581323 w 914400"/>
                  <a:gd name="connsiteY417" fmla="*/ 548326 h 638175"/>
                  <a:gd name="connsiteX418" fmla="*/ 581323 w 914400"/>
                  <a:gd name="connsiteY418" fmla="*/ 540944 h 638175"/>
                  <a:gd name="connsiteX419" fmla="*/ 581323 w 914400"/>
                  <a:gd name="connsiteY419" fmla="*/ 537248 h 638175"/>
                  <a:gd name="connsiteX420" fmla="*/ 581323 w 914400"/>
                  <a:gd name="connsiteY420" fmla="*/ 533562 h 638175"/>
                  <a:gd name="connsiteX421" fmla="*/ 581323 w 914400"/>
                  <a:gd name="connsiteY421" fmla="*/ 529876 h 638175"/>
                  <a:gd name="connsiteX422" fmla="*/ 573950 w 914400"/>
                  <a:gd name="connsiteY422" fmla="*/ 526180 h 638175"/>
                  <a:gd name="connsiteX423" fmla="*/ 570254 w 914400"/>
                  <a:gd name="connsiteY423" fmla="*/ 526180 h 638175"/>
                  <a:gd name="connsiteX424" fmla="*/ 570254 w 914400"/>
                  <a:gd name="connsiteY424" fmla="*/ 522494 h 638175"/>
                  <a:gd name="connsiteX425" fmla="*/ 570254 w 914400"/>
                  <a:gd name="connsiteY425" fmla="*/ 518799 h 638175"/>
                  <a:gd name="connsiteX426" fmla="*/ 566568 w 914400"/>
                  <a:gd name="connsiteY426" fmla="*/ 511417 h 638175"/>
                  <a:gd name="connsiteX427" fmla="*/ 562882 w 914400"/>
                  <a:gd name="connsiteY427" fmla="*/ 507730 h 638175"/>
                  <a:gd name="connsiteX428" fmla="*/ 555500 w 914400"/>
                  <a:gd name="connsiteY428" fmla="*/ 507730 h 638175"/>
                  <a:gd name="connsiteX429" fmla="*/ 551814 w 914400"/>
                  <a:gd name="connsiteY429" fmla="*/ 507730 h 638175"/>
                  <a:gd name="connsiteX430" fmla="*/ 555500 w 914400"/>
                  <a:gd name="connsiteY430" fmla="*/ 504035 h 638175"/>
                  <a:gd name="connsiteX431" fmla="*/ 555500 w 914400"/>
                  <a:gd name="connsiteY431" fmla="*/ 500349 h 638175"/>
                  <a:gd name="connsiteX432" fmla="*/ 559186 w 914400"/>
                  <a:gd name="connsiteY432" fmla="*/ 500349 h 638175"/>
                  <a:gd name="connsiteX433" fmla="*/ 562882 w 914400"/>
                  <a:gd name="connsiteY433" fmla="*/ 504035 h 638175"/>
                  <a:gd name="connsiteX434" fmla="*/ 577636 w 914400"/>
                  <a:gd name="connsiteY434" fmla="*/ 496653 h 638175"/>
                  <a:gd name="connsiteX435" fmla="*/ 581323 w 914400"/>
                  <a:gd name="connsiteY435" fmla="*/ 500349 h 638175"/>
                  <a:gd name="connsiteX436" fmla="*/ 585009 w 914400"/>
                  <a:gd name="connsiteY436" fmla="*/ 500349 h 638175"/>
                  <a:gd name="connsiteX437" fmla="*/ 588704 w 914400"/>
                  <a:gd name="connsiteY437" fmla="*/ 504035 h 638175"/>
                  <a:gd name="connsiteX438" fmla="*/ 596077 w 914400"/>
                  <a:gd name="connsiteY438" fmla="*/ 507730 h 638175"/>
                  <a:gd name="connsiteX439" fmla="*/ 596077 w 914400"/>
                  <a:gd name="connsiteY439" fmla="*/ 511417 h 638175"/>
                  <a:gd name="connsiteX440" fmla="*/ 588704 w 914400"/>
                  <a:gd name="connsiteY440" fmla="*/ 511417 h 638175"/>
                  <a:gd name="connsiteX441" fmla="*/ 592391 w 914400"/>
                  <a:gd name="connsiteY441" fmla="*/ 515112 h 638175"/>
                  <a:gd name="connsiteX442" fmla="*/ 596077 w 914400"/>
                  <a:gd name="connsiteY442" fmla="*/ 518799 h 638175"/>
                  <a:gd name="connsiteX443" fmla="*/ 599772 w 914400"/>
                  <a:gd name="connsiteY443" fmla="*/ 522494 h 638175"/>
                  <a:gd name="connsiteX444" fmla="*/ 607145 w 914400"/>
                  <a:gd name="connsiteY444" fmla="*/ 526180 h 638175"/>
                  <a:gd name="connsiteX445" fmla="*/ 614527 w 914400"/>
                  <a:gd name="connsiteY445" fmla="*/ 526180 h 638175"/>
                  <a:gd name="connsiteX446" fmla="*/ 614527 w 914400"/>
                  <a:gd name="connsiteY446" fmla="*/ 522494 h 638175"/>
                  <a:gd name="connsiteX447" fmla="*/ 621909 w 914400"/>
                  <a:gd name="connsiteY447" fmla="*/ 522494 h 638175"/>
                  <a:gd name="connsiteX448" fmla="*/ 625595 w 914400"/>
                  <a:gd name="connsiteY448" fmla="*/ 526180 h 638175"/>
                  <a:gd name="connsiteX449" fmla="*/ 629281 w 914400"/>
                  <a:gd name="connsiteY449" fmla="*/ 526180 h 638175"/>
                  <a:gd name="connsiteX450" fmla="*/ 629281 w 914400"/>
                  <a:gd name="connsiteY450" fmla="*/ 522494 h 638175"/>
                  <a:gd name="connsiteX451" fmla="*/ 632977 w 914400"/>
                  <a:gd name="connsiteY451" fmla="*/ 522494 h 638175"/>
                  <a:gd name="connsiteX452" fmla="*/ 632977 w 914400"/>
                  <a:gd name="connsiteY452" fmla="*/ 518799 h 638175"/>
                  <a:gd name="connsiteX453" fmla="*/ 636663 w 914400"/>
                  <a:gd name="connsiteY453" fmla="*/ 522494 h 638175"/>
                  <a:gd name="connsiteX454" fmla="*/ 647731 w 914400"/>
                  <a:gd name="connsiteY454" fmla="*/ 526180 h 638175"/>
                  <a:gd name="connsiteX455" fmla="*/ 647731 w 914400"/>
                  <a:gd name="connsiteY455" fmla="*/ 529876 h 638175"/>
                  <a:gd name="connsiteX456" fmla="*/ 651417 w 914400"/>
                  <a:gd name="connsiteY456" fmla="*/ 537248 h 638175"/>
                  <a:gd name="connsiteX457" fmla="*/ 651417 w 914400"/>
                  <a:gd name="connsiteY457" fmla="*/ 540944 h 638175"/>
                  <a:gd name="connsiteX458" fmla="*/ 658799 w 914400"/>
                  <a:gd name="connsiteY458" fmla="*/ 537248 h 638175"/>
                  <a:gd name="connsiteX459" fmla="*/ 666171 w 914400"/>
                  <a:gd name="connsiteY459" fmla="*/ 537248 h 638175"/>
                  <a:gd name="connsiteX460" fmla="*/ 669867 w 914400"/>
                  <a:gd name="connsiteY460" fmla="*/ 537248 h 638175"/>
                  <a:gd name="connsiteX461" fmla="*/ 673553 w 914400"/>
                  <a:gd name="connsiteY461" fmla="*/ 540944 h 638175"/>
                  <a:gd name="connsiteX462" fmla="*/ 677239 w 914400"/>
                  <a:gd name="connsiteY462" fmla="*/ 540944 h 638175"/>
                  <a:gd name="connsiteX463" fmla="*/ 680935 w 914400"/>
                  <a:gd name="connsiteY463" fmla="*/ 544630 h 638175"/>
                  <a:gd name="connsiteX464" fmla="*/ 680935 w 914400"/>
                  <a:gd name="connsiteY464" fmla="*/ 548326 h 638175"/>
                  <a:gd name="connsiteX465" fmla="*/ 680935 w 914400"/>
                  <a:gd name="connsiteY465" fmla="*/ 552012 h 638175"/>
                  <a:gd name="connsiteX466" fmla="*/ 684621 w 914400"/>
                  <a:gd name="connsiteY466" fmla="*/ 552012 h 638175"/>
                  <a:gd name="connsiteX467" fmla="*/ 688307 w 914400"/>
                  <a:gd name="connsiteY467" fmla="*/ 552012 h 638175"/>
                  <a:gd name="connsiteX468" fmla="*/ 692003 w 914400"/>
                  <a:gd name="connsiteY468" fmla="*/ 552012 h 638175"/>
                  <a:gd name="connsiteX469" fmla="*/ 699375 w 914400"/>
                  <a:gd name="connsiteY469" fmla="*/ 555708 h 638175"/>
                  <a:gd name="connsiteX470" fmla="*/ 703071 w 914400"/>
                  <a:gd name="connsiteY470" fmla="*/ 555708 h 638175"/>
                  <a:gd name="connsiteX471" fmla="*/ 699375 w 914400"/>
                  <a:gd name="connsiteY471" fmla="*/ 548326 h 638175"/>
                  <a:gd name="connsiteX472" fmla="*/ 703071 w 914400"/>
                  <a:gd name="connsiteY472" fmla="*/ 552012 h 638175"/>
                  <a:gd name="connsiteX473" fmla="*/ 699375 w 914400"/>
                  <a:gd name="connsiteY473" fmla="*/ 544630 h 638175"/>
                  <a:gd name="connsiteX474" fmla="*/ 699375 w 914400"/>
                  <a:gd name="connsiteY474" fmla="*/ 540944 h 638175"/>
                  <a:gd name="connsiteX475" fmla="*/ 703071 w 914400"/>
                  <a:gd name="connsiteY475" fmla="*/ 537248 h 638175"/>
                  <a:gd name="connsiteX476" fmla="*/ 699375 w 914400"/>
                  <a:gd name="connsiteY476" fmla="*/ 537248 h 638175"/>
                  <a:gd name="connsiteX477" fmla="*/ 699375 w 914400"/>
                  <a:gd name="connsiteY477" fmla="*/ 533562 h 638175"/>
                  <a:gd name="connsiteX478" fmla="*/ 695689 w 914400"/>
                  <a:gd name="connsiteY478" fmla="*/ 533562 h 638175"/>
                  <a:gd name="connsiteX479" fmla="*/ 692003 w 914400"/>
                  <a:gd name="connsiteY479" fmla="*/ 529876 h 638175"/>
                  <a:gd name="connsiteX480" fmla="*/ 692003 w 914400"/>
                  <a:gd name="connsiteY480" fmla="*/ 526180 h 638175"/>
                  <a:gd name="connsiteX481" fmla="*/ 692003 w 914400"/>
                  <a:gd name="connsiteY481" fmla="*/ 518799 h 638175"/>
                  <a:gd name="connsiteX482" fmla="*/ 699375 w 914400"/>
                  <a:gd name="connsiteY482" fmla="*/ 522494 h 638175"/>
                  <a:gd name="connsiteX483" fmla="*/ 703071 w 914400"/>
                  <a:gd name="connsiteY483" fmla="*/ 522494 h 638175"/>
                  <a:gd name="connsiteX484" fmla="*/ 706757 w 914400"/>
                  <a:gd name="connsiteY484" fmla="*/ 526180 h 638175"/>
                  <a:gd name="connsiteX485" fmla="*/ 710443 w 914400"/>
                  <a:gd name="connsiteY485" fmla="*/ 526180 h 638175"/>
                  <a:gd name="connsiteX486" fmla="*/ 710443 w 914400"/>
                  <a:gd name="connsiteY486" fmla="*/ 529876 h 638175"/>
                  <a:gd name="connsiteX487" fmla="*/ 714139 w 914400"/>
                  <a:gd name="connsiteY487" fmla="*/ 529876 h 638175"/>
                  <a:gd name="connsiteX488" fmla="*/ 717825 w 914400"/>
                  <a:gd name="connsiteY488" fmla="*/ 529876 h 638175"/>
                  <a:gd name="connsiteX489" fmla="*/ 721512 w 914400"/>
                  <a:gd name="connsiteY489" fmla="*/ 526180 h 638175"/>
                  <a:gd name="connsiteX490" fmla="*/ 725207 w 914400"/>
                  <a:gd name="connsiteY490" fmla="*/ 533562 h 638175"/>
                  <a:gd name="connsiteX491" fmla="*/ 728893 w 914400"/>
                  <a:gd name="connsiteY491" fmla="*/ 533562 h 638175"/>
                  <a:gd name="connsiteX492" fmla="*/ 732580 w 914400"/>
                  <a:gd name="connsiteY492" fmla="*/ 537248 h 638175"/>
                  <a:gd name="connsiteX493" fmla="*/ 736266 w 914400"/>
                  <a:gd name="connsiteY493" fmla="*/ 533562 h 638175"/>
                  <a:gd name="connsiteX494" fmla="*/ 747334 w 914400"/>
                  <a:gd name="connsiteY494" fmla="*/ 529876 h 638175"/>
                  <a:gd name="connsiteX495" fmla="*/ 747334 w 914400"/>
                  <a:gd name="connsiteY495" fmla="*/ 526180 h 638175"/>
                  <a:gd name="connsiteX496" fmla="*/ 747334 w 914400"/>
                  <a:gd name="connsiteY496" fmla="*/ 522494 h 638175"/>
                  <a:gd name="connsiteX497" fmla="*/ 751029 w 914400"/>
                  <a:gd name="connsiteY497" fmla="*/ 522494 h 638175"/>
                  <a:gd name="connsiteX498" fmla="*/ 754716 w 914400"/>
                  <a:gd name="connsiteY498" fmla="*/ 518799 h 638175"/>
                  <a:gd name="connsiteX499" fmla="*/ 758402 w 914400"/>
                  <a:gd name="connsiteY499" fmla="*/ 518799 h 638175"/>
                  <a:gd name="connsiteX500" fmla="*/ 762098 w 914400"/>
                  <a:gd name="connsiteY500" fmla="*/ 518799 h 638175"/>
                  <a:gd name="connsiteX501" fmla="*/ 765784 w 914400"/>
                  <a:gd name="connsiteY501" fmla="*/ 515112 h 638175"/>
                  <a:gd name="connsiteX502" fmla="*/ 765784 w 914400"/>
                  <a:gd name="connsiteY502" fmla="*/ 511417 h 638175"/>
                  <a:gd name="connsiteX503" fmla="*/ 769470 w 914400"/>
                  <a:gd name="connsiteY503" fmla="*/ 511417 h 638175"/>
                  <a:gd name="connsiteX504" fmla="*/ 773166 w 914400"/>
                  <a:gd name="connsiteY504" fmla="*/ 507730 h 638175"/>
                  <a:gd name="connsiteX505" fmla="*/ 773166 w 914400"/>
                  <a:gd name="connsiteY505" fmla="*/ 511417 h 638175"/>
                  <a:gd name="connsiteX506" fmla="*/ 776852 w 914400"/>
                  <a:gd name="connsiteY506" fmla="*/ 511417 h 638175"/>
                  <a:gd name="connsiteX507" fmla="*/ 780538 w 914400"/>
                  <a:gd name="connsiteY507" fmla="*/ 507730 h 638175"/>
                  <a:gd name="connsiteX508" fmla="*/ 787920 w 914400"/>
                  <a:gd name="connsiteY508" fmla="*/ 504035 h 638175"/>
                  <a:gd name="connsiteX509" fmla="*/ 806360 w 914400"/>
                  <a:gd name="connsiteY509" fmla="*/ 496653 h 638175"/>
                  <a:gd name="connsiteX510" fmla="*/ 810056 w 914400"/>
                  <a:gd name="connsiteY510" fmla="*/ 496653 h 638175"/>
                  <a:gd name="connsiteX511" fmla="*/ 813742 w 914400"/>
                  <a:gd name="connsiteY511" fmla="*/ 496653 h 638175"/>
                  <a:gd name="connsiteX512" fmla="*/ 813742 w 914400"/>
                  <a:gd name="connsiteY512" fmla="*/ 492967 h 638175"/>
                  <a:gd name="connsiteX513" fmla="*/ 821124 w 914400"/>
                  <a:gd name="connsiteY513" fmla="*/ 489271 h 638175"/>
                  <a:gd name="connsiteX514" fmla="*/ 828496 w 914400"/>
                  <a:gd name="connsiteY514" fmla="*/ 485585 h 638175"/>
                  <a:gd name="connsiteX515" fmla="*/ 832192 w 914400"/>
                  <a:gd name="connsiteY515" fmla="*/ 485585 h 638175"/>
                  <a:gd name="connsiteX516" fmla="*/ 835878 w 914400"/>
                  <a:gd name="connsiteY516" fmla="*/ 481899 h 638175"/>
                  <a:gd name="connsiteX517" fmla="*/ 835878 w 914400"/>
                  <a:gd name="connsiteY517" fmla="*/ 485585 h 638175"/>
                  <a:gd name="connsiteX518" fmla="*/ 839564 w 914400"/>
                  <a:gd name="connsiteY518" fmla="*/ 485585 h 638175"/>
                  <a:gd name="connsiteX519" fmla="*/ 843260 w 914400"/>
                  <a:gd name="connsiteY519" fmla="*/ 485585 h 638175"/>
                  <a:gd name="connsiteX520" fmla="*/ 843260 w 914400"/>
                  <a:gd name="connsiteY520" fmla="*/ 489271 h 638175"/>
                  <a:gd name="connsiteX521" fmla="*/ 846946 w 914400"/>
                  <a:gd name="connsiteY521" fmla="*/ 492967 h 638175"/>
                  <a:gd name="connsiteX522" fmla="*/ 854328 w 914400"/>
                  <a:gd name="connsiteY522" fmla="*/ 500349 h 638175"/>
                  <a:gd name="connsiteX523" fmla="*/ 861700 w 914400"/>
                  <a:gd name="connsiteY523" fmla="*/ 496653 h 638175"/>
                  <a:gd name="connsiteX524" fmla="*/ 861700 w 914400"/>
                  <a:gd name="connsiteY524" fmla="*/ 492967 h 638175"/>
                  <a:gd name="connsiteX525" fmla="*/ 865396 w 914400"/>
                  <a:gd name="connsiteY525" fmla="*/ 492967 h 638175"/>
                  <a:gd name="connsiteX526" fmla="*/ 869082 w 914400"/>
                  <a:gd name="connsiteY526" fmla="*/ 489271 h 638175"/>
                  <a:gd name="connsiteX527" fmla="*/ 872769 w 914400"/>
                  <a:gd name="connsiteY527" fmla="*/ 489271 h 638175"/>
                  <a:gd name="connsiteX528" fmla="*/ 872769 w 914400"/>
                  <a:gd name="connsiteY528" fmla="*/ 485585 h 638175"/>
                  <a:gd name="connsiteX529" fmla="*/ 876455 w 914400"/>
                  <a:gd name="connsiteY529" fmla="*/ 481899 h 638175"/>
                  <a:gd name="connsiteX530" fmla="*/ 880150 w 914400"/>
                  <a:gd name="connsiteY530" fmla="*/ 481899 h 638175"/>
                  <a:gd name="connsiteX531" fmla="*/ 887523 w 914400"/>
                  <a:gd name="connsiteY531" fmla="*/ 470821 h 638175"/>
                  <a:gd name="connsiteX532" fmla="*/ 891218 w 914400"/>
                  <a:gd name="connsiteY532" fmla="*/ 467135 h 638175"/>
                  <a:gd name="connsiteX533" fmla="*/ 891218 w 914400"/>
                  <a:gd name="connsiteY533" fmla="*/ 463439 h 638175"/>
                  <a:gd name="connsiteX534" fmla="*/ 891218 w 914400"/>
                  <a:gd name="connsiteY534" fmla="*/ 459753 h 638175"/>
                  <a:gd name="connsiteX535" fmla="*/ 891218 w 914400"/>
                  <a:gd name="connsiteY535" fmla="*/ 448676 h 638175"/>
                  <a:gd name="connsiteX536" fmla="*/ 898591 w 914400"/>
                  <a:gd name="connsiteY536" fmla="*/ 444989 h 638175"/>
                  <a:gd name="connsiteX537" fmla="*/ 905973 w 914400"/>
                  <a:gd name="connsiteY537" fmla="*/ 444989 h 638175"/>
                  <a:gd name="connsiteX538" fmla="*/ 909659 w 914400"/>
                  <a:gd name="connsiteY538" fmla="*/ 437607 h 638175"/>
                  <a:gd name="connsiteX539" fmla="*/ 905973 w 914400"/>
                  <a:gd name="connsiteY539" fmla="*/ 433921 h 638175"/>
                  <a:gd name="connsiteX540" fmla="*/ 905973 w 914400"/>
                  <a:gd name="connsiteY540" fmla="*/ 426539 h 638175"/>
                  <a:gd name="connsiteX541" fmla="*/ 905973 w 914400"/>
                  <a:gd name="connsiteY541" fmla="*/ 422844 h 638175"/>
                  <a:gd name="connsiteX542" fmla="*/ 894905 w 914400"/>
                  <a:gd name="connsiteY542" fmla="*/ 419158 h 638175"/>
                  <a:gd name="connsiteX543" fmla="*/ 898591 w 914400"/>
                  <a:gd name="connsiteY543" fmla="*/ 419158 h 638175"/>
                  <a:gd name="connsiteX544" fmla="*/ 876455 w 914400"/>
                  <a:gd name="connsiteY544" fmla="*/ 404394 h 638175"/>
                  <a:gd name="connsiteX545" fmla="*/ 872769 w 914400"/>
                  <a:gd name="connsiteY545" fmla="*/ 400698 h 638175"/>
                  <a:gd name="connsiteX546" fmla="*/ 869082 w 914400"/>
                  <a:gd name="connsiteY546" fmla="*/ 393316 h 638175"/>
                  <a:gd name="connsiteX547" fmla="*/ 850632 w 914400"/>
                  <a:gd name="connsiteY547" fmla="*/ 385944 h 638175"/>
                  <a:gd name="connsiteX548" fmla="*/ 835878 w 914400"/>
                  <a:gd name="connsiteY548" fmla="*/ 385944 h 638175"/>
                  <a:gd name="connsiteX549" fmla="*/ 835878 w 914400"/>
                  <a:gd name="connsiteY549" fmla="*/ 382248 h 638175"/>
                  <a:gd name="connsiteX550" fmla="*/ 835878 w 914400"/>
                  <a:gd name="connsiteY550" fmla="*/ 374866 h 638175"/>
                  <a:gd name="connsiteX551" fmla="*/ 835878 w 914400"/>
                  <a:gd name="connsiteY551" fmla="*/ 371180 h 638175"/>
                  <a:gd name="connsiteX552" fmla="*/ 839564 w 914400"/>
                  <a:gd name="connsiteY552" fmla="*/ 367484 h 638175"/>
                  <a:gd name="connsiteX553" fmla="*/ 839564 w 914400"/>
                  <a:gd name="connsiteY553" fmla="*/ 363798 h 638175"/>
                  <a:gd name="connsiteX554" fmla="*/ 839564 w 914400"/>
                  <a:gd name="connsiteY554" fmla="*/ 360103 h 638175"/>
                  <a:gd name="connsiteX555" fmla="*/ 850632 w 914400"/>
                  <a:gd name="connsiteY555" fmla="*/ 360103 h 638175"/>
                  <a:gd name="connsiteX556" fmla="*/ 858014 w 914400"/>
                  <a:gd name="connsiteY556" fmla="*/ 356416 h 638175"/>
                  <a:gd name="connsiteX557" fmla="*/ 865396 w 914400"/>
                  <a:gd name="connsiteY557" fmla="*/ 352721 h 638175"/>
                  <a:gd name="connsiteX558" fmla="*/ 865396 w 914400"/>
                  <a:gd name="connsiteY558" fmla="*/ 349035 h 638175"/>
                  <a:gd name="connsiteX559" fmla="*/ 865396 w 914400"/>
                  <a:gd name="connsiteY559" fmla="*/ 345339 h 638175"/>
                  <a:gd name="connsiteX560" fmla="*/ 865396 w 914400"/>
                  <a:gd name="connsiteY560" fmla="*/ 341653 h 638175"/>
                  <a:gd name="connsiteX561" fmla="*/ 869082 w 914400"/>
                  <a:gd name="connsiteY561" fmla="*/ 341653 h 638175"/>
                  <a:gd name="connsiteX562" fmla="*/ 869082 w 914400"/>
                  <a:gd name="connsiteY562" fmla="*/ 337966 h 638175"/>
                  <a:gd name="connsiteX563" fmla="*/ 872769 w 914400"/>
                  <a:gd name="connsiteY563" fmla="*/ 323203 h 638175"/>
                  <a:gd name="connsiteX564" fmla="*/ 850632 w 914400"/>
                  <a:gd name="connsiteY564" fmla="*/ 323203 h 638175"/>
                  <a:gd name="connsiteX565" fmla="*/ 846946 w 914400"/>
                  <a:gd name="connsiteY565" fmla="*/ 323203 h 638175"/>
                  <a:gd name="connsiteX566" fmla="*/ 839564 w 914400"/>
                  <a:gd name="connsiteY566" fmla="*/ 319507 h 638175"/>
                  <a:gd name="connsiteX567" fmla="*/ 832192 w 914400"/>
                  <a:gd name="connsiteY567" fmla="*/ 315821 h 638175"/>
                  <a:gd name="connsiteX568" fmla="*/ 828496 w 914400"/>
                  <a:gd name="connsiteY568" fmla="*/ 315821 h 638175"/>
                  <a:gd name="connsiteX569" fmla="*/ 821124 w 914400"/>
                  <a:gd name="connsiteY569" fmla="*/ 315821 h 638175"/>
                  <a:gd name="connsiteX570" fmla="*/ 828496 w 914400"/>
                  <a:gd name="connsiteY570" fmla="*/ 304743 h 638175"/>
                  <a:gd name="connsiteX571" fmla="*/ 828496 w 914400"/>
                  <a:gd name="connsiteY571" fmla="*/ 293675 h 638175"/>
                  <a:gd name="connsiteX572" fmla="*/ 828496 w 914400"/>
                  <a:gd name="connsiteY572" fmla="*/ 289989 h 638175"/>
                  <a:gd name="connsiteX573" fmla="*/ 828496 w 914400"/>
                  <a:gd name="connsiteY573" fmla="*/ 286293 h 638175"/>
                  <a:gd name="connsiteX574" fmla="*/ 817428 w 914400"/>
                  <a:gd name="connsiteY574" fmla="*/ 278911 h 638175"/>
                  <a:gd name="connsiteX575" fmla="*/ 813742 w 914400"/>
                  <a:gd name="connsiteY575" fmla="*/ 278911 h 638175"/>
                  <a:gd name="connsiteX576" fmla="*/ 810056 w 914400"/>
                  <a:gd name="connsiteY576" fmla="*/ 286293 h 638175"/>
                  <a:gd name="connsiteX577" fmla="*/ 810056 w 914400"/>
                  <a:gd name="connsiteY577" fmla="*/ 282607 h 638175"/>
                  <a:gd name="connsiteX578" fmla="*/ 806360 w 914400"/>
                  <a:gd name="connsiteY578" fmla="*/ 278911 h 638175"/>
                  <a:gd name="connsiteX579" fmla="*/ 802674 w 914400"/>
                  <a:gd name="connsiteY579" fmla="*/ 282607 h 638175"/>
                  <a:gd name="connsiteX580" fmla="*/ 798988 w 914400"/>
                  <a:gd name="connsiteY580" fmla="*/ 286293 h 638175"/>
                  <a:gd name="connsiteX581" fmla="*/ 798988 w 914400"/>
                  <a:gd name="connsiteY581" fmla="*/ 289989 h 638175"/>
                  <a:gd name="connsiteX582" fmla="*/ 795302 w 914400"/>
                  <a:gd name="connsiteY582" fmla="*/ 286293 h 638175"/>
                  <a:gd name="connsiteX583" fmla="*/ 791606 w 914400"/>
                  <a:gd name="connsiteY583" fmla="*/ 282607 h 638175"/>
                  <a:gd name="connsiteX584" fmla="*/ 795302 w 914400"/>
                  <a:gd name="connsiteY584" fmla="*/ 278911 h 638175"/>
                  <a:gd name="connsiteX585" fmla="*/ 787920 w 914400"/>
                  <a:gd name="connsiteY585" fmla="*/ 275225 h 638175"/>
                  <a:gd name="connsiteX586" fmla="*/ 784234 w 914400"/>
                  <a:gd name="connsiteY586" fmla="*/ 275225 h 638175"/>
                  <a:gd name="connsiteX587" fmla="*/ 769470 w 914400"/>
                  <a:gd name="connsiteY587" fmla="*/ 278911 h 638175"/>
                  <a:gd name="connsiteX588" fmla="*/ 751029 w 914400"/>
                  <a:gd name="connsiteY588" fmla="*/ 275225 h 638175"/>
                  <a:gd name="connsiteX589" fmla="*/ 747334 w 914400"/>
                  <a:gd name="connsiteY589" fmla="*/ 275225 h 638175"/>
                  <a:gd name="connsiteX590" fmla="*/ 739961 w 914400"/>
                  <a:gd name="connsiteY590" fmla="*/ 278911 h 638175"/>
                  <a:gd name="connsiteX591" fmla="*/ 736266 w 914400"/>
                  <a:gd name="connsiteY591" fmla="*/ 275225 h 638175"/>
                  <a:gd name="connsiteX592" fmla="*/ 732580 w 914400"/>
                  <a:gd name="connsiteY592" fmla="*/ 275225 h 638175"/>
                  <a:gd name="connsiteX593" fmla="*/ 732580 w 914400"/>
                  <a:gd name="connsiteY593" fmla="*/ 271530 h 638175"/>
                  <a:gd name="connsiteX594" fmla="*/ 728893 w 914400"/>
                  <a:gd name="connsiteY594" fmla="*/ 267843 h 638175"/>
                  <a:gd name="connsiteX595" fmla="*/ 728893 w 914400"/>
                  <a:gd name="connsiteY595" fmla="*/ 260461 h 638175"/>
                  <a:gd name="connsiteX596" fmla="*/ 721512 w 914400"/>
                  <a:gd name="connsiteY596" fmla="*/ 260461 h 638175"/>
                  <a:gd name="connsiteX597" fmla="*/ 721512 w 914400"/>
                  <a:gd name="connsiteY597" fmla="*/ 256766 h 638175"/>
                  <a:gd name="connsiteX598" fmla="*/ 717825 w 914400"/>
                  <a:gd name="connsiteY598" fmla="*/ 256766 h 638175"/>
                  <a:gd name="connsiteX599" fmla="*/ 717825 w 914400"/>
                  <a:gd name="connsiteY599" fmla="*/ 249384 h 638175"/>
                  <a:gd name="connsiteX600" fmla="*/ 706757 w 914400"/>
                  <a:gd name="connsiteY600" fmla="*/ 242012 h 638175"/>
                  <a:gd name="connsiteX601" fmla="*/ 703071 w 914400"/>
                  <a:gd name="connsiteY601" fmla="*/ 234630 h 638175"/>
                  <a:gd name="connsiteX602" fmla="*/ 703071 w 914400"/>
                  <a:gd name="connsiteY602" fmla="*/ 230934 h 638175"/>
                  <a:gd name="connsiteX603" fmla="*/ 703071 w 914400"/>
                  <a:gd name="connsiteY603" fmla="*/ 227248 h 638175"/>
                  <a:gd name="connsiteX604" fmla="*/ 699375 w 914400"/>
                  <a:gd name="connsiteY604" fmla="*/ 227248 h 638175"/>
                  <a:gd name="connsiteX605" fmla="*/ 692003 w 914400"/>
                  <a:gd name="connsiteY605" fmla="*/ 227248 h 638175"/>
                  <a:gd name="connsiteX606" fmla="*/ 688307 w 914400"/>
                  <a:gd name="connsiteY606" fmla="*/ 227248 h 638175"/>
                  <a:gd name="connsiteX607" fmla="*/ 684621 w 914400"/>
                  <a:gd name="connsiteY607" fmla="*/ 227248 h 638175"/>
                  <a:gd name="connsiteX608" fmla="*/ 684621 w 914400"/>
                  <a:gd name="connsiteY608" fmla="*/ 223552 h 638175"/>
                  <a:gd name="connsiteX609" fmla="*/ 680935 w 914400"/>
                  <a:gd name="connsiteY609" fmla="*/ 227248 h 638175"/>
                  <a:gd name="connsiteX610" fmla="*/ 677239 w 914400"/>
                  <a:gd name="connsiteY610" fmla="*/ 227248 h 638175"/>
                  <a:gd name="connsiteX611" fmla="*/ 669867 w 914400"/>
                  <a:gd name="connsiteY611" fmla="*/ 227248 h 638175"/>
                  <a:gd name="connsiteX612" fmla="*/ 666171 w 914400"/>
                  <a:gd name="connsiteY612" fmla="*/ 230934 h 638175"/>
                  <a:gd name="connsiteX613" fmla="*/ 662485 w 914400"/>
                  <a:gd name="connsiteY613" fmla="*/ 230934 h 638175"/>
                  <a:gd name="connsiteX614" fmla="*/ 662485 w 914400"/>
                  <a:gd name="connsiteY614" fmla="*/ 238316 h 638175"/>
                  <a:gd name="connsiteX615" fmla="*/ 655113 w 914400"/>
                  <a:gd name="connsiteY615" fmla="*/ 238316 h 638175"/>
                  <a:gd name="connsiteX616" fmla="*/ 655113 w 914400"/>
                  <a:gd name="connsiteY616" fmla="*/ 242012 h 638175"/>
                  <a:gd name="connsiteX617" fmla="*/ 644045 w 914400"/>
                  <a:gd name="connsiteY617" fmla="*/ 242012 h 638175"/>
                  <a:gd name="connsiteX618" fmla="*/ 644045 w 914400"/>
                  <a:gd name="connsiteY618" fmla="*/ 238316 h 638175"/>
                  <a:gd name="connsiteX619" fmla="*/ 640349 w 914400"/>
                  <a:gd name="connsiteY619" fmla="*/ 238316 h 638175"/>
                  <a:gd name="connsiteX620" fmla="*/ 636663 w 914400"/>
                  <a:gd name="connsiteY620" fmla="*/ 238316 h 638175"/>
                  <a:gd name="connsiteX621" fmla="*/ 632977 w 914400"/>
                  <a:gd name="connsiteY621" fmla="*/ 238316 h 638175"/>
                  <a:gd name="connsiteX622" fmla="*/ 629281 w 914400"/>
                  <a:gd name="connsiteY622" fmla="*/ 242012 h 638175"/>
                  <a:gd name="connsiteX623" fmla="*/ 625595 w 914400"/>
                  <a:gd name="connsiteY623" fmla="*/ 238316 h 638175"/>
                  <a:gd name="connsiteX624" fmla="*/ 621909 w 914400"/>
                  <a:gd name="connsiteY624" fmla="*/ 238316 h 638175"/>
                  <a:gd name="connsiteX625" fmla="*/ 614527 w 914400"/>
                  <a:gd name="connsiteY625" fmla="*/ 238316 h 638175"/>
                  <a:gd name="connsiteX626" fmla="*/ 610840 w 914400"/>
                  <a:gd name="connsiteY626" fmla="*/ 238316 h 638175"/>
                  <a:gd name="connsiteX627" fmla="*/ 607145 w 914400"/>
                  <a:gd name="connsiteY627" fmla="*/ 238316 h 638175"/>
                  <a:gd name="connsiteX628" fmla="*/ 603459 w 914400"/>
                  <a:gd name="connsiteY628" fmla="*/ 238316 h 638175"/>
                  <a:gd name="connsiteX629" fmla="*/ 603459 w 914400"/>
                  <a:gd name="connsiteY629" fmla="*/ 242012 h 638175"/>
                  <a:gd name="connsiteX630" fmla="*/ 599772 w 914400"/>
                  <a:gd name="connsiteY630" fmla="*/ 238316 h 638175"/>
                  <a:gd name="connsiteX631" fmla="*/ 596077 w 914400"/>
                  <a:gd name="connsiteY631" fmla="*/ 238316 h 638175"/>
                  <a:gd name="connsiteX632" fmla="*/ 588704 w 914400"/>
                  <a:gd name="connsiteY632" fmla="*/ 238316 h 638175"/>
                  <a:gd name="connsiteX633" fmla="*/ 588704 w 914400"/>
                  <a:gd name="connsiteY633" fmla="*/ 234630 h 638175"/>
                  <a:gd name="connsiteX634" fmla="*/ 585009 w 914400"/>
                  <a:gd name="connsiteY634" fmla="*/ 234630 h 638175"/>
                  <a:gd name="connsiteX635" fmla="*/ 577636 w 914400"/>
                  <a:gd name="connsiteY635" fmla="*/ 238316 h 638175"/>
                  <a:gd name="connsiteX636" fmla="*/ 577636 w 914400"/>
                  <a:gd name="connsiteY636" fmla="*/ 242012 h 638175"/>
                  <a:gd name="connsiteX637" fmla="*/ 581323 w 914400"/>
                  <a:gd name="connsiteY637" fmla="*/ 245698 h 638175"/>
                  <a:gd name="connsiteX638" fmla="*/ 577636 w 914400"/>
                  <a:gd name="connsiteY638" fmla="*/ 249384 h 638175"/>
                  <a:gd name="connsiteX639" fmla="*/ 577636 w 914400"/>
                  <a:gd name="connsiteY639" fmla="*/ 245698 h 638175"/>
                  <a:gd name="connsiteX640" fmla="*/ 577636 w 914400"/>
                  <a:gd name="connsiteY640" fmla="*/ 242012 h 638175"/>
                  <a:gd name="connsiteX641" fmla="*/ 573950 w 914400"/>
                  <a:gd name="connsiteY641" fmla="*/ 242012 h 638175"/>
                  <a:gd name="connsiteX642" fmla="*/ 570254 w 914400"/>
                  <a:gd name="connsiteY642" fmla="*/ 242012 h 638175"/>
                  <a:gd name="connsiteX643" fmla="*/ 566568 w 914400"/>
                  <a:gd name="connsiteY643" fmla="*/ 234630 h 638175"/>
                  <a:gd name="connsiteX644" fmla="*/ 566568 w 914400"/>
                  <a:gd name="connsiteY644" fmla="*/ 230934 h 638175"/>
                  <a:gd name="connsiteX645" fmla="*/ 570254 w 914400"/>
                  <a:gd name="connsiteY645" fmla="*/ 227248 h 638175"/>
                  <a:gd name="connsiteX646" fmla="*/ 573950 w 914400"/>
                  <a:gd name="connsiteY646" fmla="*/ 227248 h 638175"/>
                  <a:gd name="connsiteX647" fmla="*/ 573950 w 914400"/>
                  <a:gd name="connsiteY647" fmla="*/ 223552 h 638175"/>
                  <a:gd name="connsiteX648" fmla="*/ 570254 w 914400"/>
                  <a:gd name="connsiteY648" fmla="*/ 223552 h 638175"/>
                  <a:gd name="connsiteX649" fmla="*/ 566568 w 914400"/>
                  <a:gd name="connsiteY649" fmla="*/ 223552 h 638175"/>
                  <a:gd name="connsiteX650" fmla="*/ 562882 w 914400"/>
                  <a:gd name="connsiteY650" fmla="*/ 223552 h 638175"/>
                  <a:gd name="connsiteX651" fmla="*/ 559186 w 914400"/>
                  <a:gd name="connsiteY651" fmla="*/ 219866 h 638175"/>
                  <a:gd name="connsiteX652" fmla="*/ 559186 w 914400"/>
                  <a:gd name="connsiteY652" fmla="*/ 216170 h 638175"/>
                  <a:gd name="connsiteX653" fmla="*/ 559186 w 914400"/>
                  <a:gd name="connsiteY653" fmla="*/ 212484 h 638175"/>
                  <a:gd name="connsiteX654" fmla="*/ 559186 w 914400"/>
                  <a:gd name="connsiteY654" fmla="*/ 208788 h 638175"/>
                  <a:gd name="connsiteX655" fmla="*/ 555500 w 914400"/>
                  <a:gd name="connsiteY655" fmla="*/ 205102 h 638175"/>
                  <a:gd name="connsiteX656" fmla="*/ 551814 w 914400"/>
                  <a:gd name="connsiteY656" fmla="*/ 201407 h 638175"/>
                  <a:gd name="connsiteX657" fmla="*/ 551814 w 914400"/>
                  <a:gd name="connsiteY657" fmla="*/ 190338 h 638175"/>
                  <a:gd name="connsiteX658" fmla="*/ 548118 w 914400"/>
                  <a:gd name="connsiteY658" fmla="*/ 190338 h 638175"/>
                  <a:gd name="connsiteX659" fmla="*/ 548118 w 914400"/>
                  <a:gd name="connsiteY659" fmla="*/ 186652 h 638175"/>
                  <a:gd name="connsiteX660" fmla="*/ 548118 w 914400"/>
                  <a:gd name="connsiteY660" fmla="*/ 182957 h 638175"/>
                  <a:gd name="connsiteX661" fmla="*/ 544432 w 914400"/>
                  <a:gd name="connsiteY661" fmla="*/ 182957 h 638175"/>
                  <a:gd name="connsiteX662" fmla="*/ 540746 w 914400"/>
                  <a:gd name="connsiteY662" fmla="*/ 182957 h 638175"/>
                  <a:gd name="connsiteX663" fmla="*/ 537050 w 914400"/>
                  <a:gd name="connsiteY663" fmla="*/ 182957 h 638175"/>
                  <a:gd name="connsiteX664" fmla="*/ 537050 w 914400"/>
                  <a:gd name="connsiteY664" fmla="*/ 171889 h 638175"/>
                  <a:gd name="connsiteX665" fmla="*/ 537050 w 914400"/>
                  <a:gd name="connsiteY665" fmla="*/ 168193 h 638175"/>
                  <a:gd name="connsiteX666" fmla="*/ 533364 w 914400"/>
                  <a:gd name="connsiteY666" fmla="*/ 168193 h 638175"/>
                  <a:gd name="connsiteX667" fmla="*/ 529678 w 914400"/>
                  <a:gd name="connsiteY667" fmla="*/ 168193 h 638175"/>
                  <a:gd name="connsiteX668" fmla="*/ 529678 w 914400"/>
                  <a:gd name="connsiteY668" fmla="*/ 164507 h 638175"/>
                  <a:gd name="connsiteX669" fmla="*/ 533364 w 914400"/>
                  <a:gd name="connsiteY669" fmla="*/ 164507 h 638175"/>
                  <a:gd name="connsiteX670" fmla="*/ 533364 w 914400"/>
                  <a:gd name="connsiteY670" fmla="*/ 157125 h 638175"/>
                  <a:gd name="connsiteX671" fmla="*/ 533364 w 914400"/>
                  <a:gd name="connsiteY671" fmla="*/ 149743 h 638175"/>
                  <a:gd name="connsiteX672" fmla="*/ 533364 w 914400"/>
                  <a:gd name="connsiteY672" fmla="*/ 142361 h 638175"/>
                  <a:gd name="connsiteX673" fmla="*/ 537050 w 914400"/>
                  <a:gd name="connsiteY673" fmla="*/ 142361 h 638175"/>
                  <a:gd name="connsiteX674" fmla="*/ 540746 w 914400"/>
                  <a:gd name="connsiteY674" fmla="*/ 138675 h 638175"/>
                  <a:gd name="connsiteX675" fmla="*/ 544432 w 914400"/>
                  <a:gd name="connsiteY675" fmla="*/ 138675 h 638175"/>
                  <a:gd name="connsiteX676" fmla="*/ 540746 w 914400"/>
                  <a:gd name="connsiteY676" fmla="*/ 134979 h 638175"/>
                  <a:gd name="connsiteX677" fmla="*/ 537050 w 914400"/>
                  <a:gd name="connsiteY677" fmla="*/ 134979 h 638175"/>
                  <a:gd name="connsiteX678" fmla="*/ 533364 w 914400"/>
                  <a:gd name="connsiteY678" fmla="*/ 131293 h 638175"/>
                  <a:gd name="connsiteX679" fmla="*/ 533364 w 914400"/>
                  <a:gd name="connsiteY679" fmla="*/ 127597 h 638175"/>
                  <a:gd name="connsiteX680" fmla="*/ 537050 w 914400"/>
                  <a:gd name="connsiteY680" fmla="*/ 127597 h 638175"/>
                  <a:gd name="connsiteX681" fmla="*/ 537050 w 914400"/>
                  <a:gd name="connsiteY681" fmla="*/ 123909 h 638175"/>
                  <a:gd name="connsiteX682" fmla="*/ 544432 w 914400"/>
                  <a:gd name="connsiteY682" fmla="*/ 123909 h 638175"/>
                  <a:gd name="connsiteX683" fmla="*/ 551814 w 914400"/>
                  <a:gd name="connsiteY683" fmla="*/ 120218 h 638175"/>
                  <a:gd name="connsiteX684" fmla="*/ 555500 w 914400"/>
                  <a:gd name="connsiteY684" fmla="*/ 120218 h 638175"/>
                  <a:gd name="connsiteX685" fmla="*/ 555500 w 914400"/>
                  <a:gd name="connsiteY685" fmla="*/ 116528 h 638175"/>
                  <a:gd name="connsiteX686" fmla="*/ 559186 w 914400"/>
                  <a:gd name="connsiteY686" fmla="*/ 116528 h 638175"/>
                  <a:gd name="connsiteX687" fmla="*/ 559186 w 914400"/>
                  <a:gd name="connsiteY687" fmla="*/ 109147 h 638175"/>
                  <a:gd name="connsiteX688" fmla="*/ 559186 w 914400"/>
                  <a:gd name="connsiteY688" fmla="*/ 105456 h 638175"/>
                  <a:gd name="connsiteX689" fmla="*/ 559186 w 914400"/>
                  <a:gd name="connsiteY689" fmla="*/ 101766 h 638175"/>
                  <a:gd name="connsiteX690" fmla="*/ 555500 w 914400"/>
                  <a:gd name="connsiteY690" fmla="*/ 101766 h 638175"/>
                  <a:gd name="connsiteX691" fmla="*/ 551814 w 914400"/>
                  <a:gd name="connsiteY691" fmla="*/ 98075 h 638175"/>
                  <a:gd name="connsiteX692" fmla="*/ 551814 w 914400"/>
                  <a:gd name="connsiteY692" fmla="*/ 90695 h 638175"/>
                  <a:gd name="connsiteX693" fmla="*/ 551814 w 914400"/>
                  <a:gd name="connsiteY693" fmla="*/ 87004 h 638175"/>
                  <a:gd name="connsiteX694" fmla="*/ 555500 w 914400"/>
                  <a:gd name="connsiteY694" fmla="*/ 83313 h 638175"/>
                  <a:gd name="connsiteX695" fmla="*/ 555500 w 914400"/>
                  <a:gd name="connsiteY695" fmla="*/ 75932 h 638175"/>
                  <a:gd name="connsiteX696" fmla="*/ 551814 w 914400"/>
                  <a:gd name="connsiteY696" fmla="*/ 72242 h 638175"/>
                  <a:gd name="connsiteX697" fmla="*/ 548118 w 914400"/>
                  <a:gd name="connsiteY697" fmla="*/ 68551 h 638175"/>
                  <a:gd name="connsiteX698" fmla="*/ 548118 w 914400"/>
                  <a:gd name="connsiteY698" fmla="*/ 61170 h 638175"/>
                  <a:gd name="connsiteX699" fmla="*/ 544432 w 914400"/>
                  <a:gd name="connsiteY699" fmla="*/ 50098 h 638175"/>
                  <a:gd name="connsiteX700" fmla="*/ 544432 w 914400"/>
                  <a:gd name="connsiteY700" fmla="*/ 46407 h 638175"/>
                  <a:gd name="connsiteX701" fmla="*/ 540746 w 914400"/>
                  <a:gd name="connsiteY701" fmla="*/ 42717 h 638175"/>
                  <a:gd name="connsiteX702" fmla="*/ 529678 w 914400"/>
                  <a:gd name="connsiteY702" fmla="*/ 39026 h 638175"/>
                  <a:gd name="connsiteX703" fmla="*/ 525982 w 914400"/>
                  <a:gd name="connsiteY703" fmla="*/ 35335 h 638175"/>
                  <a:gd name="connsiteX704" fmla="*/ 525982 w 914400"/>
                  <a:gd name="connsiteY704" fmla="*/ 31645 h 638175"/>
                  <a:gd name="connsiteX705" fmla="*/ 525982 w 914400"/>
                  <a:gd name="connsiteY705" fmla="*/ 27954 h 638175"/>
                  <a:gd name="connsiteX706" fmla="*/ 522296 w 914400"/>
                  <a:gd name="connsiteY706" fmla="*/ 24264 h 638175"/>
                  <a:gd name="connsiteX707" fmla="*/ 518610 w 914400"/>
                  <a:gd name="connsiteY707" fmla="*/ 20573 h 638175"/>
                  <a:gd name="connsiteX708" fmla="*/ 514924 w 914400"/>
                  <a:gd name="connsiteY708" fmla="*/ 20573 h 638175"/>
                  <a:gd name="connsiteX709" fmla="*/ 511228 w 914400"/>
                  <a:gd name="connsiteY709" fmla="*/ 16882 h 638175"/>
                  <a:gd name="connsiteX710" fmla="*/ 507542 w 914400"/>
                  <a:gd name="connsiteY710" fmla="*/ 20573 h 638175"/>
                  <a:gd name="connsiteX711" fmla="*/ 503856 w 914400"/>
                  <a:gd name="connsiteY711" fmla="*/ 20573 h 638175"/>
                  <a:gd name="connsiteX712" fmla="*/ 500160 w 914400"/>
                  <a:gd name="connsiteY712" fmla="*/ 20573 h 638175"/>
                  <a:gd name="connsiteX713" fmla="*/ 496474 w 914400"/>
                  <a:gd name="connsiteY713" fmla="*/ 24264 h 638175"/>
                  <a:gd name="connsiteX714" fmla="*/ 489092 w 914400"/>
                  <a:gd name="connsiteY714" fmla="*/ 31645 h 638175"/>
                  <a:gd name="connsiteX715" fmla="*/ 481720 w 914400"/>
                  <a:gd name="connsiteY715" fmla="*/ 39026 h 638175"/>
                  <a:gd name="connsiteX716" fmla="*/ 478024 w 914400"/>
                  <a:gd name="connsiteY716" fmla="*/ 42717 h 638175"/>
                  <a:gd name="connsiteX717" fmla="*/ 474338 w 914400"/>
                  <a:gd name="connsiteY717" fmla="*/ 39026 h 638175"/>
                  <a:gd name="connsiteX718" fmla="*/ 474338 w 914400"/>
                  <a:gd name="connsiteY718" fmla="*/ 35335 h 638175"/>
                  <a:gd name="connsiteX719" fmla="*/ 470652 w 914400"/>
                  <a:gd name="connsiteY719" fmla="*/ 39026 h 638175"/>
                  <a:gd name="connsiteX720" fmla="*/ 466956 w 914400"/>
                  <a:gd name="connsiteY720" fmla="*/ 42717 h 638175"/>
                  <a:gd name="connsiteX721" fmla="*/ 459583 w 914400"/>
                  <a:gd name="connsiteY721" fmla="*/ 46407 h 638175"/>
                  <a:gd name="connsiteX722" fmla="*/ 459583 w 914400"/>
                  <a:gd name="connsiteY722" fmla="*/ 39026 h 638175"/>
                  <a:gd name="connsiteX723" fmla="*/ 452202 w 914400"/>
                  <a:gd name="connsiteY723" fmla="*/ 27954 h 638175"/>
                  <a:gd name="connsiteX724" fmla="*/ 448516 w 914400"/>
                  <a:gd name="connsiteY724" fmla="*/ 20573 h 638175"/>
                  <a:gd name="connsiteX725" fmla="*/ 441134 w 914400"/>
                  <a:gd name="connsiteY725" fmla="*/ 9502 h 638175"/>
                  <a:gd name="connsiteX726" fmla="*/ 437447 w 914400"/>
                  <a:gd name="connsiteY726" fmla="*/ 5812 h 638175"/>
                  <a:gd name="connsiteX727" fmla="*/ 315699 w 914400"/>
                  <a:gd name="connsiteY727" fmla="*/ 138675 h 638175"/>
                  <a:gd name="connsiteX728" fmla="*/ 308326 w 914400"/>
                  <a:gd name="connsiteY728" fmla="*/ 134979 h 638175"/>
                  <a:gd name="connsiteX729" fmla="*/ 312013 w 914400"/>
                  <a:gd name="connsiteY729" fmla="*/ 138675 h 638175"/>
                  <a:gd name="connsiteX730" fmla="*/ 315699 w 914400"/>
                  <a:gd name="connsiteY730" fmla="*/ 1386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Lst>
                <a:rect l="l" t="t" r="r" b="b"/>
                <a:pathLst>
                  <a:path w="914400" h="638175">
                    <a:moveTo>
                      <a:pt x="437447" y="5812"/>
                    </a:moveTo>
                    <a:lnTo>
                      <a:pt x="430065" y="9502"/>
                    </a:lnTo>
                    <a:lnTo>
                      <a:pt x="430065" y="13193"/>
                    </a:lnTo>
                    <a:lnTo>
                      <a:pt x="426379" y="24264"/>
                    </a:lnTo>
                    <a:lnTo>
                      <a:pt x="422693" y="31645"/>
                    </a:lnTo>
                    <a:lnTo>
                      <a:pt x="422693" y="35335"/>
                    </a:lnTo>
                    <a:lnTo>
                      <a:pt x="422693" y="39026"/>
                    </a:lnTo>
                    <a:lnTo>
                      <a:pt x="418998" y="46407"/>
                    </a:lnTo>
                    <a:lnTo>
                      <a:pt x="418998" y="50098"/>
                    </a:lnTo>
                    <a:lnTo>
                      <a:pt x="418998" y="53789"/>
                    </a:lnTo>
                    <a:lnTo>
                      <a:pt x="415311" y="50098"/>
                    </a:lnTo>
                    <a:lnTo>
                      <a:pt x="415311" y="57479"/>
                    </a:lnTo>
                    <a:lnTo>
                      <a:pt x="411625" y="57479"/>
                    </a:lnTo>
                    <a:lnTo>
                      <a:pt x="411625" y="53789"/>
                    </a:lnTo>
                    <a:lnTo>
                      <a:pt x="411625" y="50098"/>
                    </a:lnTo>
                    <a:lnTo>
                      <a:pt x="407929" y="57479"/>
                    </a:lnTo>
                    <a:lnTo>
                      <a:pt x="407929" y="61170"/>
                    </a:lnTo>
                    <a:lnTo>
                      <a:pt x="411625" y="61170"/>
                    </a:lnTo>
                    <a:lnTo>
                      <a:pt x="411625" y="64860"/>
                    </a:lnTo>
                    <a:lnTo>
                      <a:pt x="407929" y="64860"/>
                    </a:lnTo>
                    <a:lnTo>
                      <a:pt x="411625" y="68551"/>
                    </a:lnTo>
                    <a:lnTo>
                      <a:pt x="407929" y="72242"/>
                    </a:lnTo>
                    <a:lnTo>
                      <a:pt x="404243" y="75932"/>
                    </a:lnTo>
                    <a:lnTo>
                      <a:pt x="393175" y="87004"/>
                    </a:lnTo>
                    <a:lnTo>
                      <a:pt x="385793" y="94385"/>
                    </a:lnTo>
                    <a:lnTo>
                      <a:pt x="378421" y="98075"/>
                    </a:lnTo>
                    <a:lnTo>
                      <a:pt x="378421" y="101766"/>
                    </a:lnTo>
                    <a:lnTo>
                      <a:pt x="374725" y="101766"/>
                    </a:lnTo>
                    <a:lnTo>
                      <a:pt x="371039" y="105456"/>
                    </a:lnTo>
                    <a:lnTo>
                      <a:pt x="367353" y="105456"/>
                    </a:lnTo>
                    <a:lnTo>
                      <a:pt x="363667" y="109147"/>
                    </a:lnTo>
                    <a:lnTo>
                      <a:pt x="363667" y="112837"/>
                    </a:lnTo>
                    <a:lnTo>
                      <a:pt x="359971" y="112837"/>
                    </a:lnTo>
                    <a:lnTo>
                      <a:pt x="359971" y="116528"/>
                    </a:lnTo>
                    <a:lnTo>
                      <a:pt x="356285" y="116528"/>
                    </a:lnTo>
                    <a:lnTo>
                      <a:pt x="352599" y="116528"/>
                    </a:lnTo>
                    <a:lnTo>
                      <a:pt x="345217" y="120218"/>
                    </a:lnTo>
                    <a:lnTo>
                      <a:pt x="341531" y="123909"/>
                    </a:lnTo>
                    <a:lnTo>
                      <a:pt x="337835" y="123909"/>
                    </a:lnTo>
                    <a:lnTo>
                      <a:pt x="334149" y="127597"/>
                    </a:lnTo>
                    <a:lnTo>
                      <a:pt x="326767" y="131293"/>
                    </a:lnTo>
                    <a:lnTo>
                      <a:pt x="323081" y="131293"/>
                    </a:lnTo>
                    <a:lnTo>
                      <a:pt x="319395" y="134979"/>
                    </a:lnTo>
                    <a:lnTo>
                      <a:pt x="315699" y="138675"/>
                    </a:lnTo>
                    <a:lnTo>
                      <a:pt x="315699" y="142361"/>
                    </a:lnTo>
                    <a:lnTo>
                      <a:pt x="312013" y="142361"/>
                    </a:lnTo>
                    <a:lnTo>
                      <a:pt x="308326" y="142361"/>
                    </a:lnTo>
                    <a:lnTo>
                      <a:pt x="308326" y="146057"/>
                    </a:lnTo>
                    <a:lnTo>
                      <a:pt x="308326" y="149743"/>
                    </a:lnTo>
                    <a:lnTo>
                      <a:pt x="304631" y="149743"/>
                    </a:lnTo>
                    <a:lnTo>
                      <a:pt x="304631" y="153439"/>
                    </a:lnTo>
                    <a:lnTo>
                      <a:pt x="300945" y="153439"/>
                    </a:lnTo>
                    <a:lnTo>
                      <a:pt x="300945" y="157125"/>
                    </a:lnTo>
                    <a:lnTo>
                      <a:pt x="297258" y="157125"/>
                    </a:lnTo>
                    <a:lnTo>
                      <a:pt x="297258" y="160811"/>
                    </a:lnTo>
                    <a:lnTo>
                      <a:pt x="289877" y="164507"/>
                    </a:lnTo>
                    <a:lnTo>
                      <a:pt x="286190" y="168193"/>
                    </a:lnTo>
                    <a:lnTo>
                      <a:pt x="282504" y="171889"/>
                    </a:lnTo>
                    <a:lnTo>
                      <a:pt x="282504" y="175575"/>
                    </a:lnTo>
                    <a:lnTo>
                      <a:pt x="278808" y="182957"/>
                    </a:lnTo>
                    <a:lnTo>
                      <a:pt x="278808" y="190338"/>
                    </a:lnTo>
                    <a:lnTo>
                      <a:pt x="275122" y="197720"/>
                    </a:lnTo>
                    <a:lnTo>
                      <a:pt x="275122" y="201407"/>
                    </a:lnTo>
                    <a:lnTo>
                      <a:pt x="271436" y="208788"/>
                    </a:lnTo>
                    <a:lnTo>
                      <a:pt x="267740" y="212484"/>
                    </a:lnTo>
                    <a:lnTo>
                      <a:pt x="252986" y="212484"/>
                    </a:lnTo>
                    <a:lnTo>
                      <a:pt x="249300" y="212484"/>
                    </a:lnTo>
                    <a:lnTo>
                      <a:pt x="241918" y="219866"/>
                    </a:lnTo>
                    <a:lnTo>
                      <a:pt x="238232" y="216170"/>
                    </a:lnTo>
                    <a:lnTo>
                      <a:pt x="234536" y="219866"/>
                    </a:lnTo>
                    <a:lnTo>
                      <a:pt x="223478" y="223552"/>
                    </a:lnTo>
                    <a:lnTo>
                      <a:pt x="216096" y="223552"/>
                    </a:lnTo>
                    <a:lnTo>
                      <a:pt x="212410" y="227248"/>
                    </a:lnTo>
                    <a:lnTo>
                      <a:pt x="205028" y="227248"/>
                    </a:lnTo>
                    <a:lnTo>
                      <a:pt x="201342" y="245698"/>
                    </a:lnTo>
                    <a:lnTo>
                      <a:pt x="201342" y="249384"/>
                    </a:lnTo>
                    <a:lnTo>
                      <a:pt x="208714" y="253080"/>
                    </a:lnTo>
                    <a:lnTo>
                      <a:pt x="208714" y="249384"/>
                    </a:lnTo>
                    <a:lnTo>
                      <a:pt x="223478" y="260461"/>
                    </a:lnTo>
                    <a:lnTo>
                      <a:pt x="223478" y="264148"/>
                    </a:lnTo>
                    <a:lnTo>
                      <a:pt x="223478" y="267843"/>
                    </a:lnTo>
                    <a:lnTo>
                      <a:pt x="223478" y="271530"/>
                    </a:lnTo>
                    <a:lnTo>
                      <a:pt x="223478" y="275225"/>
                    </a:lnTo>
                    <a:lnTo>
                      <a:pt x="223478" y="286293"/>
                    </a:lnTo>
                    <a:lnTo>
                      <a:pt x="227164" y="289989"/>
                    </a:lnTo>
                    <a:lnTo>
                      <a:pt x="245604" y="289989"/>
                    </a:lnTo>
                    <a:lnTo>
                      <a:pt x="245604" y="293675"/>
                    </a:lnTo>
                    <a:lnTo>
                      <a:pt x="241918" y="293675"/>
                    </a:lnTo>
                    <a:lnTo>
                      <a:pt x="245604" y="297361"/>
                    </a:lnTo>
                    <a:lnTo>
                      <a:pt x="245604" y="301057"/>
                    </a:lnTo>
                    <a:lnTo>
                      <a:pt x="245604" y="304743"/>
                    </a:lnTo>
                    <a:lnTo>
                      <a:pt x="249300" y="304743"/>
                    </a:lnTo>
                    <a:lnTo>
                      <a:pt x="252986" y="304743"/>
                    </a:lnTo>
                    <a:lnTo>
                      <a:pt x="252986" y="312125"/>
                    </a:lnTo>
                    <a:lnTo>
                      <a:pt x="260368" y="312125"/>
                    </a:lnTo>
                    <a:lnTo>
                      <a:pt x="260368" y="315821"/>
                    </a:lnTo>
                    <a:lnTo>
                      <a:pt x="260368" y="319507"/>
                    </a:lnTo>
                    <a:lnTo>
                      <a:pt x="252986" y="319507"/>
                    </a:lnTo>
                    <a:lnTo>
                      <a:pt x="252986" y="323203"/>
                    </a:lnTo>
                    <a:lnTo>
                      <a:pt x="252986" y="326889"/>
                    </a:lnTo>
                    <a:lnTo>
                      <a:pt x="256672" y="326889"/>
                    </a:lnTo>
                    <a:lnTo>
                      <a:pt x="256672" y="330585"/>
                    </a:lnTo>
                    <a:lnTo>
                      <a:pt x="252986" y="330585"/>
                    </a:lnTo>
                    <a:lnTo>
                      <a:pt x="249300" y="330585"/>
                    </a:lnTo>
                    <a:lnTo>
                      <a:pt x="249300" y="334271"/>
                    </a:lnTo>
                    <a:lnTo>
                      <a:pt x="245604" y="337966"/>
                    </a:lnTo>
                    <a:lnTo>
                      <a:pt x="245604" y="345339"/>
                    </a:lnTo>
                    <a:lnTo>
                      <a:pt x="245604" y="349035"/>
                    </a:lnTo>
                    <a:lnTo>
                      <a:pt x="241918" y="352721"/>
                    </a:lnTo>
                    <a:lnTo>
                      <a:pt x="238232" y="356416"/>
                    </a:lnTo>
                    <a:lnTo>
                      <a:pt x="234536" y="356416"/>
                    </a:lnTo>
                    <a:lnTo>
                      <a:pt x="234536" y="360103"/>
                    </a:lnTo>
                    <a:lnTo>
                      <a:pt x="238232" y="363798"/>
                    </a:lnTo>
                    <a:lnTo>
                      <a:pt x="245604" y="367484"/>
                    </a:lnTo>
                    <a:lnTo>
                      <a:pt x="249300" y="367484"/>
                    </a:lnTo>
                    <a:lnTo>
                      <a:pt x="252986" y="367484"/>
                    </a:lnTo>
                    <a:lnTo>
                      <a:pt x="256672" y="363798"/>
                    </a:lnTo>
                    <a:lnTo>
                      <a:pt x="260368" y="360103"/>
                    </a:lnTo>
                    <a:lnTo>
                      <a:pt x="264054" y="360103"/>
                    </a:lnTo>
                    <a:lnTo>
                      <a:pt x="267740" y="356416"/>
                    </a:lnTo>
                    <a:lnTo>
                      <a:pt x="267740" y="352721"/>
                    </a:lnTo>
                    <a:lnTo>
                      <a:pt x="271436" y="352721"/>
                    </a:lnTo>
                    <a:lnTo>
                      <a:pt x="271436" y="349035"/>
                    </a:lnTo>
                    <a:lnTo>
                      <a:pt x="271436" y="345339"/>
                    </a:lnTo>
                    <a:lnTo>
                      <a:pt x="267740" y="341653"/>
                    </a:lnTo>
                    <a:lnTo>
                      <a:pt x="278808" y="337966"/>
                    </a:lnTo>
                    <a:lnTo>
                      <a:pt x="282504" y="345339"/>
                    </a:lnTo>
                    <a:lnTo>
                      <a:pt x="282504" y="349035"/>
                    </a:lnTo>
                    <a:lnTo>
                      <a:pt x="282504" y="352721"/>
                    </a:lnTo>
                    <a:lnTo>
                      <a:pt x="282504" y="356416"/>
                    </a:lnTo>
                    <a:lnTo>
                      <a:pt x="286190" y="360103"/>
                    </a:lnTo>
                    <a:lnTo>
                      <a:pt x="282504" y="363798"/>
                    </a:lnTo>
                    <a:lnTo>
                      <a:pt x="282504" y="367484"/>
                    </a:lnTo>
                    <a:lnTo>
                      <a:pt x="282504" y="385944"/>
                    </a:lnTo>
                    <a:lnTo>
                      <a:pt x="289877" y="385944"/>
                    </a:lnTo>
                    <a:lnTo>
                      <a:pt x="289877" y="389630"/>
                    </a:lnTo>
                    <a:lnTo>
                      <a:pt x="286190" y="389630"/>
                    </a:lnTo>
                    <a:lnTo>
                      <a:pt x="297258" y="397012"/>
                    </a:lnTo>
                    <a:lnTo>
                      <a:pt x="297258" y="408080"/>
                    </a:lnTo>
                    <a:lnTo>
                      <a:pt x="297258" y="411776"/>
                    </a:lnTo>
                    <a:lnTo>
                      <a:pt x="297258" y="415462"/>
                    </a:lnTo>
                    <a:lnTo>
                      <a:pt x="297258" y="419158"/>
                    </a:lnTo>
                    <a:lnTo>
                      <a:pt x="300945" y="422844"/>
                    </a:lnTo>
                    <a:lnTo>
                      <a:pt x="304631" y="426539"/>
                    </a:lnTo>
                    <a:lnTo>
                      <a:pt x="308326" y="426539"/>
                    </a:lnTo>
                    <a:lnTo>
                      <a:pt x="308326" y="430226"/>
                    </a:lnTo>
                    <a:lnTo>
                      <a:pt x="312013" y="437607"/>
                    </a:lnTo>
                    <a:lnTo>
                      <a:pt x="312013" y="441294"/>
                    </a:lnTo>
                    <a:lnTo>
                      <a:pt x="315699" y="444989"/>
                    </a:lnTo>
                    <a:lnTo>
                      <a:pt x="312013" y="448676"/>
                    </a:lnTo>
                    <a:lnTo>
                      <a:pt x="315699" y="452371"/>
                    </a:lnTo>
                    <a:lnTo>
                      <a:pt x="315699" y="456057"/>
                    </a:lnTo>
                    <a:lnTo>
                      <a:pt x="315699" y="459753"/>
                    </a:lnTo>
                    <a:lnTo>
                      <a:pt x="312013" y="463439"/>
                    </a:lnTo>
                    <a:lnTo>
                      <a:pt x="304631" y="467135"/>
                    </a:lnTo>
                    <a:lnTo>
                      <a:pt x="297258" y="463439"/>
                    </a:lnTo>
                    <a:lnTo>
                      <a:pt x="286190" y="459753"/>
                    </a:lnTo>
                    <a:lnTo>
                      <a:pt x="278808" y="456057"/>
                    </a:lnTo>
                    <a:lnTo>
                      <a:pt x="275122" y="448676"/>
                    </a:lnTo>
                    <a:lnTo>
                      <a:pt x="271436" y="448676"/>
                    </a:lnTo>
                    <a:lnTo>
                      <a:pt x="267740" y="448676"/>
                    </a:lnTo>
                    <a:lnTo>
                      <a:pt x="264054" y="444989"/>
                    </a:lnTo>
                    <a:lnTo>
                      <a:pt x="260368" y="444989"/>
                    </a:lnTo>
                    <a:lnTo>
                      <a:pt x="252986" y="441294"/>
                    </a:lnTo>
                    <a:lnTo>
                      <a:pt x="249300" y="437607"/>
                    </a:lnTo>
                    <a:lnTo>
                      <a:pt x="245604" y="437607"/>
                    </a:lnTo>
                    <a:lnTo>
                      <a:pt x="241918" y="437607"/>
                    </a:lnTo>
                    <a:lnTo>
                      <a:pt x="230850" y="437607"/>
                    </a:lnTo>
                    <a:lnTo>
                      <a:pt x="227164" y="433921"/>
                    </a:lnTo>
                    <a:lnTo>
                      <a:pt x="223478" y="433921"/>
                    </a:lnTo>
                    <a:lnTo>
                      <a:pt x="219782" y="437607"/>
                    </a:lnTo>
                    <a:lnTo>
                      <a:pt x="216096" y="441294"/>
                    </a:lnTo>
                    <a:lnTo>
                      <a:pt x="212410" y="441294"/>
                    </a:lnTo>
                    <a:lnTo>
                      <a:pt x="205028" y="444989"/>
                    </a:lnTo>
                    <a:lnTo>
                      <a:pt x="201342" y="444989"/>
                    </a:lnTo>
                    <a:lnTo>
                      <a:pt x="197646" y="448676"/>
                    </a:lnTo>
                    <a:lnTo>
                      <a:pt x="193960" y="448676"/>
                    </a:lnTo>
                    <a:lnTo>
                      <a:pt x="186578" y="444989"/>
                    </a:lnTo>
                    <a:lnTo>
                      <a:pt x="182892" y="448676"/>
                    </a:lnTo>
                    <a:lnTo>
                      <a:pt x="179206" y="448676"/>
                    </a:lnTo>
                    <a:lnTo>
                      <a:pt x="175510" y="452371"/>
                    </a:lnTo>
                    <a:lnTo>
                      <a:pt x="175510" y="456057"/>
                    </a:lnTo>
                    <a:lnTo>
                      <a:pt x="171824" y="456057"/>
                    </a:lnTo>
                    <a:lnTo>
                      <a:pt x="168138" y="459753"/>
                    </a:lnTo>
                    <a:lnTo>
                      <a:pt x="164442" y="459753"/>
                    </a:lnTo>
                    <a:lnTo>
                      <a:pt x="160756" y="456057"/>
                    </a:lnTo>
                    <a:lnTo>
                      <a:pt x="157069" y="452371"/>
                    </a:lnTo>
                    <a:lnTo>
                      <a:pt x="146001" y="452371"/>
                    </a:lnTo>
                    <a:lnTo>
                      <a:pt x="142315" y="452371"/>
                    </a:lnTo>
                    <a:lnTo>
                      <a:pt x="134933" y="444989"/>
                    </a:lnTo>
                    <a:lnTo>
                      <a:pt x="127554" y="441294"/>
                    </a:lnTo>
                    <a:lnTo>
                      <a:pt x="123865" y="441294"/>
                    </a:lnTo>
                    <a:lnTo>
                      <a:pt x="120176" y="441294"/>
                    </a:lnTo>
                    <a:lnTo>
                      <a:pt x="120176" y="448676"/>
                    </a:lnTo>
                    <a:lnTo>
                      <a:pt x="116487" y="452371"/>
                    </a:lnTo>
                    <a:lnTo>
                      <a:pt x="112798" y="456057"/>
                    </a:lnTo>
                    <a:lnTo>
                      <a:pt x="109108" y="456057"/>
                    </a:lnTo>
                    <a:lnTo>
                      <a:pt x="105419" y="456057"/>
                    </a:lnTo>
                    <a:lnTo>
                      <a:pt x="101730" y="452371"/>
                    </a:lnTo>
                    <a:lnTo>
                      <a:pt x="98041" y="448676"/>
                    </a:lnTo>
                    <a:lnTo>
                      <a:pt x="94352" y="456057"/>
                    </a:lnTo>
                    <a:lnTo>
                      <a:pt x="90663" y="467135"/>
                    </a:lnTo>
                    <a:lnTo>
                      <a:pt x="83284" y="474517"/>
                    </a:lnTo>
                    <a:lnTo>
                      <a:pt x="79595" y="478203"/>
                    </a:lnTo>
                    <a:lnTo>
                      <a:pt x="83284" y="478203"/>
                    </a:lnTo>
                    <a:lnTo>
                      <a:pt x="79595" y="481899"/>
                    </a:lnTo>
                    <a:lnTo>
                      <a:pt x="75906" y="489271"/>
                    </a:lnTo>
                    <a:lnTo>
                      <a:pt x="72217" y="489271"/>
                    </a:lnTo>
                    <a:lnTo>
                      <a:pt x="72217" y="492967"/>
                    </a:lnTo>
                    <a:lnTo>
                      <a:pt x="68528" y="504035"/>
                    </a:lnTo>
                    <a:lnTo>
                      <a:pt x="64839" y="507730"/>
                    </a:lnTo>
                    <a:lnTo>
                      <a:pt x="64839" y="511417"/>
                    </a:lnTo>
                    <a:lnTo>
                      <a:pt x="61149" y="511417"/>
                    </a:lnTo>
                    <a:lnTo>
                      <a:pt x="53771" y="511417"/>
                    </a:lnTo>
                    <a:lnTo>
                      <a:pt x="50082" y="511417"/>
                    </a:lnTo>
                    <a:lnTo>
                      <a:pt x="50082" y="518799"/>
                    </a:lnTo>
                    <a:lnTo>
                      <a:pt x="46393" y="522494"/>
                    </a:lnTo>
                    <a:lnTo>
                      <a:pt x="42704" y="522494"/>
                    </a:lnTo>
                    <a:lnTo>
                      <a:pt x="39014" y="522494"/>
                    </a:lnTo>
                    <a:lnTo>
                      <a:pt x="35325" y="522494"/>
                    </a:lnTo>
                    <a:lnTo>
                      <a:pt x="35325" y="526180"/>
                    </a:lnTo>
                    <a:lnTo>
                      <a:pt x="35325" y="529876"/>
                    </a:lnTo>
                    <a:lnTo>
                      <a:pt x="39014" y="533562"/>
                    </a:lnTo>
                    <a:lnTo>
                      <a:pt x="39014" y="537248"/>
                    </a:lnTo>
                    <a:lnTo>
                      <a:pt x="35325" y="537248"/>
                    </a:lnTo>
                    <a:lnTo>
                      <a:pt x="31636" y="533562"/>
                    </a:lnTo>
                    <a:lnTo>
                      <a:pt x="20569" y="537248"/>
                    </a:lnTo>
                    <a:lnTo>
                      <a:pt x="16879" y="533562"/>
                    </a:lnTo>
                    <a:lnTo>
                      <a:pt x="9501" y="537248"/>
                    </a:lnTo>
                    <a:lnTo>
                      <a:pt x="5812" y="533562"/>
                    </a:lnTo>
                    <a:lnTo>
                      <a:pt x="5812" y="537248"/>
                    </a:lnTo>
                    <a:lnTo>
                      <a:pt x="5812" y="540944"/>
                    </a:lnTo>
                    <a:lnTo>
                      <a:pt x="9501" y="544630"/>
                    </a:lnTo>
                    <a:lnTo>
                      <a:pt x="5812" y="544630"/>
                    </a:lnTo>
                    <a:lnTo>
                      <a:pt x="9501" y="548326"/>
                    </a:lnTo>
                    <a:lnTo>
                      <a:pt x="13190" y="548326"/>
                    </a:lnTo>
                    <a:lnTo>
                      <a:pt x="16879" y="548326"/>
                    </a:lnTo>
                    <a:lnTo>
                      <a:pt x="24258" y="548326"/>
                    </a:lnTo>
                    <a:lnTo>
                      <a:pt x="20569" y="563090"/>
                    </a:lnTo>
                    <a:lnTo>
                      <a:pt x="20569" y="566776"/>
                    </a:lnTo>
                    <a:lnTo>
                      <a:pt x="13190" y="566776"/>
                    </a:lnTo>
                    <a:lnTo>
                      <a:pt x="13190" y="570472"/>
                    </a:lnTo>
                    <a:lnTo>
                      <a:pt x="13190" y="574158"/>
                    </a:lnTo>
                    <a:lnTo>
                      <a:pt x="16879" y="574158"/>
                    </a:lnTo>
                    <a:lnTo>
                      <a:pt x="20569" y="577854"/>
                    </a:lnTo>
                    <a:lnTo>
                      <a:pt x="27947" y="581540"/>
                    </a:lnTo>
                    <a:lnTo>
                      <a:pt x="31636" y="585226"/>
                    </a:lnTo>
                    <a:lnTo>
                      <a:pt x="35325" y="585226"/>
                    </a:lnTo>
                    <a:lnTo>
                      <a:pt x="35325" y="588922"/>
                    </a:lnTo>
                    <a:lnTo>
                      <a:pt x="39014" y="592608"/>
                    </a:lnTo>
                    <a:lnTo>
                      <a:pt x="39014" y="596303"/>
                    </a:lnTo>
                    <a:lnTo>
                      <a:pt x="42704" y="596303"/>
                    </a:lnTo>
                    <a:lnTo>
                      <a:pt x="42704" y="599990"/>
                    </a:lnTo>
                    <a:lnTo>
                      <a:pt x="46393" y="599990"/>
                    </a:lnTo>
                    <a:lnTo>
                      <a:pt x="50082" y="596303"/>
                    </a:lnTo>
                    <a:lnTo>
                      <a:pt x="53771" y="592608"/>
                    </a:lnTo>
                    <a:lnTo>
                      <a:pt x="57460" y="592608"/>
                    </a:lnTo>
                    <a:lnTo>
                      <a:pt x="61149" y="596303"/>
                    </a:lnTo>
                    <a:lnTo>
                      <a:pt x="64839" y="599990"/>
                    </a:lnTo>
                    <a:lnTo>
                      <a:pt x="75906" y="603685"/>
                    </a:lnTo>
                    <a:lnTo>
                      <a:pt x="75906" y="607372"/>
                    </a:lnTo>
                    <a:lnTo>
                      <a:pt x="75906" y="611067"/>
                    </a:lnTo>
                    <a:lnTo>
                      <a:pt x="75906" y="614753"/>
                    </a:lnTo>
                    <a:lnTo>
                      <a:pt x="79595" y="618449"/>
                    </a:lnTo>
                    <a:lnTo>
                      <a:pt x="75906" y="622135"/>
                    </a:lnTo>
                    <a:lnTo>
                      <a:pt x="72217" y="625831"/>
                    </a:lnTo>
                    <a:lnTo>
                      <a:pt x="68528" y="625831"/>
                    </a:lnTo>
                    <a:lnTo>
                      <a:pt x="68528" y="629517"/>
                    </a:lnTo>
                    <a:lnTo>
                      <a:pt x="72217" y="633203"/>
                    </a:lnTo>
                    <a:lnTo>
                      <a:pt x="79595" y="629517"/>
                    </a:lnTo>
                    <a:lnTo>
                      <a:pt x="86973" y="629517"/>
                    </a:lnTo>
                    <a:lnTo>
                      <a:pt x="94352" y="629517"/>
                    </a:lnTo>
                    <a:lnTo>
                      <a:pt x="98041" y="629517"/>
                    </a:lnTo>
                    <a:lnTo>
                      <a:pt x="105419" y="629517"/>
                    </a:lnTo>
                    <a:lnTo>
                      <a:pt x="109108" y="629517"/>
                    </a:lnTo>
                    <a:lnTo>
                      <a:pt x="112798" y="629517"/>
                    </a:lnTo>
                    <a:lnTo>
                      <a:pt x="116487" y="625831"/>
                    </a:lnTo>
                    <a:lnTo>
                      <a:pt x="120176" y="629517"/>
                    </a:lnTo>
                    <a:lnTo>
                      <a:pt x="127554" y="633203"/>
                    </a:lnTo>
                    <a:lnTo>
                      <a:pt x="131243" y="636899"/>
                    </a:lnTo>
                    <a:lnTo>
                      <a:pt x="134933" y="633203"/>
                    </a:lnTo>
                    <a:lnTo>
                      <a:pt x="138620" y="629517"/>
                    </a:lnTo>
                    <a:lnTo>
                      <a:pt x="146001" y="629517"/>
                    </a:lnTo>
                    <a:lnTo>
                      <a:pt x="153383" y="633203"/>
                    </a:lnTo>
                    <a:lnTo>
                      <a:pt x="157069" y="633203"/>
                    </a:lnTo>
                    <a:lnTo>
                      <a:pt x="157069" y="629517"/>
                    </a:lnTo>
                    <a:lnTo>
                      <a:pt x="164442" y="625831"/>
                    </a:lnTo>
                    <a:lnTo>
                      <a:pt x="182892" y="618449"/>
                    </a:lnTo>
                    <a:lnTo>
                      <a:pt x="182892" y="614753"/>
                    </a:lnTo>
                    <a:lnTo>
                      <a:pt x="186578" y="614753"/>
                    </a:lnTo>
                    <a:lnTo>
                      <a:pt x="186578" y="607372"/>
                    </a:lnTo>
                    <a:lnTo>
                      <a:pt x="186578" y="599990"/>
                    </a:lnTo>
                    <a:lnTo>
                      <a:pt x="190274" y="592608"/>
                    </a:lnTo>
                    <a:lnTo>
                      <a:pt x="190274" y="588922"/>
                    </a:lnTo>
                    <a:lnTo>
                      <a:pt x="197646" y="577854"/>
                    </a:lnTo>
                    <a:lnTo>
                      <a:pt x="201342" y="574158"/>
                    </a:lnTo>
                    <a:lnTo>
                      <a:pt x="205028" y="570472"/>
                    </a:lnTo>
                    <a:lnTo>
                      <a:pt x="205028" y="566776"/>
                    </a:lnTo>
                    <a:lnTo>
                      <a:pt x="208714" y="563090"/>
                    </a:lnTo>
                    <a:lnTo>
                      <a:pt x="212410" y="563090"/>
                    </a:lnTo>
                    <a:lnTo>
                      <a:pt x="212410" y="566776"/>
                    </a:lnTo>
                    <a:lnTo>
                      <a:pt x="216096" y="570472"/>
                    </a:lnTo>
                    <a:lnTo>
                      <a:pt x="219782" y="574158"/>
                    </a:lnTo>
                    <a:lnTo>
                      <a:pt x="223478" y="574158"/>
                    </a:lnTo>
                    <a:lnTo>
                      <a:pt x="230850" y="574158"/>
                    </a:lnTo>
                    <a:lnTo>
                      <a:pt x="238232" y="574158"/>
                    </a:lnTo>
                    <a:lnTo>
                      <a:pt x="241918" y="570472"/>
                    </a:lnTo>
                    <a:lnTo>
                      <a:pt x="245604" y="563090"/>
                    </a:lnTo>
                    <a:lnTo>
                      <a:pt x="245604" y="559394"/>
                    </a:lnTo>
                    <a:lnTo>
                      <a:pt x="249300" y="559394"/>
                    </a:lnTo>
                    <a:lnTo>
                      <a:pt x="252986" y="559394"/>
                    </a:lnTo>
                    <a:lnTo>
                      <a:pt x="256672" y="559394"/>
                    </a:lnTo>
                    <a:lnTo>
                      <a:pt x="260368" y="563090"/>
                    </a:lnTo>
                    <a:lnTo>
                      <a:pt x="260368" y="566776"/>
                    </a:lnTo>
                    <a:lnTo>
                      <a:pt x="264054" y="566776"/>
                    </a:lnTo>
                    <a:lnTo>
                      <a:pt x="267740" y="566776"/>
                    </a:lnTo>
                    <a:lnTo>
                      <a:pt x="271436" y="570472"/>
                    </a:lnTo>
                    <a:lnTo>
                      <a:pt x="275122" y="570472"/>
                    </a:lnTo>
                    <a:lnTo>
                      <a:pt x="278808" y="566776"/>
                    </a:lnTo>
                    <a:lnTo>
                      <a:pt x="278808" y="563090"/>
                    </a:lnTo>
                    <a:lnTo>
                      <a:pt x="282504" y="559394"/>
                    </a:lnTo>
                    <a:lnTo>
                      <a:pt x="286190" y="559394"/>
                    </a:lnTo>
                    <a:lnTo>
                      <a:pt x="293572" y="559394"/>
                    </a:lnTo>
                    <a:lnTo>
                      <a:pt x="297258" y="559394"/>
                    </a:lnTo>
                    <a:lnTo>
                      <a:pt x="300945" y="559394"/>
                    </a:lnTo>
                    <a:lnTo>
                      <a:pt x="308326" y="563090"/>
                    </a:lnTo>
                    <a:lnTo>
                      <a:pt x="312013" y="566776"/>
                    </a:lnTo>
                    <a:lnTo>
                      <a:pt x="315699" y="566776"/>
                    </a:lnTo>
                    <a:lnTo>
                      <a:pt x="323081" y="566776"/>
                    </a:lnTo>
                    <a:lnTo>
                      <a:pt x="326767" y="570472"/>
                    </a:lnTo>
                    <a:lnTo>
                      <a:pt x="326767" y="577854"/>
                    </a:lnTo>
                    <a:lnTo>
                      <a:pt x="330463" y="581540"/>
                    </a:lnTo>
                    <a:lnTo>
                      <a:pt x="334149" y="585226"/>
                    </a:lnTo>
                    <a:lnTo>
                      <a:pt x="337835" y="588922"/>
                    </a:lnTo>
                    <a:lnTo>
                      <a:pt x="341531" y="588922"/>
                    </a:lnTo>
                    <a:lnTo>
                      <a:pt x="345217" y="588922"/>
                    </a:lnTo>
                    <a:lnTo>
                      <a:pt x="348903" y="592608"/>
                    </a:lnTo>
                    <a:lnTo>
                      <a:pt x="352599" y="592608"/>
                    </a:lnTo>
                    <a:lnTo>
                      <a:pt x="352599" y="599990"/>
                    </a:lnTo>
                    <a:lnTo>
                      <a:pt x="356285" y="599990"/>
                    </a:lnTo>
                    <a:lnTo>
                      <a:pt x="359971" y="603685"/>
                    </a:lnTo>
                    <a:lnTo>
                      <a:pt x="363667" y="603685"/>
                    </a:lnTo>
                    <a:lnTo>
                      <a:pt x="367353" y="603685"/>
                    </a:lnTo>
                    <a:lnTo>
                      <a:pt x="371039" y="607372"/>
                    </a:lnTo>
                    <a:lnTo>
                      <a:pt x="374725" y="611067"/>
                    </a:lnTo>
                    <a:lnTo>
                      <a:pt x="374725" y="614753"/>
                    </a:lnTo>
                    <a:lnTo>
                      <a:pt x="378421" y="618449"/>
                    </a:lnTo>
                    <a:lnTo>
                      <a:pt x="382107" y="618449"/>
                    </a:lnTo>
                    <a:lnTo>
                      <a:pt x="385793" y="618449"/>
                    </a:lnTo>
                    <a:lnTo>
                      <a:pt x="393175" y="618449"/>
                    </a:lnTo>
                    <a:lnTo>
                      <a:pt x="396861" y="618449"/>
                    </a:lnTo>
                    <a:lnTo>
                      <a:pt x="407929" y="614753"/>
                    </a:lnTo>
                    <a:lnTo>
                      <a:pt x="411625" y="614753"/>
                    </a:lnTo>
                    <a:lnTo>
                      <a:pt x="422693" y="614753"/>
                    </a:lnTo>
                    <a:lnTo>
                      <a:pt x="430065" y="614753"/>
                    </a:lnTo>
                    <a:lnTo>
                      <a:pt x="433761" y="614753"/>
                    </a:lnTo>
                    <a:lnTo>
                      <a:pt x="437447" y="614753"/>
                    </a:lnTo>
                    <a:lnTo>
                      <a:pt x="437447" y="611067"/>
                    </a:lnTo>
                    <a:lnTo>
                      <a:pt x="437447" y="607372"/>
                    </a:lnTo>
                    <a:lnTo>
                      <a:pt x="433761" y="603685"/>
                    </a:lnTo>
                    <a:lnTo>
                      <a:pt x="437447" y="599990"/>
                    </a:lnTo>
                    <a:lnTo>
                      <a:pt x="444820" y="599990"/>
                    </a:lnTo>
                    <a:lnTo>
                      <a:pt x="448516" y="599990"/>
                    </a:lnTo>
                    <a:lnTo>
                      <a:pt x="452202" y="603685"/>
                    </a:lnTo>
                    <a:lnTo>
                      <a:pt x="455888" y="607372"/>
                    </a:lnTo>
                    <a:lnTo>
                      <a:pt x="455888" y="611067"/>
                    </a:lnTo>
                    <a:lnTo>
                      <a:pt x="459583" y="614753"/>
                    </a:lnTo>
                    <a:lnTo>
                      <a:pt x="459583" y="618449"/>
                    </a:lnTo>
                    <a:lnTo>
                      <a:pt x="463270" y="622135"/>
                    </a:lnTo>
                    <a:lnTo>
                      <a:pt x="466956" y="622135"/>
                    </a:lnTo>
                    <a:lnTo>
                      <a:pt x="466956" y="625831"/>
                    </a:lnTo>
                    <a:lnTo>
                      <a:pt x="470652" y="629517"/>
                    </a:lnTo>
                    <a:lnTo>
                      <a:pt x="474338" y="629517"/>
                    </a:lnTo>
                    <a:lnTo>
                      <a:pt x="478024" y="625831"/>
                    </a:lnTo>
                    <a:lnTo>
                      <a:pt x="478024" y="622135"/>
                    </a:lnTo>
                    <a:lnTo>
                      <a:pt x="481720" y="618449"/>
                    </a:lnTo>
                    <a:lnTo>
                      <a:pt x="489092" y="614753"/>
                    </a:lnTo>
                    <a:lnTo>
                      <a:pt x="492788" y="614753"/>
                    </a:lnTo>
                    <a:lnTo>
                      <a:pt x="496474" y="607372"/>
                    </a:lnTo>
                    <a:lnTo>
                      <a:pt x="496474" y="603685"/>
                    </a:lnTo>
                    <a:lnTo>
                      <a:pt x="492788" y="603685"/>
                    </a:lnTo>
                    <a:lnTo>
                      <a:pt x="492788" y="596303"/>
                    </a:lnTo>
                    <a:lnTo>
                      <a:pt x="496474" y="596303"/>
                    </a:lnTo>
                    <a:lnTo>
                      <a:pt x="492788" y="592608"/>
                    </a:lnTo>
                    <a:lnTo>
                      <a:pt x="489092" y="592608"/>
                    </a:lnTo>
                    <a:lnTo>
                      <a:pt x="489092" y="588922"/>
                    </a:lnTo>
                    <a:lnTo>
                      <a:pt x="489092" y="585226"/>
                    </a:lnTo>
                    <a:lnTo>
                      <a:pt x="489092" y="581540"/>
                    </a:lnTo>
                    <a:lnTo>
                      <a:pt x="481720" y="574158"/>
                    </a:lnTo>
                    <a:lnTo>
                      <a:pt x="478024" y="574158"/>
                    </a:lnTo>
                    <a:lnTo>
                      <a:pt x="474338" y="574158"/>
                    </a:lnTo>
                    <a:lnTo>
                      <a:pt x="474338" y="570472"/>
                    </a:lnTo>
                    <a:lnTo>
                      <a:pt x="478024" y="566776"/>
                    </a:lnTo>
                    <a:lnTo>
                      <a:pt x="481720" y="566776"/>
                    </a:lnTo>
                    <a:lnTo>
                      <a:pt x="474338" y="563090"/>
                    </a:lnTo>
                    <a:lnTo>
                      <a:pt x="481720" y="552012"/>
                    </a:lnTo>
                    <a:lnTo>
                      <a:pt x="485406" y="552012"/>
                    </a:lnTo>
                    <a:lnTo>
                      <a:pt x="485406" y="555708"/>
                    </a:lnTo>
                    <a:lnTo>
                      <a:pt x="492788" y="555708"/>
                    </a:lnTo>
                    <a:lnTo>
                      <a:pt x="496474" y="555708"/>
                    </a:lnTo>
                    <a:lnTo>
                      <a:pt x="503856" y="552012"/>
                    </a:lnTo>
                    <a:lnTo>
                      <a:pt x="507542" y="552012"/>
                    </a:lnTo>
                    <a:lnTo>
                      <a:pt x="511228" y="548326"/>
                    </a:lnTo>
                    <a:lnTo>
                      <a:pt x="514924" y="544630"/>
                    </a:lnTo>
                    <a:lnTo>
                      <a:pt x="518610" y="548326"/>
                    </a:lnTo>
                    <a:lnTo>
                      <a:pt x="522296" y="544630"/>
                    </a:lnTo>
                    <a:lnTo>
                      <a:pt x="525982" y="540944"/>
                    </a:lnTo>
                    <a:lnTo>
                      <a:pt x="529678" y="540944"/>
                    </a:lnTo>
                    <a:lnTo>
                      <a:pt x="525982" y="537248"/>
                    </a:lnTo>
                    <a:lnTo>
                      <a:pt x="529678" y="533562"/>
                    </a:lnTo>
                    <a:lnTo>
                      <a:pt x="533364" y="529876"/>
                    </a:lnTo>
                    <a:lnTo>
                      <a:pt x="537050" y="533562"/>
                    </a:lnTo>
                    <a:lnTo>
                      <a:pt x="544432" y="540944"/>
                    </a:lnTo>
                    <a:lnTo>
                      <a:pt x="548118" y="540944"/>
                    </a:lnTo>
                    <a:lnTo>
                      <a:pt x="551814" y="540944"/>
                    </a:lnTo>
                    <a:lnTo>
                      <a:pt x="566568" y="544630"/>
                    </a:lnTo>
                    <a:lnTo>
                      <a:pt x="577636" y="544630"/>
                    </a:lnTo>
                    <a:lnTo>
                      <a:pt x="581323" y="548326"/>
                    </a:lnTo>
                    <a:lnTo>
                      <a:pt x="581323" y="540944"/>
                    </a:lnTo>
                    <a:lnTo>
                      <a:pt x="581323" y="537248"/>
                    </a:lnTo>
                    <a:lnTo>
                      <a:pt x="581323" y="533562"/>
                    </a:lnTo>
                    <a:lnTo>
                      <a:pt x="581323" y="529876"/>
                    </a:lnTo>
                    <a:lnTo>
                      <a:pt x="573950" y="526180"/>
                    </a:lnTo>
                    <a:lnTo>
                      <a:pt x="570254" y="526180"/>
                    </a:lnTo>
                    <a:lnTo>
                      <a:pt x="570254" y="522494"/>
                    </a:lnTo>
                    <a:lnTo>
                      <a:pt x="570254" y="518799"/>
                    </a:lnTo>
                    <a:lnTo>
                      <a:pt x="566568" y="511417"/>
                    </a:lnTo>
                    <a:lnTo>
                      <a:pt x="562882" y="507730"/>
                    </a:lnTo>
                    <a:lnTo>
                      <a:pt x="555500" y="507730"/>
                    </a:lnTo>
                    <a:lnTo>
                      <a:pt x="551814" y="507730"/>
                    </a:lnTo>
                    <a:lnTo>
                      <a:pt x="555500" y="504035"/>
                    </a:lnTo>
                    <a:lnTo>
                      <a:pt x="555500" y="500349"/>
                    </a:lnTo>
                    <a:lnTo>
                      <a:pt x="559186" y="500349"/>
                    </a:lnTo>
                    <a:lnTo>
                      <a:pt x="562882" y="504035"/>
                    </a:lnTo>
                    <a:lnTo>
                      <a:pt x="577636" y="496653"/>
                    </a:lnTo>
                    <a:lnTo>
                      <a:pt x="581323" y="500349"/>
                    </a:lnTo>
                    <a:lnTo>
                      <a:pt x="585009" y="500349"/>
                    </a:lnTo>
                    <a:lnTo>
                      <a:pt x="588704" y="504035"/>
                    </a:lnTo>
                    <a:lnTo>
                      <a:pt x="596077" y="507730"/>
                    </a:lnTo>
                    <a:lnTo>
                      <a:pt x="596077" y="511417"/>
                    </a:lnTo>
                    <a:lnTo>
                      <a:pt x="588704" y="511417"/>
                    </a:lnTo>
                    <a:lnTo>
                      <a:pt x="592391" y="515112"/>
                    </a:lnTo>
                    <a:lnTo>
                      <a:pt x="596077" y="518799"/>
                    </a:lnTo>
                    <a:lnTo>
                      <a:pt x="599772" y="522494"/>
                    </a:lnTo>
                    <a:lnTo>
                      <a:pt x="607145" y="526180"/>
                    </a:lnTo>
                    <a:lnTo>
                      <a:pt x="614527" y="526180"/>
                    </a:lnTo>
                    <a:lnTo>
                      <a:pt x="614527" y="522494"/>
                    </a:lnTo>
                    <a:lnTo>
                      <a:pt x="621909" y="522494"/>
                    </a:lnTo>
                    <a:lnTo>
                      <a:pt x="625595" y="526180"/>
                    </a:lnTo>
                    <a:lnTo>
                      <a:pt x="629281" y="526180"/>
                    </a:lnTo>
                    <a:lnTo>
                      <a:pt x="629281" y="522494"/>
                    </a:lnTo>
                    <a:lnTo>
                      <a:pt x="632977" y="522494"/>
                    </a:lnTo>
                    <a:lnTo>
                      <a:pt x="632977" y="518799"/>
                    </a:lnTo>
                    <a:lnTo>
                      <a:pt x="636663" y="522494"/>
                    </a:lnTo>
                    <a:lnTo>
                      <a:pt x="647731" y="526180"/>
                    </a:lnTo>
                    <a:lnTo>
                      <a:pt x="647731" y="529876"/>
                    </a:lnTo>
                    <a:lnTo>
                      <a:pt x="651417" y="537248"/>
                    </a:lnTo>
                    <a:lnTo>
                      <a:pt x="651417" y="540944"/>
                    </a:lnTo>
                    <a:lnTo>
                      <a:pt x="658799" y="537248"/>
                    </a:lnTo>
                    <a:lnTo>
                      <a:pt x="666171" y="537248"/>
                    </a:lnTo>
                    <a:lnTo>
                      <a:pt x="669867" y="537248"/>
                    </a:lnTo>
                    <a:lnTo>
                      <a:pt x="673553" y="540944"/>
                    </a:lnTo>
                    <a:lnTo>
                      <a:pt x="677239" y="540944"/>
                    </a:lnTo>
                    <a:lnTo>
                      <a:pt x="680935" y="544630"/>
                    </a:lnTo>
                    <a:lnTo>
                      <a:pt x="680935" y="548326"/>
                    </a:lnTo>
                    <a:lnTo>
                      <a:pt x="680935" y="552012"/>
                    </a:lnTo>
                    <a:lnTo>
                      <a:pt x="684621" y="552012"/>
                    </a:lnTo>
                    <a:lnTo>
                      <a:pt x="688307" y="552012"/>
                    </a:lnTo>
                    <a:lnTo>
                      <a:pt x="692003" y="552012"/>
                    </a:lnTo>
                    <a:lnTo>
                      <a:pt x="699375" y="555708"/>
                    </a:lnTo>
                    <a:lnTo>
                      <a:pt x="703071" y="555708"/>
                    </a:lnTo>
                    <a:lnTo>
                      <a:pt x="699375" y="548326"/>
                    </a:lnTo>
                    <a:lnTo>
                      <a:pt x="703071" y="552012"/>
                    </a:lnTo>
                    <a:lnTo>
                      <a:pt x="699375" y="544630"/>
                    </a:lnTo>
                    <a:lnTo>
                      <a:pt x="699375" y="540944"/>
                    </a:lnTo>
                    <a:lnTo>
                      <a:pt x="703071" y="537248"/>
                    </a:lnTo>
                    <a:lnTo>
                      <a:pt x="699375" y="537248"/>
                    </a:lnTo>
                    <a:lnTo>
                      <a:pt x="699375" y="533562"/>
                    </a:lnTo>
                    <a:lnTo>
                      <a:pt x="695689" y="533562"/>
                    </a:lnTo>
                    <a:lnTo>
                      <a:pt x="692003" y="529876"/>
                    </a:lnTo>
                    <a:lnTo>
                      <a:pt x="692003" y="526180"/>
                    </a:lnTo>
                    <a:lnTo>
                      <a:pt x="692003" y="518799"/>
                    </a:lnTo>
                    <a:lnTo>
                      <a:pt x="699375" y="522494"/>
                    </a:lnTo>
                    <a:lnTo>
                      <a:pt x="703071" y="522494"/>
                    </a:lnTo>
                    <a:lnTo>
                      <a:pt x="706757" y="526180"/>
                    </a:lnTo>
                    <a:lnTo>
                      <a:pt x="710443" y="526180"/>
                    </a:lnTo>
                    <a:lnTo>
                      <a:pt x="710443" y="529876"/>
                    </a:lnTo>
                    <a:lnTo>
                      <a:pt x="714139" y="529876"/>
                    </a:lnTo>
                    <a:lnTo>
                      <a:pt x="717825" y="529876"/>
                    </a:lnTo>
                    <a:lnTo>
                      <a:pt x="721512" y="526180"/>
                    </a:lnTo>
                    <a:lnTo>
                      <a:pt x="725207" y="533562"/>
                    </a:lnTo>
                    <a:lnTo>
                      <a:pt x="728893" y="533562"/>
                    </a:lnTo>
                    <a:lnTo>
                      <a:pt x="732580" y="537248"/>
                    </a:lnTo>
                    <a:lnTo>
                      <a:pt x="736266" y="533562"/>
                    </a:lnTo>
                    <a:lnTo>
                      <a:pt x="747334" y="529876"/>
                    </a:lnTo>
                    <a:lnTo>
                      <a:pt x="747334" y="526180"/>
                    </a:lnTo>
                    <a:lnTo>
                      <a:pt x="747334" y="522494"/>
                    </a:lnTo>
                    <a:lnTo>
                      <a:pt x="751029" y="522494"/>
                    </a:lnTo>
                    <a:lnTo>
                      <a:pt x="754716" y="518799"/>
                    </a:lnTo>
                    <a:lnTo>
                      <a:pt x="758402" y="518799"/>
                    </a:lnTo>
                    <a:lnTo>
                      <a:pt x="762098" y="518799"/>
                    </a:lnTo>
                    <a:lnTo>
                      <a:pt x="765784" y="515112"/>
                    </a:lnTo>
                    <a:lnTo>
                      <a:pt x="765784" y="511417"/>
                    </a:lnTo>
                    <a:lnTo>
                      <a:pt x="769470" y="511417"/>
                    </a:lnTo>
                    <a:lnTo>
                      <a:pt x="773166" y="507730"/>
                    </a:lnTo>
                    <a:lnTo>
                      <a:pt x="773166" y="511417"/>
                    </a:lnTo>
                    <a:lnTo>
                      <a:pt x="776852" y="511417"/>
                    </a:lnTo>
                    <a:lnTo>
                      <a:pt x="780538" y="507730"/>
                    </a:lnTo>
                    <a:lnTo>
                      <a:pt x="787920" y="504035"/>
                    </a:lnTo>
                    <a:lnTo>
                      <a:pt x="806360" y="496653"/>
                    </a:lnTo>
                    <a:lnTo>
                      <a:pt x="810056" y="496653"/>
                    </a:lnTo>
                    <a:lnTo>
                      <a:pt x="813742" y="496653"/>
                    </a:lnTo>
                    <a:lnTo>
                      <a:pt x="813742" y="492967"/>
                    </a:lnTo>
                    <a:lnTo>
                      <a:pt x="821124" y="489271"/>
                    </a:lnTo>
                    <a:lnTo>
                      <a:pt x="828496" y="485585"/>
                    </a:lnTo>
                    <a:lnTo>
                      <a:pt x="832192" y="485585"/>
                    </a:lnTo>
                    <a:lnTo>
                      <a:pt x="835878" y="481899"/>
                    </a:lnTo>
                    <a:lnTo>
                      <a:pt x="835878" y="485585"/>
                    </a:lnTo>
                    <a:lnTo>
                      <a:pt x="839564" y="485585"/>
                    </a:lnTo>
                    <a:lnTo>
                      <a:pt x="843260" y="485585"/>
                    </a:lnTo>
                    <a:lnTo>
                      <a:pt x="843260" y="489271"/>
                    </a:lnTo>
                    <a:lnTo>
                      <a:pt x="846946" y="492967"/>
                    </a:lnTo>
                    <a:lnTo>
                      <a:pt x="854328" y="500349"/>
                    </a:lnTo>
                    <a:lnTo>
                      <a:pt x="861700" y="496653"/>
                    </a:lnTo>
                    <a:lnTo>
                      <a:pt x="861700" y="492967"/>
                    </a:lnTo>
                    <a:lnTo>
                      <a:pt x="865396" y="492967"/>
                    </a:lnTo>
                    <a:lnTo>
                      <a:pt x="869082" y="489271"/>
                    </a:lnTo>
                    <a:lnTo>
                      <a:pt x="872769" y="489271"/>
                    </a:lnTo>
                    <a:lnTo>
                      <a:pt x="872769" y="485585"/>
                    </a:lnTo>
                    <a:lnTo>
                      <a:pt x="876455" y="481899"/>
                    </a:lnTo>
                    <a:lnTo>
                      <a:pt x="880150" y="481899"/>
                    </a:lnTo>
                    <a:lnTo>
                      <a:pt x="887523" y="470821"/>
                    </a:lnTo>
                    <a:lnTo>
                      <a:pt x="891218" y="467135"/>
                    </a:lnTo>
                    <a:lnTo>
                      <a:pt x="891218" y="463439"/>
                    </a:lnTo>
                    <a:lnTo>
                      <a:pt x="891218" y="459753"/>
                    </a:lnTo>
                    <a:lnTo>
                      <a:pt x="891218" y="448676"/>
                    </a:lnTo>
                    <a:lnTo>
                      <a:pt x="898591" y="444989"/>
                    </a:lnTo>
                    <a:lnTo>
                      <a:pt x="905973" y="444989"/>
                    </a:lnTo>
                    <a:lnTo>
                      <a:pt x="909659" y="437607"/>
                    </a:lnTo>
                    <a:lnTo>
                      <a:pt x="905973" y="433921"/>
                    </a:lnTo>
                    <a:lnTo>
                      <a:pt x="905973" y="426539"/>
                    </a:lnTo>
                    <a:lnTo>
                      <a:pt x="905973" y="422844"/>
                    </a:lnTo>
                    <a:lnTo>
                      <a:pt x="894905" y="419158"/>
                    </a:lnTo>
                    <a:lnTo>
                      <a:pt x="898591" y="419158"/>
                    </a:lnTo>
                    <a:lnTo>
                      <a:pt x="876455" y="404394"/>
                    </a:lnTo>
                    <a:lnTo>
                      <a:pt x="872769" y="400698"/>
                    </a:lnTo>
                    <a:lnTo>
                      <a:pt x="869082" y="393316"/>
                    </a:lnTo>
                    <a:lnTo>
                      <a:pt x="850632" y="385944"/>
                    </a:lnTo>
                    <a:lnTo>
                      <a:pt x="835878" y="385944"/>
                    </a:lnTo>
                    <a:lnTo>
                      <a:pt x="835878" y="382248"/>
                    </a:lnTo>
                    <a:lnTo>
                      <a:pt x="835878" y="374866"/>
                    </a:lnTo>
                    <a:lnTo>
                      <a:pt x="835878" y="371180"/>
                    </a:lnTo>
                    <a:lnTo>
                      <a:pt x="839564" y="367484"/>
                    </a:lnTo>
                    <a:lnTo>
                      <a:pt x="839564" y="363798"/>
                    </a:lnTo>
                    <a:lnTo>
                      <a:pt x="839564" y="360103"/>
                    </a:lnTo>
                    <a:lnTo>
                      <a:pt x="850632" y="360103"/>
                    </a:lnTo>
                    <a:lnTo>
                      <a:pt x="858014" y="356416"/>
                    </a:lnTo>
                    <a:lnTo>
                      <a:pt x="865396" y="352721"/>
                    </a:lnTo>
                    <a:lnTo>
                      <a:pt x="865396" y="349035"/>
                    </a:lnTo>
                    <a:lnTo>
                      <a:pt x="865396" y="345339"/>
                    </a:lnTo>
                    <a:lnTo>
                      <a:pt x="865396" y="341653"/>
                    </a:lnTo>
                    <a:lnTo>
                      <a:pt x="869082" y="341653"/>
                    </a:lnTo>
                    <a:lnTo>
                      <a:pt x="869082" y="337966"/>
                    </a:lnTo>
                    <a:lnTo>
                      <a:pt x="872769" y="323203"/>
                    </a:lnTo>
                    <a:lnTo>
                      <a:pt x="850632" y="323203"/>
                    </a:lnTo>
                    <a:lnTo>
                      <a:pt x="846946" y="323203"/>
                    </a:lnTo>
                    <a:lnTo>
                      <a:pt x="839564" y="319507"/>
                    </a:lnTo>
                    <a:lnTo>
                      <a:pt x="832192" y="315821"/>
                    </a:lnTo>
                    <a:lnTo>
                      <a:pt x="828496" y="315821"/>
                    </a:lnTo>
                    <a:lnTo>
                      <a:pt x="821124" y="315821"/>
                    </a:lnTo>
                    <a:lnTo>
                      <a:pt x="828496" y="304743"/>
                    </a:lnTo>
                    <a:lnTo>
                      <a:pt x="828496" y="293675"/>
                    </a:lnTo>
                    <a:lnTo>
                      <a:pt x="828496" y="289989"/>
                    </a:lnTo>
                    <a:lnTo>
                      <a:pt x="828496" y="286293"/>
                    </a:lnTo>
                    <a:lnTo>
                      <a:pt x="817428" y="278911"/>
                    </a:lnTo>
                    <a:lnTo>
                      <a:pt x="813742" y="278911"/>
                    </a:lnTo>
                    <a:lnTo>
                      <a:pt x="810056" y="286293"/>
                    </a:lnTo>
                    <a:lnTo>
                      <a:pt x="810056" y="282607"/>
                    </a:lnTo>
                    <a:lnTo>
                      <a:pt x="806360" y="278911"/>
                    </a:lnTo>
                    <a:lnTo>
                      <a:pt x="802674" y="282607"/>
                    </a:lnTo>
                    <a:lnTo>
                      <a:pt x="798988" y="286293"/>
                    </a:lnTo>
                    <a:lnTo>
                      <a:pt x="798988" y="289989"/>
                    </a:lnTo>
                    <a:lnTo>
                      <a:pt x="795302" y="286293"/>
                    </a:lnTo>
                    <a:lnTo>
                      <a:pt x="791606" y="282607"/>
                    </a:lnTo>
                    <a:lnTo>
                      <a:pt x="795302" y="278911"/>
                    </a:lnTo>
                    <a:lnTo>
                      <a:pt x="787920" y="275225"/>
                    </a:lnTo>
                    <a:lnTo>
                      <a:pt x="784234" y="275225"/>
                    </a:lnTo>
                    <a:lnTo>
                      <a:pt x="769470" y="278911"/>
                    </a:lnTo>
                    <a:lnTo>
                      <a:pt x="751029" y="275225"/>
                    </a:lnTo>
                    <a:lnTo>
                      <a:pt x="747334" y="275225"/>
                    </a:lnTo>
                    <a:lnTo>
                      <a:pt x="739961" y="278911"/>
                    </a:lnTo>
                    <a:lnTo>
                      <a:pt x="736266" y="275225"/>
                    </a:lnTo>
                    <a:lnTo>
                      <a:pt x="732580" y="275225"/>
                    </a:lnTo>
                    <a:lnTo>
                      <a:pt x="732580" y="271530"/>
                    </a:lnTo>
                    <a:lnTo>
                      <a:pt x="728893" y="267843"/>
                    </a:lnTo>
                    <a:lnTo>
                      <a:pt x="728893" y="260461"/>
                    </a:lnTo>
                    <a:lnTo>
                      <a:pt x="721512" y="260461"/>
                    </a:lnTo>
                    <a:lnTo>
                      <a:pt x="721512" y="256766"/>
                    </a:lnTo>
                    <a:lnTo>
                      <a:pt x="717825" y="256766"/>
                    </a:lnTo>
                    <a:lnTo>
                      <a:pt x="717825" y="249384"/>
                    </a:lnTo>
                    <a:lnTo>
                      <a:pt x="706757" y="242012"/>
                    </a:lnTo>
                    <a:lnTo>
                      <a:pt x="703071" y="234630"/>
                    </a:lnTo>
                    <a:lnTo>
                      <a:pt x="703071" y="230934"/>
                    </a:lnTo>
                    <a:lnTo>
                      <a:pt x="703071" y="227248"/>
                    </a:lnTo>
                    <a:lnTo>
                      <a:pt x="699375" y="227248"/>
                    </a:lnTo>
                    <a:lnTo>
                      <a:pt x="692003" y="227248"/>
                    </a:lnTo>
                    <a:lnTo>
                      <a:pt x="688307" y="227248"/>
                    </a:lnTo>
                    <a:lnTo>
                      <a:pt x="684621" y="227248"/>
                    </a:lnTo>
                    <a:lnTo>
                      <a:pt x="684621" y="223552"/>
                    </a:lnTo>
                    <a:lnTo>
                      <a:pt x="680935" y="227248"/>
                    </a:lnTo>
                    <a:lnTo>
                      <a:pt x="677239" y="227248"/>
                    </a:lnTo>
                    <a:lnTo>
                      <a:pt x="669867" y="227248"/>
                    </a:lnTo>
                    <a:lnTo>
                      <a:pt x="666171" y="230934"/>
                    </a:lnTo>
                    <a:lnTo>
                      <a:pt x="662485" y="230934"/>
                    </a:lnTo>
                    <a:lnTo>
                      <a:pt x="662485" y="238316"/>
                    </a:lnTo>
                    <a:lnTo>
                      <a:pt x="655113" y="238316"/>
                    </a:lnTo>
                    <a:lnTo>
                      <a:pt x="655113" y="242012"/>
                    </a:lnTo>
                    <a:lnTo>
                      <a:pt x="644045" y="242012"/>
                    </a:lnTo>
                    <a:lnTo>
                      <a:pt x="644045" y="238316"/>
                    </a:lnTo>
                    <a:lnTo>
                      <a:pt x="640349" y="238316"/>
                    </a:lnTo>
                    <a:lnTo>
                      <a:pt x="636663" y="238316"/>
                    </a:lnTo>
                    <a:lnTo>
                      <a:pt x="632977" y="238316"/>
                    </a:lnTo>
                    <a:lnTo>
                      <a:pt x="629281" y="242012"/>
                    </a:lnTo>
                    <a:lnTo>
                      <a:pt x="625595" y="238316"/>
                    </a:lnTo>
                    <a:lnTo>
                      <a:pt x="621909" y="238316"/>
                    </a:lnTo>
                    <a:lnTo>
                      <a:pt x="614527" y="238316"/>
                    </a:lnTo>
                    <a:lnTo>
                      <a:pt x="610840" y="238316"/>
                    </a:lnTo>
                    <a:lnTo>
                      <a:pt x="607145" y="238316"/>
                    </a:lnTo>
                    <a:lnTo>
                      <a:pt x="603459" y="238316"/>
                    </a:lnTo>
                    <a:lnTo>
                      <a:pt x="603459" y="242012"/>
                    </a:lnTo>
                    <a:lnTo>
                      <a:pt x="599772" y="238316"/>
                    </a:lnTo>
                    <a:lnTo>
                      <a:pt x="596077" y="238316"/>
                    </a:lnTo>
                    <a:lnTo>
                      <a:pt x="588704" y="238316"/>
                    </a:lnTo>
                    <a:lnTo>
                      <a:pt x="588704" y="234630"/>
                    </a:lnTo>
                    <a:lnTo>
                      <a:pt x="585009" y="234630"/>
                    </a:lnTo>
                    <a:lnTo>
                      <a:pt x="577636" y="238316"/>
                    </a:lnTo>
                    <a:lnTo>
                      <a:pt x="577636" y="242012"/>
                    </a:lnTo>
                    <a:lnTo>
                      <a:pt x="581323" y="245698"/>
                    </a:lnTo>
                    <a:lnTo>
                      <a:pt x="577636" y="249384"/>
                    </a:lnTo>
                    <a:lnTo>
                      <a:pt x="577636" y="245698"/>
                    </a:lnTo>
                    <a:lnTo>
                      <a:pt x="577636" y="242012"/>
                    </a:lnTo>
                    <a:lnTo>
                      <a:pt x="573950" y="242012"/>
                    </a:lnTo>
                    <a:lnTo>
                      <a:pt x="570254" y="242012"/>
                    </a:lnTo>
                    <a:lnTo>
                      <a:pt x="566568" y="234630"/>
                    </a:lnTo>
                    <a:lnTo>
                      <a:pt x="566568" y="230934"/>
                    </a:lnTo>
                    <a:lnTo>
                      <a:pt x="570254" y="227248"/>
                    </a:lnTo>
                    <a:lnTo>
                      <a:pt x="573950" y="227248"/>
                    </a:lnTo>
                    <a:lnTo>
                      <a:pt x="573950" y="223552"/>
                    </a:lnTo>
                    <a:lnTo>
                      <a:pt x="570254" y="223552"/>
                    </a:lnTo>
                    <a:lnTo>
                      <a:pt x="566568" y="223552"/>
                    </a:lnTo>
                    <a:lnTo>
                      <a:pt x="562882" y="223552"/>
                    </a:lnTo>
                    <a:lnTo>
                      <a:pt x="559186" y="219866"/>
                    </a:lnTo>
                    <a:lnTo>
                      <a:pt x="559186" y="216170"/>
                    </a:lnTo>
                    <a:lnTo>
                      <a:pt x="559186" y="212484"/>
                    </a:lnTo>
                    <a:lnTo>
                      <a:pt x="559186" y="208788"/>
                    </a:lnTo>
                    <a:lnTo>
                      <a:pt x="555500" y="205102"/>
                    </a:lnTo>
                    <a:lnTo>
                      <a:pt x="551814" y="201407"/>
                    </a:lnTo>
                    <a:lnTo>
                      <a:pt x="551814" y="190338"/>
                    </a:lnTo>
                    <a:lnTo>
                      <a:pt x="548118" y="190338"/>
                    </a:lnTo>
                    <a:lnTo>
                      <a:pt x="548118" y="186652"/>
                    </a:lnTo>
                    <a:lnTo>
                      <a:pt x="548118" y="182957"/>
                    </a:lnTo>
                    <a:lnTo>
                      <a:pt x="544432" y="182957"/>
                    </a:lnTo>
                    <a:lnTo>
                      <a:pt x="540746" y="182957"/>
                    </a:lnTo>
                    <a:lnTo>
                      <a:pt x="537050" y="182957"/>
                    </a:lnTo>
                    <a:lnTo>
                      <a:pt x="537050" y="171889"/>
                    </a:lnTo>
                    <a:lnTo>
                      <a:pt x="537050" y="168193"/>
                    </a:lnTo>
                    <a:lnTo>
                      <a:pt x="533364" y="168193"/>
                    </a:lnTo>
                    <a:lnTo>
                      <a:pt x="529678" y="168193"/>
                    </a:lnTo>
                    <a:lnTo>
                      <a:pt x="529678" y="164507"/>
                    </a:lnTo>
                    <a:lnTo>
                      <a:pt x="533364" y="164507"/>
                    </a:lnTo>
                    <a:lnTo>
                      <a:pt x="533364" y="157125"/>
                    </a:lnTo>
                    <a:lnTo>
                      <a:pt x="533364" y="149743"/>
                    </a:lnTo>
                    <a:lnTo>
                      <a:pt x="533364" y="142361"/>
                    </a:lnTo>
                    <a:lnTo>
                      <a:pt x="537050" y="142361"/>
                    </a:lnTo>
                    <a:lnTo>
                      <a:pt x="540746" y="138675"/>
                    </a:lnTo>
                    <a:lnTo>
                      <a:pt x="544432" y="138675"/>
                    </a:lnTo>
                    <a:lnTo>
                      <a:pt x="540746" y="134979"/>
                    </a:lnTo>
                    <a:lnTo>
                      <a:pt x="537050" y="134979"/>
                    </a:lnTo>
                    <a:lnTo>
                      <a:pt x="533364" y="131293"/>
                    </a:lnTo>
                    <a:lnTo>
                      <a:pt x="533364" y="127597"/>
                    </a:lnTo>
                    <a:lnTo>
                      <a:pt x="537050" y="127597"/>
                    </a:lnTo>
                    <a:lnTo>
                      <a:pt x="537050" y="123909"/>
                    </a:lnTo>
                    <a:lnTo>
                      <a:pt x="544432" y="123909"/>
                    </a:lnTo>
                    <a:lnTo>
                      <a:pt x="551814" y="120218"/>
                    </a:lnTo>
                    <a:lnTo>
                      <a:pt x="555500" y="120218"/>
                    </a:lnTo>
                    <a:lnTo>
                      <a:pt x="555500" y="116528"/>
                    </a:lnTo>
                    <a:lnTo>
                      <a:pt x="559186" y="116528"/>
                    </a:lnTo>
                    <a:lnTo>
                      <a:pt x="559186" y="109147"/>
                    </a:lnTo>
                    <a:lnTo>
                      <a:pt x="559186" y="105456"/>
                    </a:lnTo>
                    <a:lnTo>
                      <a:pt x="559186" y="101766"/>
                    </a:lnTo>
                    <a:lnTo>
                      <a:pt x="555500" y="101766"/>
                    </a:lnTo>
                    <a:lnTo>
                      <a:pt x="551814" y="98075"/>
                    </a:lnTo>
                    <a:lnTo>
                      <a:pt x="551814" y="90695"/>
                    </a:lnTo>
                    <a:lnTo>
                      <a:pt x="551814" y="87004"/>
                    </a:lnTo>
                    <a:lnTo>
                      <a:pt x="555500" y="83313"/>
                    </a:lnTo>
                    <a:lnTo>
                      <a:pt x="555500" y="75932"/>
                    </a:lnTo>
                    <a:lnTo>
                      <a:pt x="551814" y="72242"/>
                    </a:lnTo>
                    <a:lnTo>
                      <a:pt x="548118" y="68551"/>
                    </a:lnTo>
                    <a:lnTo>
                      <a:pt x="548118" y="61170"/>
                    </a:lnTo>
                    <a:lnTo>
                      <a:pt x="544432" y="50098"/>
                    </a:lnTo>
                    <a:lnTo>
                      <a:pt x="544432" y="46407"/>
                    </a:lnTo>
                    <a:lnTo>
                      <a:pt x="540746" y="42717"/>
                    </a:lnTo>
                    <a:lnTo>
                      <a:pt x="529678" y="39026"/>
                    </a:lnTo>
                    <a:lnTo>
                      <a:pt x="525982" y="35335"/>
                    </a:lnTo>
                    <a:lnTo>
                      <a:pt x="525982" y="31645"/>
                    </a:lnTo>
                    <a:lnTo>
                      <a:pt x="525982" y="27954"/>
                    </a:lnTo>
                    <a:lnTo>
                      <a:pt x="522296" y="24264"/>
                    </a:lnTo>
                    <a:lnTo>
                      <a:pt x="518610" y="20573"/>
                    </a:lnTo>
                    <a:lnTo>
                      <a:pt x="514924" y="20573"/>
                    </a:lnTo>
                    <a:lnTo>
                      <a:pt x="511228" y="16882"/>
                    </a:lnTo>
                    <a:lnTo>
                      <a:pt x="507542" y="20573"/>
                    </a:lnTo>
                    <a:lnTo>
                      <a:pt x="503856" y="20573"/>
                    </a:lnTo>
                    <a:lnTo>
                      <a:pt x="500160" y="20573"/>
                    </a:lnTo>
                    <a:lnTo>
                      <a:pt x="496474" y="24264"/>
                    </a:lnTo>
                    <a:lnTo>
                      <a:pt x="489092" y="31645"/>
                    </a:lnTo>
                    <a:lnTo>
                      <a:pt x="481720" y="39026"/>
                    </a:lnTo>
                    <a:lnTo>
                      <a:pt x="478024" y="42717"/>
                    </a:lnTo>
                    <a:lnTo>
                      <a:pt x="474338" y="39026"/>
                    </a:lnTo>
                    <a:lnTo>
                      <a:pt x="474338" y="35335"/>
                    </a:lnTo>
                    <a:lnTo>
                      <a:pt x="470652" y="39026"/>
                    </a:lnTo>
                    <a:lnTo>
                      <a:pt x="466956" y="42717"/>
                    </a:lnTo>
                    <a:lnTo>
                      <a:pt x="459583" y="46407"/>
                    </a:lnTo>
                    <a:lnTo>
                      <a:pt x="459583" y="39026"/>
                    </a:lnTo>
                    <a:lnTo>
                      <a:pt x="452202" y="27954"/>
                    </a:lnTo>
                    <a:lnTo>
                      <a:pt x="448516" y="20573"/>
                    </a:lnTo>
                    <a:lnTo>
                      <a:pt x="441134" y="9502"/>
                    </a:lnTo>
                    <a:lnTo>
                      <a:pt x="437447" y="5812"/>
                    </a:lnTo>
                    <a:close/>
                    <a:moveTo>
                      <a:pt x="315699" y="138675"/>
                    </a:moveTo>
                    <a:lnTo>
                      <a:pt x="308326" y="134979"/>
                    </a:lnTo>
                    <a:lnTo>
                      <a:pt x="312013" y="138675"/>
                    </a:lnTo>
                    <a:lnTo>
                      <a:pt x="315699" y="138675"/>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41" name="Freeform: Shape 40">
                <a:extLst>
                  <a:ext uri="{FF2B5EF4-FFF2-40B4-BE49-F238E27FC236}">
                    <a16:creationId xmlns:a16="http://schemas.microsoft.com/office/drawing/2014/main" id="{94983A74-6CBB-4601-8D1F-5E566ABA3CD6}"/>
                  </a:ext>
                </a:extLst>
              </p:cNvPr>
              <p:cNvSpPr/>
              <p:nvPr/>
            </p:nvSpPr>
            <p:spPr>
              <a:xfrm>
                <a:off x="5179061" y="3431497"/>
                <a:ext cx="936355" cy="659707"/>
              </a:xfrm>
              <a:custGeom>
                <a:avLst/>
                <a:gdLst>
                  <a:gd name="connsiteX0" fmla="*/ 112797 w 419100"/>
                  <a:gd name="connsiteY0" fmla="*/ 5812 h 295275"/>
                  <a:gd name="connsiteX1" fmla="*/ 112797 w 419100"/>
                  <a:gd name="connsiteY1" fmla="*/ 9507 h 295275"/>
                  <a:gd name="connsiteX2" fmla="*/ 109108 w 419100"/>
                  <a:gd name="connsiteY2" fmla="*/ 9507 h 295275"/>
                  <a:gd name="connsiteX3" fmla="*/ 109108 w 419100"/>
                  <a:gd name="connsiteY3" fmla="*/ 13193 h 295275"/>
                  <a:gd name="connsiteX4" fmla="*/ 109108 w 419100"/>
                  <a:gd name="connsiteY4" fmla="*/ 16889 h 295275"/>
                  <a:gd name="connsiteX5" fmla="*/ 101730 w 419100"/>
                  <a:gd name="connsiteY5" fmla="*/ 13193 h 295275"/>
                  <a:gd name="connsiteX6" fmla="*/ 101730 w 419100"/>
                  <a:gd name="connsiteY6" fmla="*/ 16889 h 295275"/>
                  <a:gd name="connsiteX7" fmla="*/ 94351 w 419100"/>
                  <a:gd name="connsiteY7" fmla="*/ 20575 h 295275"/>
                  <a:gd name="connsiteX8" fmla="*/ 94351 w 419100"/>
                  <a:gd name="connsiteY8" fmla="*/ 24262 h 295275"/>
                  <a:gd name="connsiteX9" fmla="*/ 90662 w 419100"/>
                  <a:gd name="connsiteY9" fmla="*/ 24262 h 295275"/>
                  <a:gd name="connsiteX10" fmla="*/ 86973 w 419100"/>
                  <a:gd name="connsiteY10" fmla="*/ 24262 h 295275"/>
                  <a:gd name="connsiteX11" fmla="*/ 83284 w 419100"/>
                  <a:gd name="connsiteY11" fmla="*/ 24262 h 295275"/>
                  <a:gd name="connsiteX12" fmla="*/ 75906 w 419100"/>
                  <a:gd name="connsiteY12" fmla="*/ 20575 h 295275"/>
                  <a:gd name="connsiteX13" fmla="*/ 72217 w 419100"/>
                  <a:gd name="connsiteY13" fmla="*/ 24262 h 295275"/>
                  <a:gd name="connsiteX14" fmla="*/ 72217 w 419100"/>
                  <a:gd name="connsiteY14" fmla="*/ 27957 h 295275"/>
                  <a:gd name="connsiteX15" fmla="*/ 75906 w 419100"/>
                  <a:gd name="connsiteY15" fmla="*/ 31643 h 295275"/>
                  <a:gd name="connsiteX16" fmla="*/ 72217 w 419100"/>
                  <a:gd name="connsiteY16" fmla="*/ 35339 h 295275"/>
                  <a:gd name="connsiteX17" fmla="*/ 68527 w 419100"/>
                  <a:gd name="connsiteY17" fmla="*/ 39025 h 295275"/>
                  <a:gd name="connsiteX18" fmla="*/ 68527 w 419100"/>
                  <a:gd name="connsiteY18" fmla="*/ 42721 h 295275"/>
                  <a:gd name="connsiteX19" fmla="*/ 64838 w 419100"/>
                  <a:gd name="connsiteY19" fmla="*/ 42721 h 295275"/>
                  <a:gd name="connsiteX20" fmla="*/ 61149 w 419100"/>
                  <a:gd name="connsiteY20" fmla="*/ 42721 h 295275"/>
                  <a:gd name="connsiteX21" fmla="*/ 61149 w 419100"/>
                  <a:gd name="connsiteY21" fmla="*/ 46407 h 295275"/>
                  <a:gd name="connsiteX22" fmla="*/ 57460 w 419100"/>
                  <a:gd name="connsiteY22" fmla="*/ 42721 h 295275"/>
                  <a:gd name="connsiteX23" fmla="*/ 53771 w 419100"/>
                  <a:gd name="connsiteY23" fmla="*/ 42721 h 295275"/>
                  <a:gd name="connsiteX24" fmla="*/ 50082 w 419100"/>
                  <a:gd name="connsiteY24" fmla="*/ 42721 h 295275"/>
                  <a:gd name="connsiteX25" fmla="*/ 46393 w 419100"/>
                  <a:gd name="connsiteY25" fmla="*/ 46407 h 295275"/>
                  <a:gd name="connsiteX26" fmla="*/ 39014 w 419100"/>
                  <a:gd name="connsiteY26" fmla="*/ 50103 h 295275"/>
                  <a:gd name="connsiteX27" fmla="*/ 39014 w 419100"/>
                  <a:gd name="connsiteY27" fmla="*/ 53789 h 295275"/>
                  <a:gd name="connsiteX28" fmla="*/ 35325 w 419100"/>
                  <a:gd name="connsiteY28" fmla="*/ 53789 h 295275"/>
                  <a:gd name="connsiteX29" fmla="*/ 31636 w 419100"/>
                  <a:gd name="connsiteY29" fmla="*/ 57485 h 295275"/>
                  <a:gd name="connsiteX30" fmla="*/ 27947 w 419100"/>
                  <a:gd name="connsiteY30" fmla="*/ 57485 h 295275"/>
                  <a:gd name="connsiteX31" fmla="*/ 27947 w 419100"/>
                  <a:gd name="connsiteY31" fmla="*/ 61171 h 295275"/>
                  <a:gd name="connsiteX32" fmla="*/ 24257 w 419100"/>
                  <a:gd name="connsiteY32" fmla="*/ 61171 h 295275"/>
                  <a:gd name="connsiteX33" fmla="*/ 20568 w 419100"/>
                  <a:gd name="connsiteY33" fmla="*/ 64867 h 295275"/>
                  <a:gd name="connsiteX34" fmla="*/ 16879 w 419100"/>
                  <a:gd name="connsiteY34" fmla="*/ 64867 h 295275"/>
                  <a:gd name="connsiteX35" fmla="*/ 13190 w 419100"/>
                  <a:gd name="connsiteY35" fmla="*/ 64867 h 295275"/>
                  <a:gd name="connsiteX36" fmla="*/ 9501 w 419100"/>
                  <a:gd name="connsiteY36" fmla="*/ 64867 h 295275"/>
                  <a:gd name="connsiteX37" fmla="*/ 9501 w 419100"/>
                  <a:gd name="connsiteY37" fmla="*/ 68553 h 295275"/>
                  <a:gd name="connsiteX38" fmla="*/ 13190 w 419100"/>
                  <a:gd name="connsiteY38" fmla="*/ 72239 h 295275"/>
                  <a:gd name="connsiteX39" fmla="*/ 13190 w 419100"/>
                  <a:gd name="connsiteY39" fmla="*/ 79621 h 295275"/>
                  <a:gd name="connsiteX40" fmla="*/ 13190 w 419100"/>
                  <a:gd name="connsiteY40" fmla="*/ 83316 h 295275"/>
                  <a:gd name="connsiteX41" fmla="*/ 16879 w 419100"/>
                  <a:gd name="connsiteY41" fmla="*/ 83316 h 295275"/>
                  <a:gd name="connsiteX42" fmla="*/ 16879 w 419100"/>
                  <a:gd name="connsiteY42" fmla="*/ 87003 h 295275"/>
                  <a:gd name="connsiteX43" fmla="*/ 20568 w 419100"/>
                  <a:gd name="connsiteY43" fmla="*/ 90698 h 295275"/>
                  <a:gd name="connsiteX44" fmla="*/ 24257 w 419100"/>
                  <a:gd name="connsiteY44" fmla="*/ 90698 h 295275"/>
                  <a:gd name="connsiteX45" fmla="*/ 24257 w 419100"/>
                  <a:gd name="connsiteY45" fmla="*/ 94385 h 295275"/>
                  <a:gd name="connsiteX46" fmla="*/ 27947 w 419100"/>
                  <a:gd name="connsiteY46" fmla="*/ 98080 h 295275"/>
                  <a:gd name="connsiteX47" fmla="*/ 31636 w 419100"/>
                  <a:gd name="connsiteY47" fmla="*/ 101766 h 295275"/>
                  <a:gd name="connsiteX48" fmla="*/ 39014 w 419100"/>
                  <a:gd name="connsiteY48" fmla="*/ 101766 h 295275"/>
                  <a:gd name="connsiteX49" fmla="*/ 42703 w 419100"/>
                  <a:gd name="connsiteY49" fmla="*/ 105462 h 295275"/>
                  <a:gd name="connsiteX50" fmla="*/ 57460 w 419100"/>
                  <a:gd name="connsiteY50" fmla="*/ 116530 h 295275"/>
                  <a:gd name="connsiteX51" fmla="*/ 46393 w 419100"/>
                  <a:gd name="connsiteY51" fmla="*/ 120216 h 295275"/>
                  <a:gd name="connsiteX52" fmla="*/ 46393 w 419100"/>
                  <a:gd name="connsiteY52" fmla="*/ 134980 h 295275"/>
                  <a:gd name="connsiteX53" fmla="*/ 42703 w 419100"/>
                  <a:gd name="connsiteY53" fmla="*/ 134980 h 295275"/>
                  <a:gd name="connsiteX54" fmla="*/ 39014 w 419100"/>
                  <a:gd name="connsiteY54" fmla="*/ 134980 h 295275"/>
                  <a:gd name="connsiteX55" fmla="*/ 31636 w 419100"/>
                  <a:gd name="connsiteY55" fmla="*/ 134980 h 295275"/>
                  <a:gd name="connsiteX56" fmla="*/ 27947 w 419100"/>
                  <a:gd name="connsiteY56" fmla="*/ 134980 h 295275"/>
                  <a:gd name="connsiteX57" fmla="*/ 27947 w 419100"/>
                  <a:gd name="connsiteY57" fmla="*/ 131294 h 295275"/>
                  <a:gd name="connsiteX58" fmla="*/ 20568 w 419100"/>
                  <a:gd name="connsiteY58" fmla="*/ 131294 h 295275"/>
                  <a:gd name="connsiteX59" fmla="*/ 16879 w 419100"/>
                  <a:gd name="connsiteY59" fmla="*/ 134980 h 295275"/>
                  <a:gd name="connsiteX60" fmla="*/ 13190 w 419100"/>
                  <a:gd name="connsiteY60" fmla="*/ 138676 h 295275"/>
                  <a:gd name="connsiteX61" fmla="*/ 16879 w 419100"/>
                  <a:gd name="connsiteY61" fmla="*/ 138676 h 295275"/>
                  <a:gd name="connsiteX62" fmla="*/ 13190 w 419100"/>
                  <a:gd name="connsiteY62" fmla="*/ 142362 h 295275"/>
                  <a:gd name="connsiteX63" fmla="*/ 13190 w 419100"/>
                  <a:gd name="connsiteY63" fmla="*/ 146058 h 295275"/>
                  <a:gd name="connsiteX64" fmla="*/ 9501 w 419100"/>
                  <a:gd name="connsiteY64" fmla="*/ 146058 h 295275"/>
                  <a:gd name="connsiteX65" fmla="*/ 5812 w 419100"/>
                  <a:gd name="connsiteY65" fmla="*/ 146058 h 295275"/>
                  <a:gd name="connsiteX66" fmla="*/ 5812 w 419100"/>
                  <a:gd name="connsiteY66" fmla="*/ 149744 h 295275"/>
                  <a:gd name="connsiteX67" fmla="*/ 20568 w 419100"/>
                  <a:gd name="connsiteY67" fmla="*/ 157126 h 295275"/>
                  <a:gd name="connsiteX68" fmla="*/ 24257 w 419100"/>
                  <a:gd name="connsiteY68" fmla="*/ 160821 h 295275"/>
                  <a:gd name="connsiteX69" fmla="*/ 20568 w 419100"/>
                  <a:gd name="connsiteY69" fmla="*/ 160821 h 295275"/>
                  <a:gd name="connsiteX70" fmla="*/ 20568 w 419100"/>
                  <a:gd name="connsiteY70" fmla="*/ 171890 h 295275"/>
                  <a:gd name="connsiteX71" fmla="*/ 24257 w 419100"/>
                  <a:gd name="connsiteY71" fmla="*/ 182958 h 295275"/>
                  <a:gd name="connsiteX72" fmla="*/ 24257 w 419100"/>
                  <a:gd name="connsiteY72" fmla="*/ 186653 h 295275"/>
                  <a:gd name="connsiteX73" fmla="*/ 27947 w 419100"/>
                  <a:gd name="connsiteY73" fmla="*/ 186653 h 295275"/>
                  <a:gd name="connsiteX74" fmla="*/ 24257 w 419100"/>
                  <a:gd name="connsiteY74" fmla="*/ 190339 h 295275"/>
                  <a:gd name="connsiteX75" fmla="*/ 31636 w 419100"/>
                  <a:gd name="connsiteY75" fmla="*/ 190339 h 295275"/>
                  <a:gd name="connsiteX76" fmla="*/ 46393 w 419100"/>
                  <a:gd name="connsiteY76" fmla="*/ 190339 h 295275"/>
                  <a:gd name="connsiteX77" fmla="*/ 42703 w 419100"/>
                  <a:gd name="connsiteY77" fmla="*/ 194035 h 295275"/>
                  <a:gd name="connsiteX78" fmla="*/ 39014 w 419100"/>
                  <a:gd name="connsiteY78" fmla="*/ 197721 h 295275"/>
                  <a:gd name="connsiteX79" fmla="*/ 35325 w 419100"/>
                  <a:gd name="connsiteY79" fmla="*/ 197721 h 295275"/>
                  <a:gd name="connsiteX80" fmla="*/ 24257 w 419100"/>
                  <a:gd name="connsiteY80" fmla="*/ 205103 h 295275"/>
                  <a:gd name="connsiteX81" fmla="*/ 20568 w 419100"/>
                  <a:gd name="connsiteY81" fmla="*/ 216171 h 295275"/>
                  <a:gd name="connsiteX82" fmla="*/ 16879 w 419100"/>
                  <a:gd name="connsiteY82" fmla="*/ 219867 h 295275"/>
                  <a:gd name="connsiteX83" fmla="*/ 13190 w 419100"/>
                  <a:gd name="connsiteY83" fmla="*/ 219867 h 295275"/>
                  <a:gd name="connsiteX84" fmla="*/ 13190 w 419100"/>
                  <a:gd name="connsiteY84" fmla="*/ 223553 h 295275"/>
                  <a:gd name="connsiteX85" fmla="*/ 9501 w 419100"/>
                  <a:gd name="connsiteY85" fmla="*/ 227249 h 295275"/>
                  <a:gd name="connsiteX86" fmla="*/ 13190 w 419100"/>
                  <a:gd name="connsiteY86" fmla="*/ 234631 h 295275"/>
                  <a:gd name="connsiteX87" fmla="*/ 16879 w 419100"/>
                  <a:gd name="connsiteY87" fmla="*/ 234631 h 295275"/>
                  <a:gd name="connsiteX88" fmla="*/ 20568 w 419100"/>
                  <a:gd name="connsiteY88" fmla="*/ 230935 h 295275"/>
                  <a:gd name="connsiteX89" fmla="*/ 24257 w 419100"/>
                  <a:gd name="connsiteY89" fmla="*/ 230935 h 295275"/>
                  <a:gd name="connsiteX90" fmla="*/ 27947 w 419100"/>
                  <a:gd name="connsiteY90" fmla="*/ 230935 h 295275"/>
                  <a:gd name="connsiteX91" fmla="*/ 31636 w 419100"/>
                  <a:gd name="connsiteY91" fmla="*/ 230935 h 295275"/>
                  <a:gd name="connsiteX92" fmla="*/ 35325 w 419100"/>
                  <a:gd name="connsiteY92" fmla="*/ 230935 h 295275"/>
                  <a:gd name="connsiteX93" fmla="*/ 39014 w 419100"/>
                  <a:gd name="connsiteY93" fmla="*/ 242013 h 295275"/>
                  <a:gd name="connsiteX94" fmla="*/ 35325 w 419100"/>
                  <a:gd name="connsiteY94" fmla="*/ 242013 h 295275"/>
                  <a:gd name="connsiteX95" fmla="*/ 20568 w 419100"/>
                  <a:gd name="connsiteY95" fmla="*/ 245699 h 295275"/>
                  <a:gd name="connsiteX96" fmla="*/ 24257 w 419100"/>
                  <a:gd name="connsiteY96" fmla="*/ 249394 h 295275"/>
                  <a:gd name="connsiteX97" fmla="*/ 27947 w 419100"/>
                  <a:gd name="connsiteY97" fmla="*/ 256776 h 295275"/>
                  <a:gd name="connsiteX98" fmla="*/ 31636 w 419100"/>
                  <a:gd name="connsiteY98" fmla="*/ 264149 h 295275"/>
                  <a:gd name="connsiteX99" fmla="*/ 35325 w 419100"/>
                  <a:gd name="connsiteY99" fmla="*/ 267844 h 295275"/>
                  <a:gd name="connsiteX100" fmla="*/ 39014 w 419100"/>
                  <a:gd name="connsiteY100" fmla="*/ 271531 h 295275"/>
                  <a:gd name="connsiteX101" fmla="*/ 42703 w 419100"/>
                  <a:gd name="connsiteY101" fmla="*/ 275226 h 295275"/>
                  <a:gd name="connsiteX102" fmla="*/ 42703 w 419100"/>
                  <a:gd name="connsiteY102" fmla="*/ 278912 h 295275"/>
                  <a:gd name="connsiteX103" fmla="*/ 46393 w 419100"/>
                  <a:gd name="connsiteY103" fmla="*/ 282608 h 295275"/>
                  <a:gd name="connsiteX104" fmla="*/ 46393 w 419100"/>
                  <a:gd name="connsiteY104" fmla="*/ 289990 h 295275"/>
                  <a:gd name="connsiteX105" fmla="*/ 46393 w 419100"/>
                  <a:gd name="connsiteY105" fmla="*/ 293676 h 295275"/>
                  <a:gd name="connsiteX106" fmla="*/ 50082 w 419100"/>
                  <a:gd name="connsiteY106" fmla="*/ 293676 h 295275"/>
                  <a:gd name="connsiteX107" fmla="*/ 57460 w 419100"/>
                  <a:gd name="connsiteY107" fmla="*/ 293676 h 295275"/>
                  <a:gd name="connsiteX108" fmla="*/ 61149 w 419100"/>
                  <a:gd name="connsiteY108" fmla="*/ 293676 h 295275"/>
                  <a:gd name="connsiteX109" fmla="*/ 64838 w 419100"/>
                  <a:gd name="connsiteY109" fmla="*/ 289990 h 295275"/>
                  <a:gd name="connsiteX110" fmla="*/ 68527 w 419100"/>
                  <a:gd name="connsiteY110" fmla="*/ 289990 h 295275"/>
                  <a:gd name="connsiteX111" fmla="*/ 68527 w 419100"/>
                  <a:gd name="connsiteY111" fmla="*/ 286294 h 295275"/>
                  <a:gd name="connsiteX112" fmla="*/ 72217 w 419100"/>
                  <a:gd name="connsiteY112" fmla="*/ 286294 h 295275"/>
                  <a:gd name="connsiteX113" fmla="*/ 75906 w 419100"/>
                  <a:gd name="connsiteY113" fmla="*/ 278912 h 295275"/>
                  <a:gd name="connsiteX114" fmla="*/ 79595 w 419100"/>
                  <a:gd name="connsiteY114" fmla="*/ 275226 h 295275"/>
                  <a:gd name="connsiteX115" fmla="*/ 83284 w 419100"/>
                  <a:gd name="connsiteY115" fmla="*/ 275226 h 295275"/>
                  <a:gd name="connsiteX116" fmla="*/ 86973 w 419100"/>
                  <a:gd name="connsiteY116" fmla="*/ 275226 h 295275"/>
                  <a:gd name="connsiteX117" fmla="*/ 90662 w 419100"/>
                  <a:gd name="connsiteY117" fmla="*/ 278912 h 295275"/>
                  <a:gd name="connsiteX118" fmla="*/ 94351 w 419100"/>
                  <a:gd name="connsiteY118" fmla="*/ 278912 h 295275"/>
                  <a:gd name="connsiteX119" fmla="*/ 98041 w 419100"/>
                  <a:gd name="connsiteY119" fmla="*/ 275226 h 295275"/>
                  <a:gd name="connsiteX120" fmla="*/ 98041 w 419100"/>
                  <a:gd name="connsiteY120" fmla="*/ 271531 h 295275"/>
                  <a:gd name="connsiteX121" fmla="*/ 101730 w 419100"/>
                  <a:gd name="connsiteY121" fmla="*/ 267844 h 295275"/>
                  <a:gd name="connsiteX122" fmla="*/ 105419 w 419100"/>
                  <a:gd name="connsiteY122" fmla="*/ 264149 h 295275"/>
                  <a:gd name="connsiteX123" fmla="*/ 109108 w 419100"/>
                  <a:gd name="connsiteY123" fmla="*/ 264149 h 295275"/>
                  <a:gd name="connsiteX124" fmla="*/ 112797 w 419100"/>
                  <a:gd name="connsiteY124" fmla="*/ 264149 h 295275"/>
                  <a:gd name="connsiteX125" fmla="*/ 120176 w 419100"/>
                  <a:gd name="connsiteY125" fmla="*/ 271531 h 295275"/>
                  <a:gd name="connsiteX126" fmla="*/ 123865 w 419100"/>
                  <a:gd name="connsiteY126" fmla="*/ 271531 h 295275"/>
                  <a:gd name="connsiteX127" fmla="*/ 127554 w 419100"/>
                  <a:gd name="connsiteY127" fmla="*/ 267844 h 295275"/>
                  <a:gd name="connsiteX128" fmla="*/ 127554 w 419100"/>
                  <a:gd name="connsiteY128" fmla="*/ 264149 h 295275"/>
                  <a:gd name="connsiteX129" fmla="*/ 131243 w 419100"/>
                  <a:gd name="connsiteY129" fmla="*/ 264149 h 295275"/>
                  <a:gd name="connsiteX130" fmla="*/ 134932 w 419100"/>
                  <a:gd name="connsiteY130" fmla="*/ 264149 h 295275"/>
                  <a:gd name="connsiteX131" fmla="*/ 138621 w 419100"/>
                  <a:gd name="connsiteY131" fmla="*/ 275226 h 295275"/>
                  <a:gd name="connsiteX132" fmla="*/ 134932 w 419100"/>
                  <a:gd name="connsiteY132" fmla="*/ 282608 h 295275"/>
                  <a:gd name="connsiteX133" fmla="*/ 149690 w 419100"/>
                  <a:gd name="connsiteY133" fmla="*/ 286294 h 295275"/>
                  <a:gd name="connsiteX134" fmla="*/ 157068 w 419100"/>
                  <a:gd name="connsiteY134" fmla="*/ 289990 h 295275"/>
                  <a:gd name="connsiteX135" fmla="*/ 171825 w 419100"/>
                  <a:gd name="connsiteY135" fmla="*/ 297372 h 295275"/>
                  <a:gd name="connsiteX136" fmla="*/ 175514 w 419100"/>
                  <a:gd name="connsiteY136" fmla="*/ 297372 h 295275"/>
                  <a:gd name="connsiteX137" fmla="*/ 179203 w 419100"/>
                  <a:gd name="connsiteY137" fmla="*/ 297372 h 295275"/>
                  <a:gd name="connsiteX138" fmla="*/ 182892 w 419100"/>
                  <a:gd name="connsiteY138" fmla="*/ 297372 h 295275"/>
                  <a:gd name="connsiteX139" fmla="*/ 190271 w 419100"/>
                  <a:gd name="connsiteY139" fmla="*/ 289990 h 295275"/>
                  <a:gd name="connsiteX140" fmla="*/ 193960 w 419100"/>
                  <a:gd name="connsiteY140" fmla="*/ 278912 h 295275"/>
                  <a:gd name="connsiteX141" fmla="*/ 197649 w 419100"/>
                  <a:gd name="connsiteY141" fmla="*/ 271531 h 295275"/>
                  <a:gd name="connsiteX142" fmla="*/ 201338 w 419100"/>
                  <a:gd name="connsiteY142" fmla="*/ 275226 h 295275"/>
                  <a:gd name="connsiteX143" fmla="*/ 205027 w 419100"/>
                  <a:gd name="connsiteY143" fmla="*/ 278912 h 295275"/>
                  <a:gd name="connsiteX144" fmla="*/ 208716 w 419100"/>
                  <a:gd name="connsiteY144" fmla="*/ 278912 h 295275"/>
                  <a:gd name="connsiteX145" fmla="*/ 212406 w 419100"/>
                  <a:gd name="connsiteY145" fmla="*/ 278912 h 295275"/>
                  <a:gd name="connsiteX146" fmla="*/ 216095 w 419100"/>
                  <a:gd name="connsiteY146" fmla="*/ 275226 h 295275"/>
                  <a:gd name="connsiteX147" fmla="*/ 219784 w 419100"/>
                  <a:gd name="connsiteY147" fmla="*/ 271531 h 295275"/>
                  <a:gd name="connsiteX148" fmla="*/ 219784 w 419100"/>
                  <a:gd name="connsiteY148" fmla="*/ 264149 h 295275"/>
                  <a:gd name="connsiteX149" fmla="*/ 223473 w 419100"/>
                  <a:gd name="connsiteY149" fmla="*/ 264149 h 295275"/>
                  <a:gd name="connsiteX150" fmla="*/ 227162 w 419100"/>
                  <a:gd name="connsiteY150" fmla="*/ 264149 h 295275"/>
                  <a:gd name="connsiteX151" fmla="*/ 234541 w 419100"/>
                  <a:gd name="connsiteY151" fmla="*/ 267844 h 295275"/>
                  <a:gd name="connsiteX152" fmla="*/ 241923 w 419100"/>
                  <a:gd name="connsiteY152" fmla="*/ 275226 h 295275"/>
                  <a:gd name="connsiteX153" fmla="*/ 245609 w 419100"/>
                  <a:gd name="connsiteY153" fmla="*/ 275226 h 295275"/>
                  <a:gd name="connsiteX154" fmla="*/ 256677 w 419100"/>
                  <a:gd name="connsiteY154" fmla="*/ 275226 h 295275"/>
                  <a:gd name="connsiteX155" fmla="*/ 260363 w 419100"/>
                  <a:gd name="connsiteY155" fmla="*/ 278912 h 295275"/>
                  <a:gd name="connsiteX156" fmla="*/ 264050 w 419100"/>
                  <a:gd name="connsiteY156" fmla="*/ 282608 h 295275"/>
                  <a:gd name="connsiteX157" fmla="*/ 267745 w 419100"/>
                  <a:gd name="connsiteY157" fmla="*/ 282608 h 295275"/>
                  <a:gd name="connsiteX158" fmla="*/ 271431 w 419100"/>
                  <a:gd name="connsiteY158" fmla="*/ 278912 h 295275"/>
                  <a:gd name="connsiteX159" fmla="*/ 275118 w 419100"/>
                  <a:gd name="connsiteY159" fmla="*/ 278912 h 295275"/>
                  <a:gd name="connsiteX160" fmla="*/ 275118 w 419100"/>
                  <a:gd name="connsiteY160" fmla="*/ 275226 h 295275"/>
                  <a:gd name="connsiteX161" fmla="*/ 278813 w 419100"/>
                  <a:gd name="connsiteY161" fmla="*/ 271531 h 295275"/>
                  <a:gd name="connsiteX162" fmla="*/ 282499 w 419100"/>
                  <a:gd name="connsiteY162" fmla="*/ 271531 h 295275"/>
                  <a:gd name="connsiteX163" fmla="*/ 286186 w 419100"/>
                  <a:gd name="connsiteY163" fmla="*/ 267844 h 295275"/>
                  <a:gd name="connsiteX164" fmla="*/ 293568 w 419100"/>
                  <a:gd name="connsiteY164" fmla="*/ 271531 h 295275"/>
                  <a:gd name="connsiteX165" fmla="*/ 297254 w 419100"/>
                  <a:gd name="connsiteY165" fmla="*/ 271531 h 295275"/>
                  <a:gd name="connsiteX166" fmla="*/ 300949 w 419100"/>
                  <a:gd name="connsiteY166" fmla="*/ 267844 h 295275"/>
                  <a:gd name="connsiteX167" fmla="*/ 304636 w 419100"/>
                  <a:gd name="connsiteY167" fmla="*/ 267844 h 295275"/>
                  <a:gd name="connsiteX168" fmla="*/ 312017 w 419100"/>
                  <a:gd name="connsiteY168" fmla="*/ 264149 h 295275"/>
                  <a:gd name="connsiteX169" fmla="*/ 315704 w 419100"/>
                  <a:gd name="connsiteY169" fmla="*/ 264149 h 295275"/>
                  <a:gd name="connsiteX170" fmla="*/ 319390 w 419100"/>
                  <a:gd name="connsiteY170" fmla="*/ 260462 h 295275"/>
                  <a:gd name="connsiteX171" fmla="*/ 323086 w 419100"/>
                  <a:gd name="connsiteY171" fmla="*/ 256776 h 295275"/>
                  <a:gd name="connsiteX172" fmla="*/ 326772 w 419100"/>
                  <a:gd name="connsiteY172" fmla="*/ 256776 h 295275"/>
                  <a:gd name="connsiteX173" fmla="*/ 330458 w 419100"/>
                  <a:gd name="connsiteY173" fmla="*/ 260462 h 295275"/>
                  <a:gd name="connsiteX174" fmla="*/ 341526 w 419100"/>
                  <a:gd name="connsiteY174" fmla="*/ 260462 h 295275"/>
                  <a:gd name="connsiteX175" fmla="*/ 345212 w 419100"/>
                  <a:gd name="connsiteY175" fmla="*/ 260462 h 295275"/>
                  <a:gd name="connsiteX176" fmla="*/ 348908 w 419100"/>
                  <a:gd name="connsiteY176" fmla="*/ 260462 h 295275"/>
                  <a:gd name="connsiteX177" fmla="*/ 352594 w 419100"/>
                  <a:gd name="connsiteY177" fmla="*/ 264149 h 295275"/>
                  <a:gd name="connsiteX178" fmla="*/ 359976 w 419100"/>
                  <a:gd name="connsiteY178" fmla="*/ 267844 h 295275"/>
                  <a:gd name="connsiteX179" fmla="*/ 363662 w 419100"/>
                  <a:gd name="connsiteY179" fmla="*/ 267844 h 295275"/>
                  <a:gd name="connsiteX180" fmla="*/ 367348 w 419100"/>
                  <a:gd name="connsiteY180" fmla="*/ 271531 h 295275"/>
                  <a:gd name="connsiteX181" fmla="*/ 371044 w 419100"/>
                  <a:gd name="connsiteY181" fmla="*/ 271531 h 295275"/>
                  <a:gd name="connsiteX182" fmla="*/ 374730 w 419100"/>
                  <a:gd name="connsiteY182" fmla="*/ 271531 h 295275"/>
                  <a:gd name="connsiteX183" fmla="*/ 378416 w 419100"/>
                  <a:gd name="connsiteY183" fmla="*/ 278912 h 295275"/>
                  <a:gd name="connsiteX184" fmla="*/ 385798 w 419100"/>
                  <a:gd name="connsiteY184" fmla="*/ 282608 h 295275"/>
                  <a:gd name="connsiteX185" fmla="*/ 396866 w 419100"/>
                  <a:gd name="connsiteY185" fmla="*/ 286294 h 295275"/>
                  <a:gd name="connsiteX186" fmla="*/ 404239 w 419100"/>
                  <a:gd name="connsiteY186" fmla="*/ 289990 h 295275"/>
                  <a:gd name="connsiteX187" fmla="*/ 411620 w 419100"/>
                  <a:gd name="connsiteY187" fmla="*/ 286294 h 295275"/>
                  <a:gd name="connsiteX188" fmla="*/ 415307 w 419100"/>
                  <a:gd name="connsiteY188" fmla="*/ 282608 h 295275"/>
                  <a:gd name="connsiteX189" fmla="*/ 415307 w 419100"/>
                  <a:gd name="connsiteY189" fmla="*/ 278912 h 295275"/>
                  <a:gd name="connsiteX190" fmla="*/ 415307 w 419100"/>
                  <a:gd name="connsiteY190" fmla="*/ 275226 h 295275"/>
                  <a:gd name="connsiteX191" fmla="*/ 411620 w 419100"/>
                  <a:gd name="connsiteY191" fmla="*/ 271531 h 295275"/>
                  <a:gd name="connsiteX192" fmla="*/ 415307 w 419100"/>
                  <a:gd name="connsiteY192" fmla="*/ 267844 h 295275"/>
                  <a:gd name="connsiteX193" fmla="*/ 411620 w 419100"/>
                  <a:gd name="connsiteY193" fmla="*/ 264149 h 295275"/>
                  <a:gd name="connsiteX194" fmla="*/ 411620 w 419100"/>
                  <a:gd name="connsiteY194" fmla="*/ 260462 h 295275"/>
                  <a:gd name="connsiteX195" fmla="*/ 407934 w 419100"/>
                  <a:gd name="connsiteY195" fmla="*/ 253081 h 295275"/>
                  <a:gd name="connsiteX196" fmla="*/ 407934 w 419100"/>
                  <a:gd name="connsiteY196" fmla="*/ 249394 h 295275"/>
                  <a:gd name="connsiteX197" fmla="*/ 404239 w 419100"/>
                  <a:gd name="connsiteY197" fmla="*/ 249394 h 295275"/>
                  <a:gd name="connsiteX198" fmla="*/ 400552 w 419100"/>
                  <a:gd name="connsiteY198" fmla="*/ 245699 h 295275"/>
                  <a:gd name="connsiteX199" fmla="*/ 396866 w 419100"/>
                  <a:gd name="connsiteY199" fmla="*/ 242013 h 295275"/>
                  <a:gd name="connsiteX200" fmla="*/ 396866 w 419100"/>
                  <a:gd name="connsiteY200" fmla="*/ 238317 h 295275"/>
                  <a:gd name="connsiteX201" fmla="*/ 396866 w 419100"/>
                  <a:gd name="connsiteY201" fmla="*/ 234631 h 295275"/>
                  <a:gd name="connsiteX202" fmla="*/ 396866 w 419100"/>
                  <a:gd name="connsiteY202" fmla="*/ 230935 h 295275"/>
                  <a:gd name="connsiteX203" fmla="*/ 396866 w 419100"/>
                  <a:gd name="connsiteY203" fmla="*/ 219867 h 295275"/>
                  <a:gd name="connsiteX204" fmla="*/ 385798 w 419100"/>
                  <a:gd name="connsiteY204" fmla="*/ 212485 h 295275"/>
                  <a:gd name="connsiteX205" fmla="*/ 389484 w 419100"/>
                  <a:gd name="connsiteY205" fmla="*/ 212485 h 295275"/>
                  <a:gd name="connsiteX206" fmla="*/ 389484 w 419100"/>
                  <a:gd name="connsiteY206" fmla="*/ 208799 h 295275"/>
                  <a:gd name="connsiteX207" fmla="*/ 382112 w 419100"/>
                  <a:gd name="connsiteY207" fmla="*/ 208799 h 295275"/>
                  <a:gd name="connsiteX208" fmla="*/ 382112 w 419100"/>
                  <a:gd name="connsiteY208" fmla="*/ 190339 h 295275"/>
                  <a:gd name="connsiteX209" fmla="*/ 382112 w 419100"/>
                  <a:gd name="connsiteY209" fmla="*/ 186653 h 295275"/>
                  <a:gd name="connsiteX210" fmla="*/ 385798 w 419100"/>
                  <a:gd name="connsiteY210" fmla="*/ 182958 h 295275"/>
                  <a:gd name="connsiteX211" fmla="*/ 382112 w 419100"/>
                  <a:gd name="connsiteY211" fmla="*/ 179271 h 295275"/>
                  <a:gd name="connsiteX212" fmla="*/ 382112 w 419100"/>
                  <a:gd name="connsiteY212" fmla="*/ 175576 h 295275"/>
                  <a:gd name="connsiteX213" fmla="*/ 382112 w 419100"/>
                  <a:gd name="connsiteY213" fmla="*/ 171890 h 295275"/>
                  <a:gd name="connsiteX214" fmla="*/ 382112 w 419100"/>
                  <a:gd name="connsiteY214" fmla="*/ 168194 h 295275"/>
                  <a:gd name="connsiteX215" fmla="*/ 378416 w 419100"/>
                  <a:gd name="connsiteY215" fmla="*/ 160821 h 295275"/>
                  <a:gd name="connsiteX216" fmla="*/ 367348 w 419100"/>
                  <a:gd name="connsiteY216" fmla="*/ 164508 h 295275"/>
                  <a:gd name="connsiteX217" fmla="*/ 371044 w 419100"/>
                  <a:gd name="connsiteY217" fmla="*/ 168194 h 295275"/>
                  <a:gd name="connsiteX218" fmla="*/ 371044 w 419100"/>
                  <a:gd name="connsiteY218" fmla="*/ 171890 h 295275"/>
                  <a:gd name="connsiteX219" fmla="*/ 371044 w 419100"/>
                  <a:gd name="connsiteY219" fmla="*/ 175576 h 295275"/>
                  <a:gd name="connsiteX220" fmla="*/ 367348 w 419100"/>
                  <a:gd name="connsiteY220" fmla="*/ 175576 h 295275"/>
                  <a:gd name="connsiteX221" fmla="*/ 367348 w 419100"/>
                  <a:gd name="connsiteY221" fmla="*/ 179271 h 295275"/>
                  <a:gd name="connsiteX222" fmla="*/ 363662 w 419100"/>
                  <a:gd name="connsiteY222" fmla="*/ 182958 h 295275"/>
                  <a:gd name="connsiteX223" fmla="*/ 359976 w 419100"/>
                  <a:gd name="connsiteY223" fmla="*/ 182958 h 295275"/>
                  <a:gd name="connsiteX224" fmla="*/ 356280 w 419100"/>
                  <a:gd name="connsiteY224" fmla="*/ 186653 h 295275"/>
                  <a:gd name="connsiteX225" fmla="*/ 352594 w 419100"/>
                  <a:gd name="connsiteY225" fmla="*/ 190339 h 295275"/>
                  <a:gd name="connsiteX226" fmla="*/ 348908 w 419100"/>
                  <a:gd name="connsiteY226" fmla="*/ 190339 h 295275"/>
                  <a:gd name="connsiteX227" fmla="*/ 345212 w 419100"/>
                  <a:gd name="connsiteY227" fmla="*/ 190339 h 295275"/>
                  <a:gd name="connsiteX228" fmla="*/ 337840 w 419100"/>
                  <a:gd name="connsiteY228" fmla="*/ 186653 h 295275"/>
                  <a:gd name="connsiteX229" fmla="*/ 334144 w 419100"/>
                  <a:gd name="connsiteY229" fmla="*/ 182958 h 295275"/>
                  <a:gd name="connsiteX230" fmla="*/ 334144 w 419100"/>
                  <a:gd name="connsiteY230" fmla="*/ 179271 h 295275"/>
                  <a:gd name="connsiteX231" fmla="*/ 337840 w 419100"/>
                  <a:gd name="connsiteY231" fmla="*/ 179271 h 295275"/>
                  <a:gd name="connsiteX232" fmla="*/ 341526 w 419100"/>
                  <a:gd name="connsiteY232" fmla="*/ 175576 h 295275"/>
                  <a:gd name="connsiteX233" fmla="*/ 345212 w 419100"/>
                  <a:gd name="connsiteY233" fmla="*/ 171890 h 295275"/>
                  <a:gd name="connsiteX234" fmla="*/ 345212 w 419100"/>
                  <a:gd name="connsiteY234" fmla="*/ 168194 h 295275"/>
                  <a:gd name="connsiteX235" fmla="*/ 345212 w 419100"/>
                  <a:gd name="connsiteY235" fmla="*/ 160821 h 295275"/>
                  <a:gd name="connsiteX236" fmla="*/ 348908 w 419100"/>
                  <a:gd name="connsiteY236" fmla="*/ 157126 h 295275"/>
                  <a:gd name="connsiteX237" fmla="*/ 348908 w 419100"/>
                  <a:gd name="connsiteY237" fmla="*/ 153440 h 295275"/>
                  <a:gd name="connsiteX238" fmla="*/ 352594 w 419100"/>
                  <a:gd name="connsiteY238" fmla="*/ 153440 h 295275"/>
                  <a:gd name="connsiteX239" fmla="*/ 356280 w 419100"/>
                  <a:gd name="connsiteY239" fmla="*/ 153440 h 295275"/>
                  <a:gd name="connsiteX240" fmla="*/ 356280 w 419100"/>
                  <a:gd name="connsiteY240" fmla="*/ 149744 h 295275"/>
                  <a:gd name="connsiteX241" fmla="*/ 352594 w 419100"/>
                  <a:gd name="connsiteY241" fmla="*/ 149744 h 295275"/>
                  <a:gd name="connsiteX242" fmla="*/ 352594 w 419100"/>
                  <a:gd name="connsiteY242" fmla="*/ 146058 h 295275"/>
                  <a:gd name="connsiteX243" fmla="*/ 352594 w 419100"/>
                  <a:gd name="connsiteY243" fmla="*/ 142362 h 295275"/>
                  <a:gd name="connsiteX244" fmla="*/ 359976 w 419100"/>
                  <a:gd name="connsiteY244" fmla="*/ 142362 h 295275"/>
                  <a:gd name="connsiteX245" fmla="*/ 359976 w 419100"/>
                  <a:gd name="connsiteY245" fmla="*/ 138676 h 295275"/>
                  <a:gd name="connsiteX246" fmla="*/ 359976 w 419100"/>
                  <a:gd name="connsiteY246" fmla="*/ 134980 h 295275"/>
                  <a:gd name="connsiteX247" fmla="*/ 352594 w 419100"/>
                  <a:gd name="connsiteY247" fmla="*/ 134980 h 295275"/>
                  <a:gd name="connsiteX248" fmla="*/ 352594 w 419100"/>
                  <a:gd name="connsiteY248" fmla="*/ 127598 h 295275"/>
                  <a:gd name="connsiteX249" fmla="*/ 348908 w 419100"/>
                  <a:gd name="connsiteY249" fmla="*/ 127598 h 295275"/>
                  <a:gd name="connsiteX250" fmla="*/ 345212 w 419100"/>
                  <a:gd name="connsiteY250" fmla="*/ 127598 h 295275"/>
                  <a:gd name="connsiteX251" fmla="*/ 345212 w 419100"/>
                  <a:gd name="connsiteY251" fmla="*/ 123912 h 295275"/>
                  <a:gd name="connsiteX252" fmla="*/ 345212 w 419100"/>
                  <a:gd name="connsiteY252" fmla="*/ 120216 h 295275"/>
                  <a:gd name="connsiteX253" fmla="*/ 341526 w 419100"/>
                  <a:gd name="connsiteY253" fmla="*/ 116530 h 295275"/>
                  <a:gd name="connsiteX254" fmla="*/ 345212 w 419100"/>
                  <a:gd name="connsiteY254" fmla="*/ 116530 h 295275"/>
                  <a:gd name="connsiteX255" fmla="*/ 345212 w 419100"/>
                  <a:gd name="connsiteY255" fmla="*/ 112844 h 295275"/>
                  <a:gd name="connsiteX256" fmla="*/ 326772 w 419100"/>
                  <a:gd name="connsiteY256" fmla="*/ 112844 h 295275"/>
                  <a:gd name="connsiteX257" fmla="*/ 323086 w 419100"/>
                  <a:gd name="connsiteY257" fmla="*/ 109148 h 295275"/>
                  <a:gd name="connsiteX258" fmla="*/ 323086 w 419100"/>
                  <a:gd name="connsiteY258" fmla="*/ 98080 h 295275"/>
                  <a:gd name="connsiteX259" fmla="*/ 323086 w 419100"/>
                  <a:gd name="connsiteY259" fmla="*/ 94385 h 295275"/>
                  <a:gd name="connsiteX260" fmla="*/ 323086 w 419100"/>
                  <a:gd name="connsiteY260" fmla="*/ 90698 h 295275"/>
                  <a:gd name="connsiteX261" fmla="*/ 323086 w 419100"/>
                  <a:gd name="connsiteY261" fmla="*/ 87003 h 295275"/>
                  <a:gd name="connsiteX262" fmla="*/ 323086 w 419100"/>
                  <a:gd name="connsiteY262" fmla="*/ 83316 h 295275"/>
                  <a:gd name="connsiteX263" fmla="*/ 308322 w 419100"/>
                  <a:gd name="connsiteY263" fmla="*/ 72239 h 295275"/>
                  <a:gd name="connsiteX264" fmla="*/ 308322 w 419100"/>
                  <a:gd name="connsiteY264" fmla="*/ 75935 h 295275"/>
                  <a:gd name="connsiteX265" fmla="*/ 300949 w 419100"/>
                  <a:gd name="connsiteY265" fmla="*/ 72239 h 295275"/>
                  <a:gd name="connsiteX266" fmla="*/ 300949 w 419100"/>
                  <a:gd name="connsiteY266" fmla="*/ 68553 h 295275"/>
                  <a:gd name="connsiteX267" fmla="*/ 304636 w 419100"/>
                  <a:gd name="connsiteY267" fmla="*/ 50103 h 295275"/>
                  <a:gd name="connsiteX268" fmla="*/ 300949 w 419100"/>
                  <a:gd name="connsiteY268" fmla="*/ 46407 h 295275"/>
                  <a:gd name="connsiteX269" fmla="*/ 297254 w 419100"/>
                  <a:gd name="connsiteY269" fmla="*/ 42721 h 295275"/>
                  <a:gd name="connsiteX270" fmla="*/ 293568 w 419100"/>
                  <a:gd name="connsiteY270" fmla="*/ 39025 h 295275"/>
                  <a:gd name="connsiteX271" fmla="*/ 289881 w 419100"/>
                  <a:gd name="connsiteY271" fmla="*/ 39025 h 295275"/>
                  <a:gd name="connsiteX272" fmla="*/ 289881 w 419100"/>
                  <a:gd name="connsiteY272" fmla="*/ 35339 h 295275"/>
                  <a:gd name="connsiteX273" fmla="*/ 286186 w 419100"/>
                  <a:gd name="connsiteY273" fmla="*/ 31643 h 295275"/>
                  <a:gd name="connsiteX274" fmla="*/ 282499 w 419100"/>
                  <a:gd name="connsiteY274" fmla="*/ 31643 h 295275"/>
                  <a:gd name="connsiteX275" fmla="*/ 278813 w 419100"/>
                  <a:gd name="connsiteY275" fmla="*/ 31643 h 295275"/>
                  <a:gd name="connsiteX276" fmla="*/ 275118 w 419100"/>
                  <a:gd name="connsiteY276" fmla="*/ 31643 h 295275"/>
                  <a:gd name="connsiteX277" fmla="*/ 271431 w 419100"/>
                  <a:gd name="connsiteY277" fmla="*/ 27957 h 295275"/>
                  <a:gd name="connsiteX278" fmla="*/ 264050 w 419100"/>
                  <a:gd name="connsiteY278" fmla="*/ 27957 h 295275"/>
                  <a:gd name="connsiteX279" fmla="*/ 260363 w 419100"/>
                  <a:gd name="connsiteY279" fmla="*/ 24262 h 295275"/>
                  <a:gd name="connsiteX280" fmla="*/ 245609 w 419100"/>
                  <a:gd name="connsiteY280" fmla="*/ 24262 h 295275"/>
                  <a:gd name="connsiteX281" fmla="*/ 238227 w 419100"/>
                  <a:gd name="connsiteY281" fmla="*/ 20575 h 295275"/>
                  <a:gd name="connsiteX282" fmla="*/ 227162 w 419100"/>
                  <a:gd name="connsiteY282" fmla="*/ 42721 h 295275"/>
                  <a:gd name="connsiteX283" fmla="*/ 227162 w 419100"/>
                  <a:gd name="connsiteY283" fmla="*/ 46407 h 295275"/>
                  <a:gd name="connsiteX284" fmla="*/ 227162 w 419100"/>
                  <a:gd name="connsiteY284" fmla="*/ 50103 h 295275"/>
                  <a:gd name="connsiteX285" fmla="*/ 223473 w 419100"/>
                  <a:gd name="connsiteY285" fmla="*/ 57485 h 295275"/>
                  <a:gd name="connsiteX286" fmla="*/ 219784 w 419100"/>
                  <a:gd name="connsiteY286" fmla="*/ 68553 h 295275"/>
                  <a:gd name="connsiteX287" fmla="*/ 216095 w 419100"/>
                  <a:gd name="connsiteY287" fmla="*/ 75935 h 295275"/>
                  <a:gd name="connsiteX288" fmla="*/ 216095 w 419100"/>
                  <a:gd name="connsiteY288" fmla="*/ 83316 h 295275"/>
                  <a:gd name="connsiteX289" fmla="*/ 212406 w 419100"/>
                  <a:gd name="connsiteY289" fmla="*/ 87003 h 295275"/>
                  <a:gd name="connsiteX290" fmla="*/ 212406 w 419100"/>
                  <a:gd name="connsiteY290" fmla="*/ 90698 h 295275"/>
                  <a:gd name="connsiteX291" fmla="*/ 205027 w 419100"/>
                  <a:gd name="connsiteY291" fmla="*/ 105462 h 295275"/>
                  <a:gd name="connsiteX292" fmla="*/ 197649 w 419100"/>
                  <a:gd name="connsiteY292" fmla="*/ 105462 h 295275"/>
                  <a:gd name="connsiteX293" fmla="*/ 193960 w 419100"/>
                  <a:gd name="connsiteY293" fmla="*/ 105462 h 295275"/>
                  <a:gd name="connsiteX294" fmla="*/ 190271 w 419100"/>
                  <a:gd name="connsiteY294" fmla="*/ 105462 h 295275"/>
                  <a:gd name="connsiteX295" fmla="*/ 168136 w 419100"/>
                  <a:gd name="connsiteY295" fmla="*/ 101766 h 295275"/>
                  <a:gd name="connsiteX296" fmla="*/ 164447 w 419100"/>
                  <a:gd name="connsiteY296" fmla="*/ 101766 h 295275"/>
                  <a:gd name="connsiteX297" fmla="*/ 146001 w 419100"/>
                  <a:gd name="connsiteY297" fmla="*/ 109148 h 295275"/>
                  <a:gd name="connsiteX298" fmla="*/ 131243 w 419100"/>
                  <a:gd name="connsiteY298" fmla="*/ 112844 h 295275"/>
                  <a:gd name="connsiteX299" fmla="*/ 131243 w 419100"/>
                  <a:gd name="connsiteY299" fmla="*/ 98080 h 295275"/>
                  <a:gd name="connsiteX300" fmla="*/ 127554 w 419100"/>
                  <a:gd name="connsiteY300" fmla="*/ 98080 h 295275"/>
                  <a:gd name="connsiteX301" fmla="*/ 127554 w 419100"/>
                  <a:gd name="connsiteY301" fmla="*/ 90698 h 295275"/>
                  <a:gd name="connsiteX302" fmla="*/ 127554 w 419100"/>
                  <a:gd name="connsiteY302" fmla="*/ 87003 h 295275"/>
                  <a:gd name="connsiteX303" fmla="*/ 123865 w 419100"/>
                  <a:gd name="connsiteY303" fmla="*/ 87003 h 295275"/>
                  <a:gd name="connsiteX304" fmla="*/ 120176 w 419100"/>
                  <a:gd name="connsiteY304" fmla="*/ 83316 h 295275"/>
                  <a:gd name="connsiteX305" fmla="*/ 127554 w 419100"/>
                  <a:gd name="connsiteY305" fmla="*/ 83316 h 295275"/>
                  <a:gd name="connsiteX306" fmla="*/ 127554 w 419100"/>
                  <a:gd name="connsiteY306" fmla="*/ 79621 h 295275"/>
                  <a:gd name="connsiteX307" fmla="*/ 127554 w 419100"/>
                  <a:gd name="connsiteY307" fmla="*/ 75935 h 295275"/>
                  <a:gd name="connsiteX308" fmla="*/ 127554 w 419100"/>
                  <a:gd name="connsiteY308" fmla="*/ 68553 h 295275"/>
                  <a:gd name="connsiteX309" fmla="*/ 127554 w 419100"/>
                  <a:gd name="connsiteY309" fmla="*/ 61171 h 295275"/>
                  <a:gd name="connsiteX310" fmla="*/ 131243 w 419100"/>
                  <a:gd name="connsiteY310" fmla="*/ 61171 h 295275"/>
                  <a:gd name="connsiteX311" fmla="*/ 138621 w 419100"/>
                  <a:gd name="connsiteY311" fmla="*/ 57485 h 295275"/>
                  <a:gd name="connsiteX312" fmla="*/ 131243 w 419100"/>
                  <a:gd name="connsiteY312" fmla="*/ 53789 h 295275"/>
                  <a:gd name="connsiteX313" fmla="*/ 131243 w 419100"/>
                  <a:gd name="connsiteY313" fmla="*/ 46407 h 295275"/>
                  <a:gd name="connsiteX314" fmla="*/ 131243 w 419100"/>
                  <a:gd name="connsiteY314" fmla="*/ 42721 h 295275"/>
                  <a:gd name="connsiteX315" fmla="*/ 127554 w 419100"/>
                  <a:gd name="connsiteY315" fmla="*/ 42721 h 295275"/>
                  <a:gd name="connsiteX316" fmla="*/ 127554 w 419100"/>
                  <a:gd name="connsiteY316" fmla="*/ 46407 h 295275"/>
                  <a:gd name="connsiteX317" fmla="*/ 123865 w 419100"/>
                  <a:gd name="connsiteY317" fmla="*/ 42721 h 295275"/>
                  <a:gd name="connsiteX318" fmla="*/ 120176 w 419100"/>
                  <a:gd name="connsiteY318" fmla="*/ 31643 h 295275"/>
                  <a:gd name="connsiteX319" fmla="*/ 120176 w 419100"/>
                  <a:gd name="connsiteY319" fmla="*/ 27957 h 295275"/>
                  <a:gd name="connsiteX320" fmla="*/ 123865 w 419100"/>
                  <a:gd name="connsiteY320" fmla="*/ 27957 h 295275"/>
                  <a:gd name="connsiteX321" fmla="*/ 127554 w 419100"/>
                  <a:gd name="connsiteY321" fmla="*/ 27957 h 295275"/>
                  <a:gd name="connsiteX322" fmla="*/ 127554 w 419100"/>
                  <a:gd name="connsiteY322" fmla="*/ 24262 h 295275"/>
                  <a:gd name="connsiteX323" fmla="*/ 131243 w 419100"/>
                  <a:gd name="connsiteY323" fmla="*/ 24262 h 295275"/>
                  <a:gd name="connsiteX324" fmla="*/ 134932 w 419100"/>
                  <a:gd name="connsiteY324" fmla="*/ 24262 h 295275"/>
                  <a:gd name="connsiteX325" fmla="*/ 134932 w 419100"/>
                  <a:gd name="connsiteY325" fmla="*/ 20575 h 295275"/>
                  <a:gd name="connsiteX326" fmla="*/ 138621 w 419100"/>
                  <a:gd name="connsiteY326" fmla="*/ 20575 h 295275"/>
                  <a:gd name="connsiteX327" fmla="*/ 142312 w 419100"/>
                  <a:gd name="connsiteY327" fmla="*/ 20575 h 295275"/>
                  <a:gd name="connsiteX328" fmla="*/ 138621 w 419100"/>
                  <a:gd name="connsiteY328" fmla="*/ 16889 h 295275"/>
                  <a:gd name="connsiteX329" fmla="*/ 134932 w 419100"/>
                  <a:gd name="connsiteY329" fmla="*/ 16889 h 295275"/>
                  <a:gd name="connsiteX330" fmla="*/ 131243 w 419100"/>
                  <a:gd name="connsiteY330" fmla="*/ 20575 h 295275"/>
                  <a:gd name="connsiteX331" fmla="*/ 127554 w 419100"/>
                  <a:gd name="connsiteY331" fmla="*/ 20575 h 295275"/>
                  <a:gd name="connsiteX332" fmla="*/ 123865 w 419100"/>
                  <a:gd name="connsiteY332" fmla="*/ 16889 h 295275"/>
                  <a:gd name="connsiteX333" fmla="*/ 120176 w 419100"/>
                  <a:gd name="connsiteY333" fmla="*/ 20575 h 295275"/>
                  <a:gd name="connsiteX334" fmla="*/ 120176 w 419100"/>
                  <a:gd name="connsiteY334" fmla="*/ 5812 h 295275"/>
                  <a:gd name="connsiteX335" fmla="*/ 116486 w 419100"/>
                  <a:gd name="connsiteY335" fmla="*/ 5812 h 295275"/>
                  <a:gd name="connsiteX336" fmla="*/ 112797 w 419100"/>
                  <a:gd name="connsiteY336" fmla="*/ 5812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Lst>
                <a:rect l="l" t="t" r="r" b="b"/>
                <a:pathLst>
                  <a:path w="419100" h="295275">
                    <a:moveTo>
                      <a:pt x="112797" y="5812"/>
                    </a:moveTo>
                    <a:lnTo>
                      <a:pt x="112797" y="9507"/>
                    </a:lnTo>
                    <a:lnTo>
                      <a:pt x="109108" y="9507"/>
                    </a:lnTo>
                    <a:lnTo>
                      <a:pt x="109108" y="13193"/>
                    </a:lnTo>
                    <a:lnTo>
                      <a:pt x="109108" y="16889"/>
                    </a:lnTo>
                    <a:lnTo>
                      <a:pt x="101730" y="13193"/>
                    </a:lnTo>
                    <a:lnTo>
                      <a:pt x="101730" y="16889"/>
                    </a:lnTo>
                    <a:lnTo>
                      <a:pt x="94351" y="20575"/>
                    </a:lnTo>
                    <a:lnTo>
                      <a:pt x="94351" y="24262"/>
                    </a:lnTo>
                    <a:lnTo>
                      <a:pt x="90662" y="24262"/>
                    </a:lnTo>
                    <a:lnTo>
                      <a:pt x="86973" y="24262"/>
                    </a:lnTo>
                    <a:lnTo>
                      <a:pt x="83284" y="24262"/>
                    </a:lnTo>
                    <a:lnTo>
                      <a:pt x="75906" y="20575"/>
                    </a:lnTo>
                    <a:lnTo>
                      <a:pt x="72217" y="24262"/>
                    </a:lnTo>
                    <a:lnTo>
                      <a:pt x="72217" y="27957"/>
                    </a:lnTo>
                    <a:lnTo>
                      <a:pt x="75906" y="31643"/>
                    </a:lnTo>
                    <a:lnTo>
                      <a:pt x="72217" y="35339"/>
                    </a:lnTo>
                    <a:lnTo>
                      <a:pt x="68527" y="39025"/>
                    </a:lnTo>
                    <a:lnTo>
                      <a:pt x="68527" y="42721"/>
                    </a:lnTo>
                    <a:lnTo>
                      <a:pt x="64838" y="42721"/>
                    </a:lnTo>
                    <a:lnTo>
                      <a:pt x="61149" y="42721"/>
                    </a:lnTo>
                    <a:lnTo>
                      <a:pt x="61149" y="46407"/>
                    </a:lnTo>
                    <a:lnTo>
                      <a:pt x="57460" y="42721"/>
                    </a:lnTo>
                    <a:lnTo>
                      <a:pt x="53771" y="42721"/>
                    </a:lnTo>
                    <a:lnTo>
                      <a:pt x="50082" y="42721"/>
                    </a:lnTo>
                    <a:lnTo>
                      <a:pt x="46393" y="46407"/>
                    </a:lnTo>
                    <a:lnTo>
                      <a:pt x="39014" y="50103"/>
                    </a:lnTo>
                    <a:lnTo>
                      <a:pt x="39014" y="53789"/>
                    </a:lnTo>
                    <a:lnTo>
                      <a:pt x="35325" y="53789"/>
                    </a:lnTo>
                    <a:lnTo>
                      <a:pt x="31636" y="57485"/>
                    </a:lnTo>
                    <a:lnTo>
                      <a:pt x="27947" y="57485"/>
                    </a:lnTo>
                    <a:lnTo>
                      <a:pt x="27947" y="61171"/>
                    </a:lnTo>
                    <a:lnTo>
                      <a:pt x="24257" y="61171"/>
                    </a:lnTo>
                    <a:lnTo>
                      <a:pt x="20568" y="64867"/>
                    </a:lnTo>
                    <a:lnTo>
                      <a:pt x="16879" y="64867"/>
                    </a:lnTo>
                    <a:lnTo>
                      <a:pt x="13190" y="64867"/>
                    </a:lnTo>
                    <a:lnTo>
                      <a:pt x="9501" y="64867"/>
                    </a:lnTo>
                    <a:lnTo>
                      <a:pt x="9501" y="68553"/>
                    </a:lnTo>
                    <a:lnTo>
                      <a:pt x="13190" y="72239"/>
                    </a:lnTo>
                    <a:lnTo>
                      <a:pt x="13190" y="79621"/>
                    </a:lnTo>
                    <a:lnTo>
                      <a:pt x="13190" y="83316"/>
                    </a:lnTo>
                    <a:lnTo>
                      <a:pt x="16879" y="83316"/>
                    </a:lnTo>
                    <a:lnTo>
                      <a:pt x="16879" y="87003"/>
                    </a:lnTo>
                    <a:lnTo>
                      <a:pt x="20568" y="90698"/>
                    </a:lnTo>
                    <a:lnTo>
                      <a:pt x="24257" y="90698"/>
                    </a:lnTo>
                    <a:lnTo>
                      <a:pt x="24257" y="94385"/>
                    </a:lnTo>
                    <a:lnTo>
                      <a:pt x="27947" y="98080"/>
                    </a:lnTo>
                    <a:lnTo>
                      <a:pt x="31636" y="101766"/>
                    </a:lnTo>
                    <a:lnTo>
                      <a:pt x="39014" y="101766"/>
                    </a:lnTo>
                    <a:lnTo>
                      <a:pt x="42703" y="105462"/>
                    </a:lnTo>
                    <a:lnTo>
                      <a:pt x="57460" y="116530"/>
                    </a:lnTo>
                    <a:lnTo>
                      <a:pt x="46393" y="120216"/>
                    </a:lnTo>
                    <a:lnTo>
                      <a:pt x="46393" y="134980"/>
                    </a:lnTo>
                    <a:lnTo>
                      <a:pt x="42703" y="134980"/>
                    </a:lnTo>
                    <a:lnTo>
                      <a:pt x="39014" y="134980"/>
                    </a:lnTo>
                    <a:lnTo>
                      <a:pt x="31636" y="134980"/>
                    </a:lnTo>
                    <a:lnTo>
                      <a:pt x="27947" y="134980"/>
                    </a:lnTo>
                    <a:lnTo>
                      <a:pt x="27947" y="131294"/>
                    </a:lnTo>
                    <a:lnTo>
                      <a:pt x="20568" y="131294"/>
                    </a:lnTo>
                    <a:lnTo>
                      <a:pt x="16879" y="134980"/>
                    </a:lnTo>
                    <a:lnTo>
                      <a:pt x="13190" y="138676"/>
                    </a:lnTo>
                    <a:lnTo>
                      <a:pt x="16879" y="138676"/>
                    </a:lnTo>
                    <a:lnTo>
                      <a:pt x="13190" y="142362"/>
                    </a:lnTo>
                    <a:lnTo>
                      <a:pt x="13190" y="146058"/>
                    </a:lnTo>
                    <a:lnTo>
                      <a:pt x="9501" y="146058"/>
                    </a:lnTo>
                    <a:lnTo>
                      <a:pt x="5812" y="146058"/>
                    </a:lnTo>
                    <a:lnTo>
                      <a:pt x="5812" y="149744"/>
                    </a:lnTo>
                    <a:lnTo>
                      <a:pt x="20568" y="157126"/>
                    </a:lnTo>
                    <a:lnTo>
                      <a:pt x="24257" y="160821"/>
                    </a:lnTo>
                    <a:lnTo>
                      <a:pt x="20568" y="160821"/>
                    </a:lnTo>
                    <a:lnTo>
                      <a:pt x="20568" y="171890"/>
                    </a:lnTo>
                    <a:lnTo>
                      <a:pt x="24257" y="182958"/>
                    </a:lnTo>
                    <a:lnTo>
                      <a:pt x="24257" y="186653"/>
                    </a:lnTo>
                    <a:lnTo>
                      <a:pt x="27947" y="186653"/>
                    </a:lnTo>
                    <a:lnTo>
                      <a:pt x="24257" y="190339"/>
                    </a:lnTo>
                    <a:lnTo>
                      <a:pt x="31636" y="190339"/>
                    </a:lnTo>
                    <a:lnTo>
                      <a:pt x="46393" y="190339"/>
                    </a:lnTo>
                    <a:lnTo>
                      <a:pt x="42703" y="194035"/>
                    </a:lnTo>
                    <a:lnTo>
                      <a:pt x="39014" y="197721"/>
                    </a:lnTo>
                    <a:lnTo>
                      <a:pt x="35325" y="197721"/>
                    </a:lnTo>
                    <a:lnTo>
                      <a:pt x="24257" y="205103"/>
                    </a:lnTo>
                    <a:lnTo>
                      <a:pt x="20568" y="216171"/>
                    </a:lnTo>
                    <a:lnTo>
                      <a:pt x="16879" y="219867"/>
                    </a:lnTo>
                    <a:lnTo>
                      <a:pt x="13190" y="219867"/>
                    </a:lnTo>
                    <a:lnTo>
                      <a:pt x="13190" y="223553"/>
                    </a:lnTo>
                    <a:lnTo>
                      <a:pt x="9501" y="227249"/>
                    </a:lnTo>
                    <a:lnTo>
                      <a:pt x="13190" y="234631"/>
                    </a:lnTo>
                    <a:lnTo>
                      <a:pt x="16879" y="234631"/>
                    </a:lnTo>
                    <a:lnTo>
                      <a:pt x="20568" y="230935"/>
                    </a:lnTo>
                    <a:lnTo>
                      <a:pt x="24257" y="230935"/>
                    </a:lnTo>
                    <a:lnTo>
                      <a:pt x="27947" y="230935"/>
                    </a:lnTo>
                    <a:lnTo>
                      <a:pt x="31636" y="230935"/>
                    </a:lnTo>
                    <a:lnTo>
                      <a:pt x="35325" y="230935"/>
                    </a:lnTo>
                    <a:lnTo>
                      <a:pt x="39014" y="242013"/>
                    </a:lnTo>
                    <a:lnTo>
                      <a:pt x="35325" y="242013"/>
                    </a:lnTo>
                    <a:lnTo>
                      <a:pt x="20568" y="245699"/>
                    </a:lnTo>
                    <a:lnTo>
                      <a:pt x="24257" y="249394"/>
                    </a:lnTo>
                    <a:lnTo>
                      <a:pt x="27947" y="256776"/>
                    </a:lnTo>
                    <a:lnTo>
                      <a:pt x="31636" y="264149"/>
                    </a:lnTo>
                    <a:lnTo>
                      <a:pt x="35325" y="267844"/>
                    </a:lnTo>
                    <a:lnTo>
                      <a:pt x="39014" y="271531"/>
                    </a:lnTo>
                    <a:lnTo>
                      <a:pt x="42703" y="275226"/>
                    </a:lnTo>
                    <a:lnTo>
                      <a:pt x="42703" y="278912"/>
                    </a:lnTo>
                    <a:lnTo>
                      <a:pt x="46393" y="282608"/>
                    </a:lnTo>
                    <a:lnTo>
                      <a:pt x="46393" y="289990"/>
                    </a:lnTo>
                    <a:lnTo>
                      <a:pt x="46393" y="293676"/>
                    </a:lnTo>
                    <a:lnTo>
                      <a:pt x="50082" y="293676"/>
                    </a:lnTo>
                    <a:lnTo>
                      <a:pt x="57460" y="293676"/>
                    </a:lnTo>
                    <a:lnTo>
                      <a:pt x="61149" y="293676"/>
                    </a:lnTo>
                    <a:lnTo>
                      <a:pt x="64838" y="289990"/>
                    </a:lnTo>
                    <a:lnTo>
                      <a:pt x="68527" y="289990"/>
                    </a:lnTo>
                    <a:lnTo>
                      <a:pt x="68527" y="286294"/>
                    </a:lnTo>
                    <a:lnTo>
                      <a:pt x="72217" y="286294"/>
                    </a:lnTo>
                    <a:lnTo>
                      <a:pt x="75906" y="278912"/>
                    </a:lnTo>
                    <a:lnTo>
                      <a:pt x="79595" y="275226"/>
                    </a:lnTo>
                    <a:lnTo>
                      <a:pt x="83284" y="275226"/>
                    </a:lnTo>
                    <a:lnTo>
                      <a:pt x="86973" y="275226"/>
                    </a:lnTo>
                    <a:lnTo>
                      <a:pt x="90662" y="278912"/>
                    </a:lnTo>
                    <a:lnTo>
                      <a:pt x="94351" y="278912"/>
                    </a:lnTo>
                    <a:lnTo>
                      <a:pt x="98041" y="275226"/>
                    </a:lnTo>
                    <a:lnTo>
                      <a:pt x="98041" y="271531"/>
                    </a:lnTo>
                    <a:lnTo>
                      <a:pt x="101730" y="267844"/>
                    </a:lnTo>
                    <a:lnTo>
                      <a:pt x="105419" y="264149"/>
                    </a:lnTo>
                    <a:lnTo>
                      <a:pt x="109108" y="264149"/>
                    </a:lnTo>
                    <a:lnTo>
                      <a:pt x="112797" y="264149"/>
                    </a:lnTo>
                    <a:lnTo>
                      <a:pt x="120176" y="271531"/>
                    </a:lnTo>
                    <a:lnTo>
                      <a:pt x="123865" y="271531"/>
                    </a:lnTo>
                    <a:lnTo>
                      <a:pt x="127554" y="267844"/>
                    </a:lnTo>
                    <a:lnTo>
                      <a:pt x="127554" y="264149"/>
                    </a:lnTo>
                    <a:lnTo>
                      <a:pt x="131243" y="264149"/>
                    </a:lnTo>
                    <a:lnTo>
                      <a:pt x="134932" y="264149"/>
                    </a:lnTo>
                    <a:lnTo>
                      <a:pt x="138621" y="275226"/>
                    </a:lnTo>
                    <a:lnTo>
                      <a:pt x="134932" y="282608"/>
                    </a:lnTo>
                    <a:lnTo>
                      <a:pt x="149690" y="286294"/>
                    </a:lnTo>
                    <a:lnTo>
                      <a:pt x="157068" y="289990"/>
                    </a:lnTo>
                    <a:lnTo>
                      <a:pt x="171825" y="297372"/>
                    </a:lnTo>
                    <a:lnTo>
                      <a:pt x="175514" y="297372"/>
                    </a:lnTo>
                    <a:lnTo>
                      <a:pt x="179203" y="297372"/>
                    </a:lnTo>
                    <a:lnTo>
                      <a:pt x="182892" y="297372"/>
                    </a:lnTo>
                    <a:lnTo>
                      <a:pt x="190271" y="289990"/>
                    </a:lnTo>
                    <a:lnTo>
                      <a:pt x="193960" y="278912"/>
                    </a:lnTo>
                    <a:lnTo>
                      <a:pt x="197649" y="271531"/>
                    </a:lnTo>
                    <a:lnTo>
                      <a:pt x="201338" y="275226"/>
                    </a:lnTo>
                    <a:lnTo>
                      <a:pt x="205027" y="278912"/>
                    </a:lnTo>
                    <a:lnTo>
                      <a:pt x="208716" y="278912"/>
                    </a:lnTo>
                    <a:lnTo>
                      <a:pt x="212406" y="278912"/>
                    </a:lnTo>
                    <a:lnTo>
                      <a:pt x="216095" y="275226"/>
                    </a:lnTo>
                    <a:lnTo>
                      <a:pt x="219784" y="271531"/>
                    </a:lnTo>
                    <a:lnTo>
                      <a:pt x="219784" y="264149"/>
                    </a:lnTo>
                    <a:lnTo>
                      <a:pt x="223473" y="264149"/>
                    </a:lnTo>
                    <a:lnTo>
                      <a:pt x="227162" y="264149"/>
                    </a:lnTo>
                    <a:lnTo>
                      <a:pt x="234541" y="267844"/>
                    </a:lnTo>
                    <a:lnTo>
                      <a:pt x="241923" y="275226"/>
                    </a:lnTo>
                    <a:lnTo>
                      <a:pt x="245609" y="275226"/>
                    </a:lnTo>
                    <a:lnTo>
                      <a:pt x="256677" y="275226"/>
                    </a:lnTo>
                    <a:lnTo>
                      <a:pt x="260363" y="278912"/>
                    </a:lnTo>
                    <a:lnTo>
                      <a:pt x="264050" y="282608"/>
                    </a:lnTo>
                    <a:lnTo>
                      <a:pt x="267745" y="282608"/>
                    </a:lnTo>
                    <a:lnTo>
                      <a:pt x="271431" y="278912"/>
                    </a:lnTo>
                    <a:lnTo>
                      <a:pt x="275118" y="278912"/>
                    </a:lnTo>
                    <a:lnTo>
                      <a:pt x="275118" y="275226"/>
                    </a:lnTo>
                    <a:lnTo>
                      <a:pt x="278813" y="271531"/>
                    </a:lnTo>
                    <a:lnTo>
                      <a:pt x="282499" y="271531"/>
                    </a:lnTo>
                    <a:lnTo>
                      <a:pt x="286186" y="267844"/>
                    </a:lnTo>
                    <a:lnTo>
                      <a:pt x="293568" y="271531"/>
                    </a:lnTo>
                    <a:lnTo>
                      <a:pt x="297254" y="271531"/>
                    </a:lnTo>
                    <a:lnTo>
                      <a:pt x="300949" y="267844"/>
                    </a:lnTo>
                    <a:lnTo>
                      <a:pt x="304636" y="267844"/>
                    </a:lnTo>
                    <a:lnTo>
                      <a:pt x="312017" y="264149"/>
                    </a:lnTo>
                    <a:lnTo>
                      <a:pt x="315704" y="264149"/>
                    </a:lnTo>
                    <a:lnTo>
                      <a:pt x="319390" y="260462"/>
                    </a:lnTo>
                    <a:lnTo>
                      <a:pt x="323086" y="256776"/>
                    </a:lnTo>
                    <a:lnTo>
                      <a:pt x="326772" y="256776"/>
                    </a:lnTo>
                    <a:lnTo>
                      <a:pt x="330458" y="260462"/>
                    </a:lnTo>
                    <a:lnTo>
                      <a:pt x="341526" y="260462"/>
                    </a:lnTo>
                    <a:lnTo>
                      <a:pt x="345212" y="260462"/>
                    </a:lnTo>
                    <a:lnTo>
                      <a:pt x="348908" y="260462"/>
                    </a:lnTo>
                    <a:lnTo>
                      <a:pt x="352594" y="264149"/>
                    </a:lnTo>
                    <a:lnTo>
                      <a:pt x="359976" y="267844"/>
                    </a:lnTo>
                    <a:lnTo>
                      <a:pt x="363662" y="267844"/>
                    </a:lnTo>
                    <a:lnTo>
                      <a:pt x="367348" y="271531"/>
                    </a:lnTo>
                    <a:lnTo>
                      <a:pt x="371044" y="271531"/>
                    </a:lnTo>
                    <a:lnTo>
                      <a:pt x="374730" y="271531"/>
                    </a:lnTo>
                    <a:lnTo>
                      <a:pt x="378416" y="278912"/>
                    </a:lnTo>
                    <a:lnTo>
                      <a:pt x="385798" y="282608"/>
                    </a:lnTo>
                    <a:lnTo>
                      <a:pt x="396866" y="286294"/>
                    </a:lnTo>
                    <a:lnTo>
                      <a:pt x="404239" y="289990"/>
                    </a:lnTo>
                    <a:lnTo>
                      <a:pt x="411620" y="286294"/>
                    </a:lnTo>
                    <a:lnTo>
                      <a:pt x="415307" y="282608"/>
                    </a:lnTo>
                    <a:lnTo>
                      <a:pt x="415307" y="278912"/>
                    </a:lnTo>
                    <a:lnTo>
                      <a:pt x="415307" y="275226"/>
                    </a:lnTo>
                    <a:lnTo>
                      <a:pt x="411620" y="271531"/>
                    </a:lnTo>
                    <a:lnTo>
                      <a:pt x="415307" y="267844"/>
                    </a:lnTo>
                    <a:lnTo>
                      <a:pt x="411620" y="264149"/>
                    </a:lnTo>
                    <a:lnTo>
                      <a:pt x="411620" y="260462"/>
                    </a:lnTo>
                    <a:lnTo>
                      <a:pt x="407934" y="253081"/>
                    </a:lnTo>
                    <a:lnTo>
                      <a:pt x="407934" y="249394"/>
                    </a:lnTo>
                    <a:lnTo>
                      <a:pt x="404239" y="249394"/>
                    </a:lnTo>
                    <a:lnTo>
                      <a:pt x="400552" y="245699"/>
                    </a:lnTo>
                    <a:lnTo>
                      <a:pt x="396866" y="242013"/>
                    </a:lnTo>
                    <a:lnTo>
                      <a:pt x="396866" y="238317"/>
                    </a:lnTo>
                    <a:lnTo>
                      <a:pt x="396866" y="234631"/>
                    </a:lnTo>
                    <a:lnTo>
                      <a:pt x="396866" y="230935"/>
                    </a:lnTo>
                    <a:lnTo>
                      <a:pt x="396866" y="219867"/>
                    </a:lnTo>
                    <a:lnTo>
                      <a:pt x="385798" y="212485"/>
                    </a:lnTo>
                    <a:lnTo>
                      <a:pt x="389484" y="212485"/>
                    </a:lnTo>
                    <a:lnTo>
                      <a:pt x="389484" y="208799"/>
                    </a:lnTo>
                    <a:lnTo>
                      <a:pt x="382112" y="208799"/>
                    </a:lnTo>
                    <a:lnTo>
                      <a:pt x="382112" y="190339"/>
                    </a:lnTo>
                    <a:lnTo>
                      <a:pt x="382112" y="186653"/>
                    </a:lnTo>
                    <a:lnTo>
                      <a:pt x="385798" y="182958"/>
                    </a:lnTo>
                    <a:lnTo>
                      <a:pt x="382112" y="179271"/>
                    </a:lnTo>
                    <a:lnTo>
                      <a:pt x="382112" y="175576"/>
                    </a:lnTo>
                    <a:lnTo>
                      <a:pt x="382112" y="171890"/>
                    </a:lnTo>
                    <a:lnTo>
                      <a:pt x="382112" y="168194"/>
                    </a:lnTo>
                    <a:lnTo>
                      <a:pt x="378416" y="160821"/>
                    </a:lnTo>
                    <a:lnTo>
                      <a:pt x="367348" y="164508"/>
                    </a:lnTo>
                    <a:lnTo>
                      <a:pt x="371044" y="168194"/>
                    </a:lnTo>
                    <a:lnTo>
                      <a:pt x="371044" y="171890"/>
                    </a:lnTo>
                    <a:lnTo>
                      <a:pt x="371044" y="175576"/>
                    </a:lnTo>
                    <a:lnTo>
                      <a:pt x="367348" y="175576"/>
                    </a:lnTo>
                    <a:lnTo>
                      <a:pt x="367348" y="179271"/>
                    </a:lnTo>
                    <a:lnTo>
                      <a:pt x="363662" y="182958"/>
                    </a:lnTo>
                    <a:lnTo>
                      <a:pt x="359976" y="182958"/>
                    </a:lnTo>
                    <a:lnTo>
                      <a:pt x="356280" y="186653"/>
                    </a:lnTo>
                    <a:lnTo>
                      <a:pt x="352594" y="190339"/>
                    </a:lnTo>
                    <a:lnTo>
                      <a:pt x="348908" y="190339"/>
                    </a:lnTo>
                    <a:lnTo>
                      <a:pt x="345212" y="190339"/>
                    </a:lnTo>
                    <a:lnTo>
                      <a:pt x="337840" y="186653"/>
                    </a:lnTo>
                    <a:lnTo>
                      <a:pt x="334144" y="182958"/>
                    </a:lnTo>
                    <a:lnTo>
                      <a:pt x="334144" y="179271"/>
                    </a:lnTo>
                    <a:lnTo>
                      <a:pt x="337840" y="179271"/>
                    </a:lnTo>
                    <a:lnTo>
                      <a:pt x="341526" y="175576"/>
                    </a:lnTo>
                    <a:lnTo>
                      <a:pt x="345212" y="171890"/>
                    </a:lnTo>
                    <a:lnTo>
                      <a:pt x="345212" y="168194"/>
                    </a:lnTo>
                    <a:lnTo>
                      <a:pt x="345212" y="160821"/>
                    </a:lnTo>
                    <a:lnTo>
                      <a:pt x="348908" y="157126"/>
                    </a:lnTo>
                    <a:lnTo>
                      <a:pt x="348908" y="153440"/>
                    </a:lnTo>
                    <a:lnTo>
                      <a:pt x="352594" y="153440"/>
                    </a:lnTo>
                    <a:lnTo>
                      <a:pt x="356280" y="153440"/>
                    </a:lnTo>
                    <a:lnTo>
                      <a:pt x="356280" y="149744"/>
                    </a:lnTo>
                    <a:lnTo>
                      <a:pt x="352594" y="149744"/>
                    </a:lnTo>
                    <a:lnTo>
                      <a:pt x="352594" y="146058"/>
                    </a:lnTo>
                    <a:lnTo>
                      <a:pt x="352594" y="142362"/>
                    </a:lnTo>
                    <a:lnTo>
                      <a:pt x="359976" y="142362"/>
                    </a:lnTo>
                    <a:lnTo>
                      <a:pt x="359976" y="138676"/>
                    </a:lnTo>
                    <a:lnTo>
                      <a:pt x="359976" y="134980"/>
                    </a:lnTo>
                    <a:lnTo>
                      <a:pt x="352594" y="134980"/>
                    </a:lnTo>
                    <a:lnTo>
                      <a:pt x="352594" y="127598"/>
                    </a:lnTo>
                    <a:lnTo>
                      <a:pt x="348908" y="127598"/>
                    </a:lnTo>
                    <a:lnTo>
                      <a:pt x="345212" y="127598"/>
                    </a:lnTo>
                    <a:lnTo>
                      <a:pt x="345212" y="123912"/>
                    </a:lnTo>
                    <a:lnTo>
                      <a:pt x="345212" y="120216"/>
                    </a:lnTo>
                    <a:lnTo>
                      <a:pt x="341526" y="116530"/>
                    </a:lnTo>
                    <a:lnTo>
                      <a:pt x="345212" y="116530"/>
                    </a:lnTo>
                    <a:lnTo>
                      <a:pt x="345212" y="112844"/>
                    </a:lnTo>
                    <a:lnTo>
                      <a:pt x="326772" y="112844"/>
                    </a:lnTo>
                    <a:lnTo>
                      <a:pt x="323086" y="109148"/>
                    </a:lnTo>
                    <a:lnTo>
                      <a:pt x="323086" y="98080"/>
                    </a:lnTo>
                    <a:lnTo>
                      <a:pt x="323086" y="94385"/>
                    </a:lnTo>
                    <a:lnTo>
                      <a:pt x="323086" y="90698"/>
                    </a:lnTo>
                    <a:lnTo>
                      <a:pt x="323086" y="87003"/>
                    </a:lnTo>
                    <a:lnTo>
                      <a:pt x="323086" y="83316"/>
                    </a:lnTo>
                    <a:lnTo>
                      <a:pt x="308322" y="72239"/>
                    </a:lnTo>
                    <a:lnTo>
                      <a:pt x="308322" y="75935"/>
                    </a:lnTo>
                    <a:lnTo>
                      <a:pt x="300949" y="72239"/>
                    </a:lnTo>
                    <a:lnTo>
                      <a:pt x="300949" y="68553"/>
                    </a:lnTo>
                    <a:lnTo>
                      <a:pt x="304636" y="50103"/>
                    </a:lnTo>
                    <a:lnTo>
                      <a:pt x="300949" y="46407"/>
                    </a:lnTo>
                    <a:lnTo>
                      <a:pt x="297254" y="42721"/>
                    </a:lnTo>
                    <a:lnTo>
                      <a:pt x="293568" y="39025"/>
                    </a:lnTo>
                    <a:lnTo>
                      <a:pt x="289881" y="39025"/>
                    </a:lnTo>
                    <a:lnTo>
                      <a:pt x="289881" y="35339"/>
                    </a:lnTo>
                    <a:lnTo>
                      <a:pt x="286186" y="31643"/>
                    </a:lnTo>
                    <a:lnTo>
                      <a:pt x="282499" y="31643"/>
                    </a:lnTo>
                    <a:lnTo>
                      <a:pt x="278813" y="31643"/>
                    </a:lnTo>
                    <a:lnTo>
                      <a:pt x="275118" y="31643"/>
                    </a:lnTo>
                    <a:lnTo>
                      <a:pt x="271431" y="27957"/>
                    </a:lnTo>
                    <a:lnTo>
                      <a:pt x="264050" y="27957"/>
                    </a:lnTo>
                    <a:lnTo>
                      <a:pt x="260363" y="24262"/>
                    </a:lnTo>
                    <a:lnTo>
                      <a:pt x="245609" y="24262"/>
                    </a:lnTo>
                    <a:lnTo>
                      <a:pt x="238227" y="20575"/>
                    </a:lnTo>
                    <a:lnTo>
                      <a:pt x="227162" y="42721"/>
                    </a:lnTo>
                    <a:lnTo>
                      <a:pt x="227162" y="46407"/>
                    </a:lnTo>
                    <a:lnTo>
                      <a:pt x="227162" y="50103"/>
                    </a:lnTo>
                    <a:lnTo>
                      <a:pt x="223473" y="57485"/>
                    </a:lnTo>
                    <a:lnTo>
                      <a:pt x="219784" y="68553"/>
                    </a:lnTo>
                    <a:lnTo>
                      <a:pt x="216095" y="75935"/>
                    </a:lnTo>
                    <a:lnTo>
                      <a:pt x="216095" y="83316"/>
                    </a:lnTo>
                    <a:lnTo>
                      <a:pt x="212406" y="87003"/>
                    </a:lnTo>
                    <a:lnTo>
                      <a:pt x="212406" y="90698"/>
                    </a:lnTo>
                    <a:lnTo>
                      <a:pt x="205027" y="105462"/>
                    </a:lnTo>
                    <a:lnTo>
                      <a:pt x="197649" y="105462"/>
                    </a:lnTo>
                    <a:lnTo>
                      <a:pt x="193960" y="105462"/>
                    </a:lnTo>
                    <a:lnTo>
                      <a:pt x="190271" y="105462"/>
                    </a:lnTo>
                    <a:lnTo>
                      <a:pt x="168136" y="101766"/>
                    </a:lnTo>
                    <a:lnTo>
                      <a:pt x="164447" y="101766"/>
                    </a:lnTo>
                    <a:lnTo>
                      <a:pt x="146001" y="109148"/>
                    </a:lnTo>
                    <a:lnTo>
                      <a:pt x="131243" y="112844"/>
                    </a:lnTo>
                    <a:lnTo>
                      <a:pt x="131243" y="98080"/>
                    </a:lnTo>
                    <a:lnTo>
                      <a:pt x="127554" y="98080"/>
                    </a:lnTo>
                    <a:lnTo>
                      <a:pt x="127554" y="90698"/>
                    </a:lnTo>
                    <a:lnTo>
                      <a:pt x="127554" y="87003"/>
                    </a:lnTo>
                    <a:lnTo>
                      <a:pt x="123865" y="87003"/>
                    </a:lnTo>
                    <a:lnTo>
                      <a:pt x="120176" y="83316"/>
                    </a:lnTo>
                    <a:lnTo>
                      <a:pt x="127554" y="83316"/>
                    </a:lnTo>
                    <a:lnTo>
                      <a:pt x="127554" y="79621"/>
                    </a:lnTo>
                    <a:lnTo>
                      <a:pt x="127554" y="75935"/>
                    </a:lnTo>
                    <a:lnTo>
                      <a:pt x="127554" y="68553"/>
                    </a:lnTo>
                    <a:lnTo>
                      <a:pt x="127554" y="61171"/>
                    </a:lnTo>
                    <a:lnTo>
                      <a:pt x="131243" y="61171"/>
                    </a:lnTo>
                    <a:lnTo>
                      <a:pt x="138621" y="57485"/>
                    </a:lnTo>
                    <a:lnTo>
                      <a:pt x="131243" y="53789"/>
                    </a:lnTo>
                    <a:lnTo>
                      <a:pt x="131243" y="46407"/>
                    </a:lnTo>
                    <a:lnTo>
                      <a:pt x="131243" y="42721"/>
                    </a:lnTo>
                    <a:lnTo>
                      <a:pt x="127554" y="42721"/>
                    </a:lnTo>
                    <a:lnTo>
                      <a:pt x="127554" y="46407"/>
                    </a:lnTo>
                    <a:lnTo>
                      <a:pt x="123865" y="42721"/>
                    </a:lnTo>
                    <a:lnTo>
                      <a:pt x="120176" y="31643"/>
                    </a:lnTo>
                    <a:lnTo>
                      <a:pt x="120176" y="27957"/>
                    </a:lnTo>
                    <a:lnTo>
                      <a:pt x="123865" y="27957"/>
                    </a:lnTo>
                    <a:lnTo>
                      <a:pt x="127554" y="27957"/>
                    </a:lnTo>
                    <a:lnTo>
                      <a:pt x="127554" y="24262"/>
                    </a:lnTo>
                    <a:lnTo>
                      <a:pt x="131243" y="24262"/>
                    </a:lnTo>
                    <a:lnTo>
                      <a:pt x="134932" y="24262"/>
                    </a:lnTo>
                    <a:lnTo>
                      <a:pt x="134932" y="20575"/>
                    </a:lnTo>
                    <a:lnTo>
                      <a:pt x="138621" y="20575"/>
                    </a:lnTo>
                    <a:lnTo>
                      <a:pt x="142312" y="20575"/>
                    </a:lnTo>
                    <a:lnTo>
                      <a:pt x="138621" y="16889"/>
                    </a:lnTo>
                    <a:lnTo>
                      <a:pt x="134932" y="16889"/>
                    </a:lnTo>
                    <a:lnTo>
                      <a:pt x="131243" y="20575"/>
                    </a:lnTo>
                    <a:lnTo>
                      <a:pt x="127554" y="20575"/>
                    </a:lnTo>
                    <a:lnTo>
                      <a:pt x="123865" y="16889"/>
                    </a:lnTo>
                    <a:lnTo>
                      <a:pt x="120176" y="20575"/>
                    </a:lnTo>
                    <a:lnTo>
                      <a:pt x="120176" y="5812"/>
                    </a:lnTo>
                    <a:lnTo>
                      <a:pt x="116486" y="5812"/>
                    </a:lnTo>
                    <a:lnTo>
                      <a:pt x="112797"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43" name="Freeform: Shape 42">
                <a:extLst>
                  <a:ext uri="{FF2B5EF4-FFF2-40B4-BE49-F238E27FC236}">
                    <a16:creationId xmlns:a16="http://schemas.microsoft.com/office/drawing/2014/main" id="{DA833D94-27E9-43DF-B143-ED11E0735842}"/>
                  </a:ext>
                </a:extLst>
              </p:cNvPr>
              <p:cNvSpPr/>
              <p:nvPr/>
            </p:nvSpPr>
            <p:spPr>
              <a:xfrm>
                <a:off x="5038938" y="2219414"/>
                <a:ext cx="85123" cy="63843"/>
              </a:xfrm>
              <a:custGeom>
                <a:avLst/>
                <a:gdLst>
                  <a:gd name="connsiteX0" fmla="*/ 27947 w 38100"/>
                  <a:gd name="connsiteY0" fmla="*/ 13192 h 28575"/>
                  <a:gd name="connsiteX1" fmla="*/ 20569 w 38100"/>
                  <a:gd name="connsiteY1" fmla="*/ 16883 h 28575"/>
                  <a:gd name="connsiteX2" fmla="*/ 20569 w 38100"/>
                  <a:gd name="connsiteY2" fmla="*/ 16883 h 28575"/>
                  <a:gd name="connsiteX3" fmla="*/ 20569 w 38100"/>
                  <a:gd name="connsiteY3" fmla="*/ 16883 h 28575"/>
                  <a:gd name="connsiteX4" fmla="*/ 20569 w 38100"/>
                  <a:gd name="connsiteY4" fmla="*/ 16883 h 28575"/>
                  <a:gd name="connsiteX5" fmla="*/ 16879 w 38100"/>
                  <a:gd name="connsiteY5" fmla="*/ 20573 h 28575"/>
                  <a:gd name="connsiteX6" fmla="*/ 13190 w 38100"/>
                  <a:gd name="connsiteY6" fmla="*/ 20573 h 28575"/>
                  <a:gd name="connsiteX7" fmla="*/ 13190 w 38100"/>
                  <a:gd name="connsiteY7" fmla="*/ 24264 h 28575"/>
                  <a:gd name="connsiteX8" fmla="*/ 13190 w 38100"/>
                  <a:gd name="connsiteY8" fmla="*/ 24264 h 28575"/>
                  <a:gd name="connsiteX9" fmla="*/ 9501 w 38100"/>
                  <a:gd name="connsiteY9" fmla="*/ 24264 h 28575"/>
                  <a:gd name="connsiteX10" fmla="*/ 9501 w 38100"/>
                  <a:gd name="connsiteY10" fmla="*/ 24264 h 28575"/>
                  <a:gd name="connsiteX11" fmla="*/ 5812 w 38100"/>
                  <a:gd name="connsiteY11" fmla="*/ 20573 h 28575"/>
                  <a:gd name="connsiteX12" fmla="*/ 5812 w 38100"/>
                  <a:gd name="connsiteY12" fmla="*/ 20573 h 28575"/>
                  <a:gd name="connsiteX13" fmla="*/ 5812 w 38100"/>
                  <a:gd name="connsiteY13" fmla="*/ 16883 h 28575"/>
                  <a:gd name="connsiteX14" fmla="*/ 5812 w 38100"/>
                  <a:gd name="connsiteY14" fmla="*/ 13192 h 28575"/>
                  <a:gd name="connsiteX15" fmla="*/ 5812 w 38100"/>
                  <a:gd name="connsiteY15" fmla="*/ 9503 h 28575"/>
                  <a:gd name="connsiteX16" fmla="*/ 9501 w 38100"/>
                  <a:gd name="connsiteY16" fmla="*/ 9503 h 28575"/>
                  <a:gd name="connsiteX17" fmla="*/ 9501 w 38100"/>
                  <a:gd name="connsiteY17" fmla="*/ 9503 h 28575"/>
                  <a:gd name="connsiteX18" fmla="*/ 9501 w 38100"/>
                  <a:gd name="connsiteY18" fmla="*/ 9503 h 28575"/>
                  <a:gd name="connsiteX19" fmla="*/ 9501 w 38100"/>
                  <a:gd name="connsiteY19" fmla="*/ 9503 h 28575"/>
                  <a:gd name="connsiteX20" fmla="*/ 13190 w 38100"/>
                  <a:gd name="connsiteY20" fmla="*/ 9503 h 28575"/>
                  <a:gd name="connsiteX21" fmla="*/ 16879 w 38100"/>
                  <a:gd name="connsiteY21" fmla="*/ 9503 h 28575"/>
                  <a:gd name="connsiteX22" fmla="*/ 27947 w 38100"/>
                  <a:gd name="connsiteY22" fmla="*/ 5812 h 28575"/>
                  <a:gd name="connsiteX23" fmla="*/ 27947 w 38100"/>
                  <a:gd name="connsiteY23" fmla="*/ 5812 h 28575"/>
                  <a:gd name="connsiteX24" fmla="*/ 35325 w 38100"/>
                  <a:gd name="connsiteY24" fmla="*/ 5812 h 28575"/>
                  <a:gd name="connsiteX25" fmla="*/ 35325 w 38100"/>
                  <a:gd name="connsiteY25" fmla="*/ 9503 h 28575"/>
                  <a:gd name="connsiteX26" fmla="*/ 35325 w 38100"/>
                  <a:gd name="connsiteY26" fmla="*/ 9503 h 28575"/>
                  <a:gd name="connsiteX27" fmla="*/ 27947 w 38100"/>
                  <a:gd name="connsiteY27" fmla="*/ 13192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8100" h="28575">
                    <a:moveTo>
                      <a:pt x="27947" y="13192"/>
                    </a:moveTo>
                    <a:lnTo>
                      <a:pt x="20569" y="16883"/>
                    </a:lnTo>
                    <a:lnTo>
                      <a:pt x="20569" y="16883"/>
                    </a:lnTo>
                    <a:lnTo>
                      <a:pt x="20569" y="16883"/>
                    </a:lnTo>
                    <a:lnTo>
                      <a:pt x="20569" y="16883"/>
                    </a:lnTo>
                    <a:lnTo>
                      <a:pt x="16879" y="20573"/>
                    </a:lnTo>
                    <a:lnTo>
                      <a:pt x="13190" y="20573"/>
                    </a:lnTo>
                    <a:lnTo>
                      <a:pt x="13190" y="24264"/>
                    </a:lnTo>
                    <a:lnTo>
                      <a:pt x="13190" y="24264"/>
                    </a:lnTo>
                    <a:lnTo>
                      <a:pt x="9501" y="24264"/>
                    </a:lnTo>
                    <a:lnTo>
                      <a:pt x="9501" y="24264"/>
                    </a:lnTo>
                    <a:lnTo>
                      <a:pt x="5812" y="20573"/>
                    </a:lnTo>
                    <a:lnTo>
                      <a:pt x="5812" y="20573"/>
                    </a:lnTo>
                    <a:lnTo>
                      <a:pt x="5812" y="16883"/>
                    </a:lnTo>
                    <a:lnTo>
                      <a:pt x="5812" y="13192"/>
                    </a:lnTo>
                    <a:lnTo>
                      <a:pt x="5812" y="9503"/>
                    </a:lnTo>
                    <a:lnTo>
                      <a:pt x="9501" y="9503"/>
                    </a:lnTo>
                    <a:lnTo>
                      <a:pt x="9501" y="9503"/>
                    </a:lnTo>
                    <a:lnTo>
                      <a:pt x="9501" y="9503"/>
                    </a:lnTo>
                    <a:lnTo>
                      <a:pt x="9501" y="9503"/>
                    </a:lnTo>
                    <a:lnTo>
                      <a:pt x="13190" y="9503"/>
                    </a:lnTo>
                    <a:lnTo>
                      <a:pt x="16879" y="9503"/>
                    </a:lnTo>
                    <a:lnTo>
                      <a:pt x="27947" y="5812"/>
                    </a:lnTo>
                    <a:lnTo>
                      <a:pt x="27947" y="5812"/>
                    </a:lnTo>
                    <a:lnTo>
                      <a:pt x="35325" y="5812"/>
                    </a:lnTo>
                    <a:lnTo>
                      <a:pt x="35325" y="9503"/>
                    </a:lnTo>
                    <a:lnTo>
                      <a:pt x="35325" y="9503"/>
                    </a:lnTo>
                    <a:lnTo>
                      <a:pt x="27947" y="1319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44" name="Freeform: Shape 43">
                <a:extLst>
                  <a:ext uri="{FF2B5EF4-FFF2-40B4-BE49-F238E27FC236}">
                    <a16:creationId xmlns:a16="http://schemas.microsoft.com/office/drawing/2014/main" id="{3CC3C981-8272-40F5-99D9-CA998E114C3A}"/>
                  </a:ext>
                </a:extLst>
              </p:cNvPr>
              <p:cNvSpPr/>
              <p:nvPr/>
            </p:nvSpPr>
            <p:spPr>
              <a:xfrm>
                <a:off x="4857605" y="2252396"/>
                <a:ext cx="915074" cy="1425814"/>
              </a:xfrm>
              <a:custGeom>
                <a:avLst/>
                <a:gdLst>
                  <a:gd name="connsiteX0" fmla="*/ 127555 w 409575"/>
                  <a:gd name="connsiteY0" fmla="*/ 5812 h 638175"/>
                  <a:gd name="connsiteX1" fmla="*/ 120176 w 409575"/>
                  <a:gd name="connsiteY1" fmla="*/ 16883 h 638175"/>
                  <a:gd name="connsiteX2" fmla="*/ 120176 w 409575"/>
                  <a:gd name="connsiteY2" fmla="*/ 20574 h 638175"/>
                  <a:gd name="connsiteX3" fmla="*/ 120176 w 409575"/>
                  <a:gd name="connsiteY3" fmla="*/ 24264 h 638175"/>
                  <a:gd name="connsiteX4" fmla="*/ 120176 w 409575"/>
                  <a:gd name="connsiteY4" fmla="*/ 31646 h 638175"/>
                  <a:gd name="connsiteX5" fmla="*/ 116487 w 409575"/>
                  <a:gd name="connsiteY5" fmla="*/ 42718 h 638175"/>
                  <a:gd name="connsiteX6" fmla="*/ 116487 w 409575"/>
                  <a:gd name="connsiteY6" fmla="*/ 53789 h 638175"/>
                  <a:gd name="connsiteX7" fmla="*/ 116487 w 409575"/>
                  <a:gd name="connsiteY7" fmla="*/ 68552 h 638175"/>
                  <a:gd name="connsiteX8" fmla="*/ 109109 w 409575"/>
                  <a:gd name="connsiteY8" fmla="*/ 90695 h 638175"/>
                  <a:gd name="connsiteX9" fmla="*/ 105420 w 409575"/>
                  <a:gd name="connsiteY9" fmla="*/ 112838 h 638175"/>
                  <a:gd name="connsiteX10" fmla="*/ 98041 w 409575"/>
                  <a:gd name="connsiteY10" fmla="*/ 134982 h 638175"/>
                  <a:gd name="connsiteX11" fmla="*/ 98041 w 409575"/>
                  <a:gd name="connsiteY11" fmla="*/ 142363 h 638175"/>
                  <a:gd name="connsiteX12" fmla="*/ 94352 w 409575"/>
                  <a:gd name="connsiteY12" fmla="*/ 142363 h 638175"/>
                  <a:gd name="connsiteX13" fmla="*/ 94352 w 409575"/>
                  <a:gd name="connsiteY13" fmla="*/ 149744 h 638175"/>
                  <a:gd name="connsiteX14" fmla="*/ 86974 w 409575"/>
                  <a:gd name="connsiteY14" fmla="*/ 164507 h 638175"/>
                  <a:gd name="connsiteX15" fmla="*/ 86974 w 409575"/>
                  <a:gd name="connsiteY15" fmla="*/ 171888 h 638175"/>
                  <a:gd name="connsiteX16" fmla="*/ 79596 w 409575"/>
                  <a:gd name="connsiteY16" fmla="*/ 194031 h 638175"/>
                  <a:gd name="connsiteX17" fmla="*/ 79596 w 409575"/>
                  <a:gd name="connsiteY17" fmla="*/ 197721 h 638175"/>
                  <a:gd name="connsiteX18" fmla="*/ 79596 w 409575"/>
                  <a:gd name="connsiteY18" fmla="*/ 201412 h 638175"/>
                  <a:gd name="connsiteX19" fmla="*/ 79596 w 409575"/>
                  <a:gd name="connsiteY19" fmla="*/ 205102 h 638175"/>
                  <a:gd name="connsiteX20" fmla="*/ 79596 w 409575"/>
                  <a:gd name="connsiteY20" fmla="*/ 208793 h 638175"/>
                  <a:gd name="connsiteX21" fmla="*/ 79596 w 409575"/>
                  <a:gd name="connsiteY21" fmla="*/ 219865 h 638175"/>
                  <a:gd name="connsiteX22" fmla="*/ 75906 w 409575"/>
                  <a:gd name="connsiteY22" fmla="*/ 234627 h 638175"/>
                  <a:gd name="connsiteX23" fmla="*/ 75906 w 409575"/>
                  <a:gd name="connsiteY23" fmla="*/ 242009 h 638175"/>
                  <a:gd name="connsiteX24" fmla="*/ 75906 w 409575"/>
                  <a:gd name="connsiteY24" fmla="*/ 249390 h 638175"/>
                  <a:gd name="connsiteX25" fmla="*/ 72217 w 409575"/>
                  <a:gd name="connsiteY25" fmla="*/ 264151 h 638175"/>
                  <a:gd name="connsiteX26" fmla="*/ 72217 w 409575"/>
                  <a:gd name="connsiteY26" fmla="*/ 271532 h 638175"/>
                  <a:gd name="connsiteX27" fmla="*/ 72217 w 409575"/>
                  <a:gd name="connsiteY27" fmla="*/ 275223 h 638175"/>
                  <a:gd name="connsiteX28" fmla="*/ 72217 w 409575"/>
                  <a:gd name="connsiteY28" fmla="*/ 282604 h 638175"/>
                  <a:gd name="connsiteX29" fmla="*/ 68528 w 409575"/>
                  <a:gd name="connsiteY29" fmla="*/ 286295 h 638175"/>
                  <a:gd name="connsiteX30" fmla="*/ 68528 w 409575"/>
                  <a:gd name="connsiteY30" fmla="*/ 289986 h 638175"/>
                  <a:gd name="connsiteX31" fmla="*/ 64839 w 409575"/>
                  <a:gd name="connsiteY31" fmla="*/ 315820 h 638175"/>
                  <a:gd name="connsiteX32" fmla="*/ 61150 w 409575"/>
                  <a:gd name="connsiteY32" fmla="*/ 349034 h 638175"/>
                  <a:gd name="connsiteX33" fmla="*/ 57461 w 409575"/>
                  <a:gd name="connsiteY33" fmla="*/ 367487 h 638175"/>
                  <a:gd name="connsiteX34" fmla="*/ 53772 w 409575"/>
                  <a:gd name="connsiteY34" fmla="*/ 374869 h 638175"/>
                  <a:gd name="connsiteX35" fmla="*/ 50082 w 409575"/>
                  <a:gd name="connsiteY35" fmla="*/ 382250 h 638175"/>
                  <a:gd name="connsiteX36" fmla="*/ 46393 w 409575"/>
                  <a:gd name="connsiteY36" fmla="*/ 389631 h 638175"/>
                  <a:gd name="connsiteX37" fmla="*/ 42704 w 409575"/>
                  <a:gd name="connsiteY37" fmla="*/ 400703 h 638175"/>
                  <a:gd name="connsiteX38" fmla="*/ 50082 w 409575"/>
                  <a:gd name="connsiteY38" fmla="*/ 397012 h 638175"/>
                  <a:gd name="connsiteX39" fmla="*/ 53772 w 409575"/>
                  <a:gd name="connsiteY39" fmla="*/ 397012 h 638175"/>
                  <a:gd name="connsiteX40" fmla="*/ 61150 w 409575"/>
                  <a:gd name="connsiteY40" fmla="*/ 393322 h 638175"/>
                  <a:gd name="connsiteX41" fmla="*/ 64839 w 409575"/>
                  <a:gd name="connsiteY41" fmla="*/ 397012 h 638175"/>
                  <a:gd name="connsiteX42" fmla="*/ 61150 w 409575"/>
                  <a:gd name="connsiteY42" fmla="*/ 397012 h 638175"/>
                  <a:gd name="connsiteX43" fmla="*/ 61150 w 409575"/>
                  <a:gd name="connsiteY43" fmla="*/ 400703 h 638175"/>
                  <a:gd name="connsiteX44" fmla="*/ 53772 w 409575"/>
                  <a:gd name="connsiteY44" fmla="*/ 400703 h 638175"/>
                  <a:gd name="connsiteX45" fmla="*/ 50082 w 409575"/>
                  <a:gd name="connsiteY45" fmla="*/ 404394 h 638175"/>
                  <a:gd name="connsiteX46" fmla="*/ 57461 w 409575"/>
                  <a:gd name="connsiteY46" fmla="*/ 404394 h 638175"/>
                  <a:gd name="connsiteX47" fmla="*/ 57461 w 409575"/>
                  <a:gd name="connsiteY47" fmla="*/ 408084 h 638175"/>
                  <a:gd name="connsiteX48" fmla="*/ 50082 w 409575"/>
                  <a:gd name="connsiteY48" fmla="*/ 404394 h 638175"/>
                  <a:gd name="connsiteX49" fmla="*/ 46393 w 409575"/>
                  <a:gd name="connsiteY49" fmla="*/ 404394 h 638175"/>
                  <a:gd name="connsiteX50" fmla="*/ 46393 w 409575"/>
                  <a:gd name="connsiteY50" fmla="*/ 408084 h 638175"/>
                  <a:gd name="connsiteX51" fmla="*/ 39015 w 409575"/>
                  <a:gd name="connsiteY51" fmla="*/ 404394 h 638175"/>
                  <a:gd name="connsiteX52" fmla="*/ 39015 w 409575"/>
                  <a:gd name="connsiteY52" fmla="*/ 411775 h 638175"/>
                  <a:gd name="connsiteX53" fmla="*/ 42704 w 409575"/>
                  <a:gd name="connsiteY53" fmla="*/ 419156 h 638175"/>
                  <a:gd name="connsiteX54" fmla="*/ 39015 w 409575"/>
                  <a:gd name="connsiteY54" fmla="*/ 422847 h 638175"/>
                  <a:gd name="connsiteX55" fmla="*/ 39015 w 409575"/>
                  <a:gd name="connsiteY55" fmla="*/ 430227 h 638175"/>
                  <a:gd name="connsiteX56" fmla="*/ 35326 w 409575"/>
                  <a:gd name="connsiteY56" fmla="*/ 437608 h 638175"/>
                  <a:gd name="connsiteX57" fmla="*/ 31637 w 409575"/>
                  <a:gd name="connsiteY57" fmla="*/ 452370 h 638175"/>
                  <a:gd name="connsiteX58" fmla="*/ 27947 w 409575"/>
                  <a:gd name="connsiteY58" fmla="*/ 463442 h 638175"/>
                  <a:gd name="connsiteX59" fmla="*/ 20569 w 409575"/>
                  <a:gd name="connsiteY59" fmla="*/ 481898 h 638175"/>
                  <a:gd name="connsiteX60" fmla="*/ 5812 w 409575"/>
                  <a:gd name="connsiteY60" fmla="*/ 511416 h 638175"/>
                  <a:gd name="connsiteX61" fmla="*/ 31637 w 409575"/>
                  <a:gd name="connsiteY61" fmla="*/ 522493 h 638175"/>
                  <a:gd name="connsiteX62" fmla="*/ 42704 w 409575"/>
                  <a:gd name="connsiteY62" fmla="*/ 526179 h 638175"/>
                  <a:gd name="connsiteX63" fmla="*/ 42704 w 409575"/>
                  <a:gd name="connsiteY63" fmla="*/ 518798 h 638175"/>
                  <a:gd name="connsiteX64" fmla="*/ 46393 w 409575"/>
                  <a:gd name="connsiteY64" fmla="*/ 522493 h 638175"/>
                  <a:gd name="connsiteX65" fmla="*/ 50082 w 409575"/>
                  <a:gd name="connsiteY65" fmla="*/ 518798 h 638175"/>
                  <a:gd name="connsiteX66" fmla="*/ 53772 w 409575"/>
                  <a:gd name="connsiteY66" fmla="*/ 518798 h 638175"/>
                  <a:gd name="connsiteX67" fmla="*/ 57461 w 409575"/>
                  <a:gd name="connsiteY67" fmla="*/ 518798 h 638175"/>
                  <a:gd name="connsiteX68" fmla="*/ 64839 w 409575"/>
                  <a:gd name="connsiteY68" fmla="*/ 522493 h 638175"/>
                  <a:gd name="connsiteX69" fmla="*/ 61150 w 409575"/>
                  <a:gd name="connsiteY69" fmla="*/ 529875 h 638175"/>
                  <a:gd name="connsiteX70" fmla="*/ 57461 w 409575"/>
                  <a:gd name="connsiteY70" fmla="*/ 533561 h 638175"/>
                  <a:gd name="connsiteX71" fmla="*/ 57461 w 409575"/>
                  <a:gd name="connsiteY71" fmla="*/ 540943 h 638175"/>
                  <a:gd name="connsiteX72" fmla="*/ 53772 w 409575"/>
                  <a:gd name="connsiteY72" fmla="*/ 540943 h 638175"/>
                  <a:gd name="connsiteX73" fmla="*/ 53772 w 409575"/>
                  <a:gd name="connsiteY73" fmla="*/ 544639 h 638175"/>
                  <a:gd name="connsiteX74" fmla="*/ 53772 w 409575"/>
                  <a:gd name="connsiteY74" fmla="*/ 548325 h 638175"/>
                  <a:gd name="connsiteX75" fmla="*/ 50082 w 409575"/>
                  <a:gd name="connsiteY75" fmla="*/ 552011 h 638175"/>
                  <a:gd name="connsiteX76" fmla="*/ 46393 w 409575"/>
                  <a:gd name="connsiteY76" fmla="*/ 555707 h 638175"/>
                  <a:gd name="connsiteX77" fmla="*/ 42704 w 409575"/>
                  <a:gd name="connsiteY77" fmla="*/ 559393 h 638175"/>
                  <a:gd name="connsiteX78" fmla="*/ 42704 w 409575"/>
                  <a:gd name="connsiteY78" fmla="*/ 563089 h 638175"/>
                  <a:gd name="connsiteX79" fmla="*/ 42704 w 409575"/>
                  <a:gd name="connsiteY79" fmla="*/ 566775 h 638175"/>
                  <a:gd name="connsiteX80" fmla="*/ 42704 w 409575"/>
                  <a:gd name="connsiteY80" fmla="*/ 570471 h 638175"/>
                  <a:gd name="connsiteX81" fmla="*/ 42704 w 409575"/>
                  <a:gd name="connsiteY81" fmla="*/ 577853 h 638175"/>
                  <a:gd name="connsiteX82" fmla="*/ 39015 w 409575"/>
                  <a:gd name="connsiteY82" fmla="*/ 581539 h 638175"/>
                  <a:gd name="connsiteX83" fmla="*/ 39015 w 409575"/>
                  <a:gd name="connsiteY83" fmla="*/ 585234 h 638175"/>
                  <a:gd name="connsiteX84" fmla="*/ 35326 w 409575"/>
                  <a:gd name="connsiteY84" fmla="*/ 585234 h 638175"/>
                  <a:gd name="connsiteX85" fmla="*/ 35326 w 409575"/>
                  <a:gd name="connsiteY85" fmla="*/ 588921 h 638175"/>
                  <a:gd name="connsiteX86" fmla="*/ 35326 w 409575"/>
                  <a:gd name="connsiteY86" fmla="*/ 592616 h 638175"/>
                  <a:gd name="connsiteX87" fmla="*/ 35326 w 409575"/>
                  <a:gd name="connsiteY87" fmla="*/ 596303 h 638175"/>
                  <a:gd name="connsiteX88" fmla="*/ 39015 w 409575"/>
                  <a:gd name="connsiteY88" fmla="*/ 596303 h 638175"/>
                  <a:gd name="connsiteX89" fmla="*/ 42704 w 409575"/>
                  <a:gd name="connsiteY89" fmla="*/ 599989 h 638175"/>
                  <a:gd name="connsiteX90" fmla="*/ 46393 w 409575"/>
                  <a:gd name="connsiteY90" fmla="*/ 599989 h 638175"/>
                  <a:gd name="connsiteX91" fmla="*/ 50082 w 409575"/>
                  <a:gd name="connsiteY91" fmla="*/ 596303 h 638175"/>
                  <a:gd name="connsiteX92" fmla="*/ 57461 w 409575"/>
                  <a:gd name="connsiteY92" fmla="*/ 599989 h 638175"/>
                  <a:gd name="connsiteX93" fmla="*/ 68528 w 409575"/>
                  <a:gd name="connsiteY93" fmla="*/ 599989 h 638175"/>
                  <a:gd name="connsiteX94" fmla="*/ 72217 w 409575"/>
                  <a:gd name="connsiteY94" fmla="*/ 599989 h 638175"/>
                  <a:gd name="connsiteX95" fmla="*/ 75906 w 409575"/>
                  <a:gd name="connsiteY95" fmla="*/ 599989 h 638175"/>
                  <a:gd name="connsiteX96" fmla="*/ 79596 w 409575"/>
                  <a:gd name="connsiteY96" fmla="*/ 596303 h 638175"/>
                  <a:gd name="connsiteX97" fmla="*/ 86974 w 409575"/>
                  <a:gd name="connsiteY97" fmla="*/ 592616 h 638175"/>
                  <a:gd name="connsiteX98" fmla="*/ 90663 w 409575"/>
                  <a:gd name="connsiteY98" fmla="*/ 592616 h 638175"/>
                  <a:gd name="connsiteX99" fmla="*/ 90663 w 409575"/>
                  <a:gd name="connsiteY99" fmla="*/ 588921 h 638175"/>
                  <a:gd name="connsiteX100" fmla="*/ 94352 w 409575"/>
                  <a:gd name="connsiteY100" fmla="*/ 592616 h 638175"/>
                  <a:gd name="connsiteX101" fmla="*/ 98041 w 409575"/>
                  <a:gd name="connsiteY101" fmla="*/ 592616 h 638175"/>
                  <a:gd name="connsiteX102" fmla="*/ 101731 w 409575"/>
                  <a:gd name="connsiteY102" fmla="*/ 592616 h 638175"/>
                  <a:gd name="connsiteX103" fmla="*/ 105420 w 409575"/>
                  <a:gd name="connsiteY103" fmla="*/ 588921 h 638175"/>
                  <a:gd name="connsiteX104" fmla="*/ 109109 w 409575"/>
                  <a:gd name="connsiteY104" fmla="*/ 585234 h 638175"/>
                  <a:gd name="connsiteX105" fmla="*/ 120176 w 409575"/>
                  <a:gd name="connsiteY105" fmla="*/ 588921 h 638175"/>
                  <a:gd name="connsiteX106" fmla="*/ 116487 w 409575"/>
                  <a:gd name="connsiteY106" fmla="*/ 599989 h 638175"/>
                  <a:gd name="connsiteX107" fmla="*/ 120176 w 409575"/>
                  <a:gd name="connsiteY107" fmla="*/ 603684 h 638175"/>
                  <a:gd name="connsiteX108" fmla="*/ 123866 w 409575"/>
                  <a:gd name="connsiteY108" fmla="*/ 607371 h 638175"/>
                  <a:gd name="connsiteX109" fmla="*/ 127555 w 409575"/>
                  <a:gd name="connsiteY109" fmla="*/ 599989 h 638175"/>
                  <a:gd name="connsiteX110" fmla="*/ 131244 w 409575"/>
                  <a:gd name="connsiteY110" fmla="*/ 599989 h 638175"/>
                  <a:gd name="connsiteX111" fmla="*/ 138622 w 409575"/>
                  <a:gd name="connsiteY111" fmla="*/ 599989 h 638175"/>
                  <a:gd name="connsiteX112" fmla="*/ 142312 w 409575"/>
                  <a:gd name="connsiteY112" fmla="*/ 596303 h 638175"/>
                  <a:gd name="connsiteX113" fmla="*/ 142312 w 409575"/>
                  <a:gd name="connsiteY113" fmla="*/ 592616 h 638175"/>
                  <a:gd name="connsiteX114" fmla="*/ 146001 w 409575"/>
                  <a:gd name="connsiteY114" fmla="*/ 592616 h 638175"/>
                  <a:gd name="connsiteX115" fmla="*/ 149690 w 409575"/>
                  <a:gd name="connsiteY115" fmla="*/ 592616 h 638175"/>
                  <a:gd name="connsiteX116" fmla="*/ 153380 w 409575"/>
                  <a:gd name="connsiteY116" fmla="*/ 592616 h 638175"/>
                  <a:gd name="connsiteX117" fmla="*/ 157069 w 409575"/>
                  <a:gd name="connsiteY117" fmla="*/ 592616 h 638175"/>
                  <a:gd name="connsiteX118" fmla="*/ 160758 w 409575"/>
                  <a:gd name="connsiteY118" fmla="*/ 592616 h 638175"/>
                  <a:gd name="connsiteX119" fmla="*/ 164447 w 409575"/>
                  <a:gd name="connsiteY119" fmla="*/ 592616 h 638175"/>
                  <a:gd name="connsiteX120" fmla="*/ 168136 w 409575"/>
                  <a:gd name="connsiteY120" fmla="*/ 588921 h 638175"/>
                  <a:gd name="connsiteX121" fmla="*/ 171826 w 409575"/>
                  <a:gd name="connsiteY121" fmla="*/ 588921 h 638175"/>
                  <a:gd name="connsiteX122" fmla="*/ 171826 w 409575"/>
                  <a:gd name="connsiteY122" fmla="*/ 585234 h 638175"/>
                  <a:gd name="connsiteX123" fmla="*/ 175515 w 409575"/>
                  <a:gd name="connsiteY123" fmla="*/ 585234 h 638175"/>
                  <a:gd name="connsiteX124" fmla="*/ 179204 w 409575"/>
                  <a:gd name="connsiteY124" fmla="*/ 581539 h 638175"/>
                  <a:gd name="connsiteX125" fmla="*/ 182893 w 409575"/>
                  <a:gd name="connsiteY125" fmla="*/ 581539 h 638175"/>
                  <a:gd name="connsiteX126" fmla="*/ 182893 w 409575"/>
                  <a:gd name="connsiteY126" fmla="*/ 577853 h 638175"/>
                  <a:gd name="connsiteX127" fmla="*/ 190272 w 409575"/>
                  <a:gd name="connsiteY127" fmla="*/ 574157 h 638175"/>
                  <a:gd name="connsiteX128" fmla="*/ 193961 w 409575"/>
                  <a:gd name="connsiteY128" fmla="*/ 570471 h 638175"/>
                  <a:gd name="connsiteX129" fmla="*/ 197650 w 409575"/>
                  <a:gd name="connsiteY129" fmla="*/ 570471 h 638175"/>
                  <a:gd name="connsiteX130" fmla="*/ 201339 w 409575"/>
                  <a:gd name="connsiteY130" fmla="*/ 570471 h 638175"/>
                  <a:gd name="connsiteX131" fmla="*/ 205028 w 409575"/>
                  <a:gd name="connsiteY131" fmla="*/ 574157 h 638175"/>
                  <a:gd name="connsiteX132" fmla="*/ 205028 w 409575"/>
                  <a:gd name="connsiteY132" fmla="*/ 570471 h 638175"/>
                  <a:gd name="connsiteX133" fmla="*/ 208717 w 409575"/>
                  <a:gd name="connsiteY133" fmla="*/ 570471 h 638175"/>
                  <a:gd name="connsiteX134" fmla="*/ 212406 w 409575"/>
                  <a:gd name="connsiteY134" fmla="*/ 570471 h 638175"/>
                  <a:gd name="connsiteX135" fmla="*/ 212406 w 409575"/>
                  <a:gd name="connsiteY135" fmla="*/ 566775 h 638175"/>
                  <a:gd name="connsiteX136" fmla="*/ 216096 w 409575"/>
                  <a:gd name="connsiteY136" fmla="*/ 563089 h 638175"/>
                  <a:gd name="connsiteX137" fmla="*/ 219785 w 409575"/>
                  <a:gd name="connsiteY137" fmla="*/ 559393 h 638175"/>
                  <a:gd name="connsiteX138" fmla="*/ 216096 w 409575"/>
                  <a:gd name="connsiteY138" fmla="*/ 555707 h 638175"/>
                  <a:gd name="connsiteX139" fmla="*/ 216096 w 409575"/>
                  <a:gd name="connsiteY139" fmla="*/ 552011 h 638175"/>
                  <a:gd name="connsiteX140" fmla="*/ 219785 w 409575"/>
                  <a:gd name="connsiteY140" fmla="*/ 548325 h 638175"/>
                  <a:gd name="connsiteX141" fmla="*/ 227163 w 409575"/>
                  <a:gd name="connsiteY141" fmla="*/ 552011 h 638175"/>
                  <a:gd name="connsiteX142" fmla="*/ 230852 w 409575"/>
                  <a:gd name="connsiteY142" fmla="*/ 552011 h 638175"/>
                  <a:gd name="connsiteX143" fmla="*/ 234541 w 409575"/>
                  <a:gd name="connsiteY143" fmla="*/ 552011 h 638175"/>
                  <a:gd name="connsiteX144" fmla="*/ 238230 w 409575"/>
                  <a:gd name="connsiteY144" fmla="*/ 552011 h 638175"/>
                  <a:gd name="connsiteX145" fmla="*/ 238230 w 409575"/>
                  <a:gd name="connsiteY145" fmla="*/ 548325 h 638175"/>
                  <a:gd name="connsiteX146" fmla="*/ 245609 w 409575"/>
                  <a:gd name="connsiteY146" fmla="*/ 544639 h 638175"/>
                  <a:gd name="connsiteX147" fmla="*/ 245609 w 409575"/>
                  <a:gd name="connsiteY147" fmla="*/ 540943 h 638175"/>
                  <a:gd name="connsiteX148" fmla="*/ 252987 w 409575"/>
                  <a:gd name="connsiteY148" fmla="*/ 544639 h 638175"/>
                  <a:gd name="connsiteX149" fmla="*/ 252987 w 409575"/>
                  <a:gd name="connsiteY149" fmla="*/ 540943 h 638175"/>
                  <a:gd name="connsiteX150" fmla="*/ 252987 w 409575"/>
                  <a:gd name="connsiteY150" fmla="*/ 537257 h 638175"/>
                  <a:gd name="connsiteX151" fmla="*/ 256676 w 409575"/>
                  <a:gd name="connsiteY151" fmla="*/ 537257 h 638175"/>
                  <a:gd name="connsiteX152" fmla="*/ 256676 w 409575"/>
                  <a:gd name="connsiteY152" fmla="*/ 533561 h 638175"/>
                  <a:gd name="connsiteX153" fmla="*/ 260365 w 409575"/>
                  <a:gd name="connsiteY153" fmla="*/ 533561 h 638175"/>
                  <a:gd name="connsiteX154" fmla="*/ 264055 w 409575"/>
                  <a:gd name="connsiteY154" fmla="*/ 533561 h 638175"/>
                  <a:gd name="connsiteX155" fmla="*/ 264055 w 409575"/>
                  <a:gd name="connsiteY155" fmla="*/ 548325 h 638175"/>
                  <a:gd name="connsiteX156" fmla="*/ 267744 w 409575"/>
                  <a:gd name="connsiteY156" fmla="*/ 544639 h 638175"/>
                  <a:gd name="connsiteX157" fmla="*/ 271433 w 409575"/>
                  <a:gd name="connsiteY157" fmla="*/ 548325 h 638175"/>
                  <a:gd name="connsiteX158" fmla="*/ 275122 w 409575"/>
                  <a:gd name="connsiteY158" fmla="*/ 548325 h 638175"/>
                  <a:gd name="connsiteX159" fmla="*/ 278811 w 409575"/>
                  <a:gd name="connsiteY159" fmla="*/ 544639 h 638175"/>
                  <a:gd name="connsiteX160" fmla="*/ 282500 w 409575"/>
                  <a:gd name="connsiteY160" fmla="*/ 544639 h 638175"/>
                  <a:gd name="connsiteX161" fmla="*/ 286190 w 409575"/>
                  <a:gd name="connsiteY161" fmla="*/ 548325 h 638175"/>
                  <a:gd name="connsiteX162" fmla="*/ 282500 w 409575"/>
                  <a:gd name="connsiteY162" fmla="*/ 548325 h 638175"/>
                  <a:gd name="connsiteX163" fmla="*/ 278811 w 409575"/>
                  <a:gd name="connsiteY163" fmla="*/ 548325 h 638175"/>
                  <a:gd name="connsiteX164" fmla="*/ 278811 w 409575"/>
                  <a:gd name="connsiteY164" fmla="*/ 552011 h 638175"/>
                  <a:gd name="connsiteX165" fmla="*/ 275122 w 409575"/>
                  <a:gd name="connsiteY165" fmla="*/ 552011 h 638175"/>
                  <a:gd name="connsiteX166" fmla="*/ 271433 w 409575"/>
                  <a:gd name="connsiteY166" fmla="*/ 552011 h 638175"/>
                  <a:gd name="connsiteX167" fmla="*/ 271433 w 409575"/>
                  <a:gd name="connsiteY167" fmla="*/ 555707 h 638175"/>
                  <a:gd name="connsiteX168" fmla="*/ 267744 w 409575"/>
                  <a:gd name="connsiteY168" fmla="*/ 555707 h 638175"/>
                  <a:gd name="connsiteX169" fmla="*/ 264055 w 409575"/>
                  <a:gd name="connsiteY169" fmla="*/ 555707 h 638175"/>
                  <a:gd name="connsiteX170" fmla="*/ 264055 w 409575"/>
                  <a:gd name="connsiteY170" fmla="*/ 559393 h 638175"/>
                  <a:gd name="connsiteX171" fmla="*/ 267744 w 409575"/>
                  <a:gd name="connsiteY171" fmla="*/ 570471 h 638175"/>
                  <a:gd name="connsiteX172" fmla="*/ 271433 w 409575"/>
                  <a:gd name="connsiteY172" fmla="*/ 574157 h 638175"/>
                  <a:gd name="connsiteX173" fmla="*/ 271433 w 409575"/>
                  <a:gd name="connsiteY173" fmla="*/ 570471 h 638175"/>
                  <a:gd name="connsiteX174" fmla="*/ 275122 w 409575"/>
                  <a:gd name="connsiteY174" fmla="*/ 570471 h 638175"/>
                  <a:gd name="connsiteX175" fmla="*/ 275122 w 409575"/>
                  <a:gd name="connsiteY175" fmla="*/ 574157 h 638175"/>
                  <a:gd name="connsiteX176" fmla="*/ 275122 w 409575"/>
                  <a:gd name="connsiteY176" fmla="*/ 581539 h 638175"/>
                  <a:gd name="connsiteX177" fmla="*/ 282500 w 409575"/>
                  <a:gd name="connsiteY177" fmla="*/ 585234 h 638175"/>
                  <a:gd name="connsiteX178" fmla="*/ 275122 w 409575"/>
                  <a:gd name="connsiteY178" fmla="*/ 588921 h 638175"/>
                  <a:gd name="connsiteX179" fmla="*/ 271433 w 409575"/>
                  <a:gd name="connsiteY179" fmla="*/ 588921 h 638175"/>
                  <a:gd name="connsiteX180" fmla="*/ 271433 w 409575"/>
                  <a:gd name="connsiteY180" fmla="*/ 596303 h 638175"/>
                  <a:gd name="connsiteX181" fmla="*/ 271433 w 409575"/>
                  <a:gd name="connsiteY181" fmla="*/ 603684 h 638175"/>
                  <a:gd name="connsiteX182" fmla="*/ 271433 w 409575"/>
                  <a:gd name="connsiteY182" fmla="*/ 607371 h 638175"/>
                  <a:gd name="connsiteX183" fmla="*/ 271433 w 409575"/>
                  <a:gd name="connsiteY183" fmla="*/ 611066 h 638175"/>
                  <a:gd name="connsiteX184" fmla="*/ 264055 w 409575"/>
                  <a:gd name="connsiteY184" fmla="*/ 611066 h 638175"/>
                  <a:gd name="connsiteX185" fmla="*/ 267744 w 409575"/>
                  <a:gd name="connsiteY185" fmla="*/ 614752 h 638175"/>
                  <a:gd name="connsiteX186" fmla="*/ 271433 w 409575"/>
                  <a:gd name="connsiteY186" fmla="*/ 614752 h 638175"/>
                  <a:gd name="connsiteX187" fmla="*/ 271433 w 409575"/>
                  <a:gd name="connsiteY187" fmla="*/ 618448 h 638175"/>
                  <a:gd name="connsiteX188" fmla="*/ 271433 w 409575"/>
                  <a:gd name="connsiteY188" fmla="*/ 625830 h 638175"/>
                  <a:gd name="connsiteX189" fmla="*/ 275122 w 409575"/>
                  <a:gd name="connsiteY189" fmla="*/ 625830 h 638175"/>
                  <a:gd name="connsiteX190" fmla="*/ 275122 w 409575"/>
                  <a:gd name="connsiteY190" fmla="*/ 640594 h 638175"/>
                  <a:gd name="connsiteX191" fmla="*/ 289879 w 409575"/>
                  <a:gd name="connsiteY191" fmla="*/ 636898 h 638175"/>
                  <a:gd name="connsiteX192" fmla="*/ 308326 w 409575"/>
                  <a:gd name="connsiteY192" fmla="*/ 629516 h 638175"/>
                  <a:gd name="connsiteX193" fmla="*/ 312015 w 409575"/>
                  <a:gd name="connsiteY193" fmla="*/ 629516 h 638175"/>
                  <a:gd name="connsiteX194" fmla="*/ 334150 w 409575"/>
                  <a:gd name="connsiteY194" fmla="*/ 633212 h 638175"/>
                  <a:gd name="connsiteX195" fmla="*/ 337839 w 409575"/>
                  <a:gd name="connsiteY195" fmla="*/ 633212 h 638175"/>
                  <a:gd name="connsiteX196" fmla="*/ 341528 w 409575"/>
                  <a:gd name="connsiteY196" fmla="*/ 633212 h 638175"/>
                  <a:gd name="connsiteX197" fmla="*/ 348906 w 409575"/>
                  <a:gd name="connsiteY197" fmla="*/ 633212 h 638175"/>
                  <a:gd name="connsiteX198" fmla="*/ 359974 w 409575"/>
                  <a:gd name="connsiteY198" fmla="*/ 611066 h 638175"/>
                  <a:gd name="connsiteX199" fmla="*/ 359974 w 409575"/>
                  <a:gd name="connsiteY199" fmla="*/ 603684 h 638175"/>
                  <a:gd name="connsiteX200" fmla="*/ 363663 w 409575"/>
                  <a:gd name="connsiteY200" fmla="*/ 596303 h 638175"/>
                  <a:gd name="connsiteX201" fmla="*/ 367352 w 409575"/>
                  <a:gd name="connsiteY201" fmla="*/ 585234 h 638175"/>
                  <a:gd name="connsiteX202" fmla="*/ 371041 w 409575"/>
                  <a:gd name="connsiteY202" fmla="*/ 577853 h 638175"/>
                  <a:gd name="connsiteX203" fmla="*/ 371041 w 409575"/>
                  <a:gd name="connsiteY203" fmla="*/ 574157 h 638175"/>
                  <a:gd name="connsiteX204" fmla="*/ 371041 w 409575"/>
                  <a:gd name="connsiteY204" fmla="*/ 570471 h 638175"/>
                  <a:gd name="connsiteX205" fmla="*/ 382106 w 409575"/>
                  <a:gd name="connsiteY205" fmla="*/ 548325 h 638175"/>
                  <a:gd name="connsiteX206" fmla="*/ 389488 w 409575"/>
                  <a:gd name="connsiteY206" fmla="*/ 552011 h 638175"/>
                  <a:gd name="connsiteX207" fmla="*/ 404242 w 409575"/>
                  <a:gd name="connsiteY207" fmla="*/ 552011 h 638175"/>
                  <a:gd name="connsiteX208" fmla="*/ 396870 w 409575"/>
                  <a:gd name="connsiteY208" fmla="*/ 544639 h 638175"/>
                  <a:gd name="connsiteX209" fmla="*/ 396870 w 409575"/>
                  <a:gd name="connsiteY209" fmla="*/ 540943 h 638175"/>
                  <a:gd name="connsiteX210" fmla="*/ 400556 w 409575"/>
                  <a:gd name="connsiteY210" fmla="*/ 537257 h 638175"/>
                  <a:gd name="connsiteX211" fmla="*/ 396870 w 409575"/>
                  <a:gd name="connsiteY211" fmla="*/ 537257 h 638175"/>
                  <a:gd name="connsiteX212" fmla="*/ 393174 w 409575"/>
                  <a:gd name="connsiteY212" fmla="*/ 537257 h 638175"/>
                  <a:gd name="connsiteX213" fmla="*/ 389488 w 409575"/>
                  <a:gd name="connsiteY213" fmla="*/ 533561 h 638175"/>
                  <a:gd name="connsiteX214" fmla="*/ 385802 w 409575"/>
                  <a:gd name="connsiteY214" fmla="*/ 533561 h 638175"/>
                  <a:gd name="connsiteX215" fmla="*/ 382106 w 409575"/>
                  <a:gd name="connsiteY215" fmla="*/ 529875 h 638175"/>
                  <a:gd name="connsiteX216" fmla="*/ 378420 w 409575"/>
                  <a:gd name="connsiteY216" fmla="*/ 529875 h 638175"/>
                  <a:gd name="connsiteX217" fmla="*/ 378420 w 409575"/>
                  <a:gd name="connsiteY217" fmla="*/ 526179 h 638175"/>
                  <a:gd name="connsiteX218" fmla="*/ 374730 w 409575"/>
                  <a:gd name="connsiteY218" fmla="*/ 522493 h 638175"/>
                  <a:gd name="connsiteX219" fmla="*/ 371041 w 409575"/>
                  <a:gd name="connsiteY219" fmla="*/ 526179 h 638175"/>
                  <a:gd name="connsiteX220" fmla="*/ 367352 w 409575"/>
                  <a:gd name="connsiteY220" fmla="*/ 526179 h 638175"/>
                  <a:gd name="connsiteX221" fmla="*/ 363663 w 409575"/>
                  <a:gd name="connsiteY221" fmla="*/ 526179 h 638175"/>
                  <a:gd name="connsiteX222" fmla="*/ 348906 w 409575"/>
                  <a:gd name="connsiteY222" fmla="*/ 526179 h 638175"/>
                  <a:gd name="connsiteX223" fmla="*/ 345217 w 409575"/>
                  <a:gd name="connsiteY223" fmla="*/ 529875 h 638175"/>
                  <a:gd name="connsiteX224" fmla="*/ 341528 w 409575"/>
                  <a:gd name="connsiteY224" fmla="*/ 529875 h 638175"/>
                  <a:gd name="connsiteX225" fmla="*/ 337839 w 409575"/>
                  <a:gd name="connsiteY225" fmla="*/ 533561 h 638175"/>
                  <a:gd name="connsiteX226" fmla="*/ 334150 w 409575"/>
                  <a:gd name="connsiteY226" fmla="*/ 533561 h 638175"/>
                  <a:gd name="connsiteX227" fmla="*/ 334150 w 409575"/>
                  <a:gd name="connsiteY227" fmla="*/ 529875 h 638175"/>
                  <a:gd name="connsiteX228" fmla="*/ 330460 w 409575"/>
                  <a:gd name="connsiteY228" fmla="*/ 529875 h 638175"/>
                  <a:gd name="connsiteX229" fmla="*/ 326771 w 409575"/>
                  <a:gd name="connsiteY229" fmla="*/ 526179 h 638175"/>
                  <a:gd name="connsiteX230" fmla="*/ 323082 w 409575"/>
                  <a:gd name="connsiteY230" fmla="*/ 522493 h 638175"/>
                  <a:gd name="connsiteX231" fmla="*/ 319393 w 409575"/>
                  <a:gd name="connsiteY231" fmla="*/ 515111 h 638175"/>
                  <a:gd name="connsiteX232" fmla="*/ 315704 w 409575"/>
                  <a:gd name="connsiteY232" fmla="*/ 515111 h 638175"/>
                  <a:gd name="connsiteX233" fmla="*/ 315704 w 409575"/>
                  <a:gd name="connsiteY233" fmla="*/ 511416 h 638175"/>
                  <a:gd name="connsiteX234" fmla="*/ 308326 w 409575"/>
                  <a:gd name="connsiteY234" fmla="*/ 511416 h 638175"/>
                  <a:gd name="connsiteX235" fmla="*/ 304636 w 409575"/>
                  <a:gd name="connsiteY235" fmla="*/ 511416 h 638175"/>
                  <a:gd name="connsiteX236" fmla="*/ 300947 w 409575"/>
                  <a:gd name="connsiteY236" fmla="*/ 504043 h 638175"/>
                  <a:gd name="connsiteX237" fmla="*/ 289879 w 409575"/>
                  <a:gd name="connsiteY237" fmla="*/ 504043 h 638175"/>
                  <a:gd name="connsiteX238" fmla="*/ 286190 w 409575"/>
                  <a:gd name="connsiteY238" fmla="*/ 504043 h 638175"/>
                  <a:gd name="connsiteX239" fmla="*/ 282500 w 409575"/>
                  <a:gd name="connsiteY239" fmla="*/ 504043 h 638175"/>
                  <a:gd name="connsiteX240" fmla="*/ 275122 w 409575"/>
                  <a:gd name="connsiteY240" fmla="*/ 507730 h 638175"/>
                  <a:gd name="connsiteX241" fmla="*/ 271433 w 409575"/>
                  <a:gd name="connsiteY241" fmla="*/ 504043 h 638175"/>
                  <a:gd name="connsiteX242" fmla="*/ 271433 w 409575"/>
                  <a:gd name="connsiteY242" fmla="*/ 507730 h 638175"/>
                  <a:gd name="connsiteX243" fmla="*/ 267744 w 409575"/>
                  <a:gd name="connsiteY243" fmla="*/ 507730 h 638175"/>
                  <a:gd name="connsiteX244" fmla="*/ 267744 w 409575"/>
                  <a:gd name="connsiteY244" fmla="*/ 504043 h 638175"/>
                  <a:gd name="connsiteX245" fmla="*/ 271433 w 409575"/>
                  <a:gd name="connsiteY245" fmla="*/ 504043 h 638175"/>
                  <a:gd name="connsiteX246" fmla="*/ 271433 w 409575"/>
                  <a:gd name="connsiteY246" fmla="*/ 500348 h 638175"/>
                  <a:gd name="connsiteX247" fmla="*/ 267744 w 409575"/>
                  <a:gd name="connsiteY247" fmla="*/ 496662 h 638175"/>
                  <a:gd name="connsiteX248" fmla="*/ 264055 w 409575"/>
                  <a:gd name="connsiteY248" fmla="*/ 496662 h 638175"/>
                  <a:gd name="connsiteX249" fmla="*/ 260365 w 409575"/>
                  <a:gd name="connsiteY249" fmla="*/ 500348 h 638175"/>
                  <a:gd name="connsiteX250" fmla="*/ 256676 w 409575"/>
                  <a:gd name="connsiteY250" fmla="*/ 500348 h 638175"/>
                  <a:gd name="connsiteX251" fmla="*/ 252987 w 409575"/>
                  <a:gd name="connsiteY251" fmla="*/ 500348 h 638175"/>
                  <a:gd name="connsiteX252" fmla="*/ 252987 w 409575"/>
                  <a:gd name="connsiteY252" fmla="*/ 496662 h 638175"/>
                  <a:gd name="connsiteX253" fmla="*/ 256676 w 409575"/>
                  <a:gd name="connsiteY253" fmla="*/ 496662 h 638175"/>
                  <a:gd name="connsiteX254" fmla="*/ 256676 w 409575"/>
                  <a:gd name="connsiteY254" fmla="*/ 492966 h 638175"/>
                  <a:gd name="connsiteX255" fmla="*/ 256676 w 409575"/>
                  <a:gd name="connsiteY255" fmla="*/ 489280 h 638175"/>
                  <a:gd name="connsiteX256" fmla="*/ 249298 w 409575"/>
                  <a:gd name="connsiteY256" fmla="*/ 485584 h 638175"/>
                  <a:gd name="connsiteX257" fmla="*/ 245609 w 409575"/>
                  <a:gd name="connsiteY257" fmla="*/ 485584 h 638175"/>
                  <a:gd name="connsiteX258" fmla="*/ 245609 w 409575"/>
                  <a:gd name="connsiteY258" fmla="*/ 489280 h 638175"/>
                  <a:gd name="connsiteX259" fmla="*/ 241920 w 409575"/>
                  <a:gd name="connsiteY259" fmla="*/ 489280 h 638175"/>
                  <a:gd name="connsiteX260" fmla="*/ 238230 w 409575"/>
                  <a:gd name="connsiteY260" fmla="*/ 485584 h 638175"/>
                  <a:gd name="connsiteX261" fmla="*/ 234541 w 409575"/>
                  <a:gd name="connsiteY261" fmla="*/ 485584 h 638175"/>
                  <a:gd name="connsiteX262" fmla="*/ 234541 w 409575"/>
                  <a:gd name="connsiteY262" fmla="*/ 481898 h 638175"/>
                  <a:gd name="connsiteX263" fmla="*/ 238230 w 409575"/>
                  <a:gd name="connsiteY263" fmla="*/ 481898 h 638175"/>
                  <a:gd name="connsiteX264" fmla="*/ 241920 w 409575"/>
                  <a:gd name="connsiteY264" fmla="*/ 481898 h 638175"/>
                  <a:gd name="connsiteX265" fmla="*/ 245609 w 409575"/>
                  <a:gd name="connsiteY265" fmla="*/ 478202 h 638175"/>
                  <a:gd name="connsiteX266" fmla="*/ 234541 w 409575"/>
                  <a:gd name="connsiteY266" fmla="*/ 470823 h 638175"/>
                  <a:gd name="connsiteX267" fmla="*/ 234541 w 409575"/>
                  <a:gd name="connsiteY267" fmla="*/ 467133 h 638175"/>
                  <a:gd name="connsiteX268" fmla="*/ 241920 w 409575"/>
                  <a:gd name="connsiteY268" fmla="*/ 470823 h 638175"/>
                  <a:gd name="connsiteX269" fmla="*/ 245609 w 409575"/>
                  <a:gd name="connsiteY269" fmla="*/ 474514 h 638175"/>
                  <a:gd name="connsiteX270" fmla="*/ 249298 w 409575"/>
                  <a:gd name="connsiteY270" fmla="*/ 474514 h 638175"/>
                  <a:gd name="connsiteX271" fmla="*/ 252987 w 409575"/>
                  <a:gd name="connsiteY271" fmla="*/ 470823 h 638175"/>
                  <a:gd name="connsiteX272" fmla="*/ 252987 w 409575"/>
                  <a:gd name="connsiteY272" fmla="*/ 474514 h 638175"/>
                  <a:gd name="connsiteX273" fmla="*/ 256676 w 409575"/>
                  <a:gd name="connsiteY273" fmla="*/ 478202 h 638175"/>
                  <a:gd name="connsiteX274" fmla="*/ 260365 w 409575"/>
                  <a:gd name="connsiteY274" fmla="*/ 474514 h 638175"/>
                  <a:gd name="connsiteX275" fmla="*/ 260365 w 409575"/>
                  <a:gd name="connsiteY275" fmla="*/ 470823 h 638175"/>
                  <a:gd name="connsiteX276" fmla="*/ 260365 w 409575"/>
                  <a:gd name="connsiteY276" fmla="*/ 467133 h 638175"/>
                  <a:gd name="connsiteX277" fmla="*/ 264055 w 409575"/>
                  <a:gd name="connsiteY277" fmla="*/ 467133 h 638175"/>
                  <a:gd name="connsiteX278" fmla="*/ 267744 w 409575"/>
                  <a:gd name="connsiteY278" fmla="*/ 463442 h 638175"/>
                  <a:gd name="connsiteX279" fmla="*/ 267744 w 409575"/>
                  <a:gd name="connsiteY279" fmla="*/ 456061 h 638175"/>
                  <a:gd name="connsiteX280" fmla="*/ 271433 w 409575"/>
                  <a:gd name="connsiteY280" fmla="*/ 452370 h 638175"/>
                  <a:gd name="connsiteX281" fmla="*/ 275122 w 409575"/>
                  <a:gd name="connsiteY281" fmla="*/ 448680 h 638175"/>
                  <a:gd name="connsiteX282" fmla="*/ 278811 w 409575"/>
                  <a:gd name="connsiteY282" fmla="*/ 444989 h 638175"/>
                  <a:gd name="connsiteX283" fmla="*/ 282500 w 409575"/>
                  <a:gd name="connsiteY283" fmla="*/ 444989 h 638175"/>
                  <a:gd name="connsiteX284" fmla="*/ 286190 w 409575"/>
                  <a:gd name="connsiteY284" fmla="*/ 444989 h 638175"/>
                  <a:gd name="connsiteX285" fmla="*/ 286190 w 409575"/>
                  <a:gd name="connsiteY285" fmla="*/ 441299 h 638175"/>
                  <a:gd name="connsiteX286" fmla="*/ 289879 w 409575"/>
                  <a:gd name="connsiteY286" fmla="*/ 437608 h 638175"/>
                  <a:gd name="connsiteX287" fmla="*/ 289879 w 409575"/>
                  <a:gd name="connsiteY287" fmla="*/ 433917 h 638175"/>
                  <a:gd name="connsiteX288" fmla="*/ 297258 w 409575"/>
                  <a:gd name="connsiteY288" fmla="*/ 426537 h 638175"/>
                  <a:gd name="connsiteX289" fmla="*/ 293568 w 409575"/>
                  <a:gd name="connsiteY289" fmla="*/ 426537 h 638175"/>
                  <a:gd name="connsiteX290" fmla="*/ 289879 w 409575"/>
                  <a:gd name="connsiteY290" fmla="*/ 426537 h 638175"/>
                  <a:gd name="connsiteX291" fmla="*/ 286190 w 409575"/>
                  <a:gd name="connsiteY291" fmla="*/ 422847 h 638175"/>
                  <a:gd name="connsiteX292" fmla="*/ 286190 w 409575"/>
                  <a:gd name="connsiteY292" fmla="*/ 426537 h 638175"/>
                  <a:gd name="connsiteX293" fmla="*/ 278811 w 409575"/>
                  <a:gd name="connsiteY293" fmla="*/ 422847 h 638175"/>
                  <a:gd name="connsiteX294" fmla="*/ 278811 w 409575"/>
                  <a:gd name="connsiteY294" fmla="*/ 419156 h 638175"/>
                  <a:gd name="connsiteX295" fmla="*/ 278811 w 409575"/>
                  <a:gd name="connsiteY295" fmla="*/ 415465 h 638175"/>
                  <a:gd name="connsiteX296" fmla="*/ 278811 w 409575"/>
                  <a:gd name="connsiteY296" fmla="*/ 411775 h 638175"/>
                  <a:gd name="connsiteX297" fmla="*/ 282500 w 409575"/>
                  <a:gd name="connsiteY297" fmla="*/ 408084 h 638175"/>
                  <a:gd name="connsiteX298" fmla="*/ 282500 w 409575"/>
                  <a:gd name="connsiteY298" fmla="*/ 404394 h 638175"/>
                  <a:gd name="connsiteX299" fmla="*/ 278811 w 409575"/>
                  <a:gd name="connsiteY299" fmla="*/ 404394 h 638175"/>
                  <a:gd name="connsiteX300" fmla="*/ 275122 w 409575"/>
                  <a:gd name="connsiteY300" fmla="*/ 408084 h 638175"/>
                  <a:gd name="connsiteX301" fmla="*/ 271433 w 409575"/>
                  <a:gd name="connsiteY301" fmla="*/ 404394 h 638175"/>
                  <a:gd name="connsiteX302" fmla="*/ 278811 w 409575"/>
                  <a:gd name="connsiteY302" fmla="*/ 400703 h 638175"/>
                  <a:gd name="connsiteX303" fmla="*/ 286190 w 409575"/>
                  <a:gd name="connsiteY303" fmla="*/ 400703 h 638175"/>
                  <a:gd name="connsiteX304" fmla="*/ 286190 w 409575"/>
                  <a:gd name="connsiteY304" fmla="*/ 397012 h 638175"/>
                  <a:gd name="connsiteX305" fmla="*/ 282500 w 409575"/>
                  <a:gd name="connsiteY305" fmla="*/ 393322 h 638175"/>
                  <a:gd name="connsiteX306" fmla="*/ 282500 w 409575"/>
                  <a:gd name="connsiteY306" fmla="*/ 389631 h 638175"/>
                  <a:gd name="connsiteX307" fmla="*/ 282500 w 409575"/>
                  <a:gd name="connsiteY307" fmla="*/ 385940 h 638175"/>
                  <a:gd name="connsiteX308" fmla="*/ 286190 w 409575"/>
                  <a:gd name="connsiteY308" fmla="*/ 382250 h 638175"/>
                  <a:gd name="connsiteX309" fmla="*/ 289879 w 409575"/>
                  <a:gd name="connsiteY309" fmla="*/ 385940 h 638175"/>
                  <a:gd name="connsiteX310" fmla="*/ 289879 w 409575"/>
                  <a:gd name="connsiteY310" fmla="*/ 382250 h 638175"/>
                  <a:gd name="connsiteX311" fmla="*/ 293568 w 409575"/>
                  <a:gd name="connsiteY311" fmla="*/ 378559 h 638175"/>
                  <a:gd name="connsiteX312" fmla="*/ 297258 w 409575"/>
                  <a:gd name="connsiteY312" fmla="*/ 371178 h 638175"/>
                  <a:gd name="connsiteX313" fmla="*/ 293568 w 409575"/>
                  <a:gd name="connsiteY313" fmla="*/ 371178 h 638175"/>
                  <a:gd name="connsiteX314" fmla="*/ 293568 w 409575"/>
                  <a:gd name="connsiteY314" fmla="*/ 363797 h 638175"/>
                  <a:gd name="connsiteX315" fmla="*/ 289879 w 409575"/>
                  <a:gd name="connsiteY315" fmla="*/ 363797 h 638175"/>
                  <a:gd name="connsiteX316" fmla="*/ 289879 w 409575"/>
                  <a:gd name="connsiteY316" fmla="*/ 360106 h 638175"/>
                  <a:gd name="connsiteX317" fmla="*/ 286190 w 409575"/>
                  <a:gd name="connsiteY317" fmla="*/ 356416 h 638175"/>
                  <a:gd name="connsiteX318" fmla="*/ 286190 w 409575"/>
                  <a:gd name="connsiteY318" fmla="*/ 352725 h 638175"/>
                  <a:gd name="connsiteX319" fmla="*/ 282500 w 409575"/>
                  <a:gd name="connsiteY319" fmla="*/ 345344 h 638175"/>
                  <a:gd name="connsiteX320" fmla="*/ 282500 w 409575"/>
                  <a:gd name="connsiteY320" fmla="*/ 341654 h 638175"/>
                  <a:gd name="connsiteX321" fmla="*/ 275122 w 409575"/>
                  <a:gd name="connsiteY321" fmla="*/ 330582 h 638175"/>
                  <a:gd name="connsiteX322" fmla="*/ 275122 w 409575"/>
                  <a:gd name="connsiteY322" fmla="*/ 326892 h 638175"/>
                  <a:gd name="connsiteX323" fmla="*/ 271433 w 409575"/>
                  <a:gd name="connsiteY323" fmla="*/ 323201 h 638175"/>
                  <a:gd name="connsiteX324" fmla="*/ 271433 w 409575"/>
                  <a:gd name="connsiteY324" fmla="*/ 315820 h 638175"/>
                  <a:gd name="connsiteX325" fmla="*/ 267744 w 409575"/>
                  <a:gd name="connsiteY325" fmla="*/ 308439 h 638175"/>
                  <a:gd name="connsiteX326" fmla="*/ 267744 w 409575"/>
                  <a:gd name="connsiteY326" fmla="*/ 304748 h 638175"/>
                  <a:gd name="connsiteX327" fmla="*/ 264055 w 409575"/>
                  <a:gd name="connsiteY327" fmla="*/ 301057 h 638175"/>
                  <a:gd name="connsiteX328" fmla="*/ 267744 w 409575"/>
                  <a:gd name="connsiteY328" fmla="*/ 297367 h 638175"/>
                  <a:gd name="connsiteX329" fmla="*/ 264055 w 409575"/>
                  <a:gd name="connsiteY329" fmla="*/ 293676 h 638175"/>
                  <a:gd name="connsiteX330" fmla="*/ 264055 w 409575"/>
                  <a:gd name="connsiteY330" fmla="*/ 289986 h 638175"/>
                  <a:gd name="connsiteX331" fmla="*/ 264055 w 409575"/>
                  <a:gd name="connsiteY331" fmla="*/ 286295 h 638175"/>
                  <a:gd name="connsiteX332" fmla="*/ 264055 w 409575"/>
                  <a:gd name="connsiteY332" fmla="*/ 282604 h 638175"/>
                  <a:gd name="connsiteX333" fmla="*/ 264055 w 409575"/>
                  <a:gd name="connsiteY333" fmla="*/ 275223 h 638175"/>
                  <a:gd name="connsiteX334" fmla="*/ 264055 w 409575"/>
                  <a:gd name="connsiteY334" fmla="*/ 271532 h 638175"/>
                  <a:gd name="connsiteX335" fmla="*/ 267744 w 409575"/>
                  <a:gd name="connsiteY335" fmla="*/ 271532 h 638175"/>
                  <a:gd name="connsiteX336" fmla="*/ 267744 w 409575"/>
                  <a:gd name="connsiteY336" fmla="*/ 267842 h 638175"/>
                  <a:gd name="connsiteX337" fmla="*/ 271433 w 409575"/>
                  <a:gd name="connsiteY337" fmla="*/ 267842 h 638175"/>
                  <a:gd name="connsiteX338" fmla="*/ 275122 w 409575"/>
                  <a:gd name="connsiteY338" fmla="*/ 264151 h 638175"/>
                  <a:gd name="connsiteX339" fmla="*/ 278811 w 409575"/>
                  <a:gd name="connsiteY339" fmla="*/ 264151 h 638175"/>
                  <a:gd name="connsiteX340" fmla="*/ 282500 w 409575"/>
                  <a:gd name="connsiteY340" fmla="*/ 264151 h 638175"/>
                  <a:gd name="connsiteX341" fmla="*/ 282500 w 409575"/>
                  <a:gd name="connsiteY341" fmla="*/ 267842 h 638175"/>
                  <a:gd name="connsiteX342" fmla="*/ 286190 w 409575"/>
                  <a:gd name="connsiteY342" fmla="*/ 271532 h 638175"/>
                  <a:gd name="connsiteX343" fmla="*/ 286190 w 409575"/>
                  <a:gd name="connsiteY343" fmla="*/ 267842 h 638175"/>
                  <a:gd name="connsiteX344" fmla="*/ 289879 w 409575"/>
                  <a:gd name="connsiteY344" fmla="*/ 264151 h 638175"/>
                  <a:gd name="connsiteX345" fmla="*/ 293568 w 409575"/>
                  <a:gd name="connsiteY345" fmla="*/ 264151 h 638175"/>
                  <a:gd name="connsiteX346" fmla="*/ 297258 w 409575"/>
                  <a:gd name="connsiteY346" fmla="*/ 264151 h 638175"/>
                  <a:gd name="connsiteX347" fmla="*/ 300947 w 409575"/>
                  <a:gd name="connsiteY347" fmla="*/ 264151 h 638175"/>
                  <a:gd name="connsiteX348" fmla="*/ 304636 w 409575"/>
                  <a:gd name="connsiteY348" fmla="*/ 267842 h 638175"/>
                  <a:gd name="connsiteX349" fmla="*/ 308326 w 409575"/>
                  <a:gd name="connsiteY349" fmla="*/ 271532 h 638175"/>
                  <a:gd name="connsiteX350" fmla="*/ 312015 w 409575"/>
                  <a:gd name="connsiteY350" fmla="*/ 271532 h 638175"/>
                  <a:gd name="connsiteX351" fmla="*/ 315704 w 409575"/>
                  <a:gd name="connsiteY351" fmla="*/ 275223 h 638175"/>
                  <a:gd name="connsiteX352" fmla="*/ 315704 w 409575"/>
                  <a:gd name="connsiteY352" fmla="*/ 278914 h 638175"/>
                  <a:gd name="connsiteX353" fmla="*/ 323082 w 409575"/>
                  <a:gd name="connsiteY353" fmla="*/ 278914 h 638175"/>
                  <a:gd name="connsiteX354" fmla="*/ 326771 w 409575"/>
                  <a:gd name="connsiteY354" fmla="*/ 278914 h 638175"/>
                  <a:gd name="connsiteX355" fmla="*/ 330460 w 409575"/>
                  <a:gd name="connsiteY355" fmla="*/ 278914 h 638175"/>
                  <a:gd name="connsiteX356" fmla="*/ 334150 w 409575"/>
                  <a:gd name="connsiteY356" fmla="*/ 275223 h 638175"/>
                  <a:gd name="connsiteX357" fmla="*/ 341528 w 409575"/>
                  <a:gd name="connsiteY357" fmla="*/ 267842 h 638175"/>
                  <a:gd name="connsiteX358" fmla="*/ 345217 w 409575"/>
                  <a:gd name="connsiteY358" fmla="*/ 267842 h 638175"/>
                  <a:gd name="connsiteX359" fmla="*/ 352595 w 409575"/>
                  <a:gd name="connsiteY359" fmla="*/ 267842 h 638175"/>
                  <a:gd name="connsiteX360" fmla="*/ 352595 w 409575"/>
                  <a:gd name="connsiteY360" fmla="*/ 264151 h 638175"/>
                  <a:gd name="connsiteX361" fmla="*/ 356285 w 409575"/>
                  <a:gd name="connsiteY361" fmla="*/ 260461 h 638175"/>
                  <a:gd name="connsiteX362" fmla="*/ 359974 w 409575"/>
                  <a:gd name="connsiteY362" fmla="*/ 260461 h 638175"/>
                  <a:gd name="connsiteX363" fmla="*/ 359974 w 409575"/>
                  <a:gd name="connsiteY363" fmla="*/ 256771 h 638175"/>
                  <a:gd name="connsiteX364" fmla="*/ 367352 w 409575"/>
                  <a:gd name="connsiteY364" fmla="*/ 253080 h 638175"/>
                  <a:gd name="connsiteX365" fmla="*/ 367352 w 409575"/>
                  <a:gd name="connsiteY365" fmla="*/ 249390 h 638175"/>
                  <a:gd name="connsiteX366" fmla="*/ 371041 w 409575"/>
                  <a:gd name="connsiteY366" fmla="*/ 245699 h 638175"/>
                  <a:gd name="connsiteX367" fmla="*/ 371041 w 409575"/>
                  <a:gd name="connsiteY367" fmla="*/ 238318 h 638175"/>
                  <a:gd name="connsiteX368" fmla="*/ 371041 w 409575"/>
                  <a:gd name="connsiteY368" fmla="*/ 234627 h 638175"/>
                  <a:gd name="connsiteX369" fmla="*/ 374730 w 409575"/>
                  <a:gd name="connsiteY369" fmla="*/ 227246 h 638175"/>
                  <a:gd name="connsiteX370" fmla="*/ 378420 w 409575"/>
                  <a:gd name="connsiteY370" fmla="*/ 227246 h 638175"/>
                  <a:gd name="connsiteX371" fmla="*/ 382106 w 409575"/>
                  <a:gd name="connsiteY371" fmla="*/ 227246 h 638175"/>
                  <a:gd name="connsiteX372" fmla="*/ 385802 w 409575"/>
                  <a:gd name="connsiteY372" fmla="*/ 227246 h 638175"/>
                  <a:gd name="connsiteX373" fmla="*/ 389488 w 409575"/>
                  <a:gd name="connsiteY373" fmla="*/ 223555 h 638175"/>
                  <a:gd name="connsiteX374" fmla="*/ 393174 w 409575"/>
                  <a:gd name="connsiteY374" fmla="*/ 223555 h 638175"/>
                  <a:gd name="connsiteX375" fmla="*/ 389488 w 409575"/>
                  <a:gd name="connsiteY375" fmla="*/ 219865 h 638175"/>
                  <a:gd name="connsiteX376" fmla="*/ 393174 w 409575"/>
                  <a:gd name="connsiteY376" fmla="*/ 219865 h 638175"/>
                  <a:gd name="connsiteX377" fmla="*/ 396870 w 409575"/>
                  <a:gd name="connsiteY377" fmla="*/ 216174 h 638175"/>
                  <a:gd name="connsiteX378" fmla="*/ 400556 w 409575"/>
                  <a:gd name="connsiteY378" fmla="*/ 212484 h 638175"/>
                  <a:gd name="connsiteX379" fmla="*/ 396870 w 409575"/>
                  <a:gd name="connsiteY379" fmla="*/ 208793 h 638175"/>
                  <a:gd name="connsiteX380" fmla="*/ 393174 w 409575"/>
                  <a:gd name="connsiteY380" fmla="*/ 205102 h 638175"/>
                  <a:gd name="connsiteX381" fmla="*/ 393174 w 409575"/>
                  <a:gd name="connsiteY381" fmla="*/ 201412 h 638175"/>
                  <a:gd name="connsiteX382" fmla="*/ 393174 w 409575"/>
                  <a:gd name="connsiteY382" fmla="*/ 197721 h 638175"/>
                  <a:gd name="connsiteX383" fmla="*/ 393174 w 409575"/>
                  <a:gd name="connsiteY383" fmla="*/ 194031 h 638175"/>
                  <a:gd name="connsiteX384" fmla="*/ 393174 w 409575"/>
                  <a:gd name="connsiteY384" fmla="*/ 190340 h 638175"/>
                  <a:gd name="connsiteX385" fmla="*/ 393174 w 409575"/>
                  <a:gd name="connsiteY385" fmla="*/ 186649 h 638175"/>
                  <a:gd name="connsiteX386" fmla="*/ 393174 w 409575"/>
                  <a:gd name="connsiteY386" fmla="*/ 182959 h 638175"/>
                  <a:gd name="connsiteX387" fmla="*/ 389488 w 409575"/>
                  <a:gd name="connsiteY387" fmla="*/ 182959 h 638175"/>
                  <a:gd name="connsiteX388" fmla="*/ 385802 w 409575"/>
                  <a:gd name="connsiteY388" fmla="*/ 179268 h 638175"/>
                  <a:gd name="connsiteX389" fmla="*/ 378420 w 409575"/>
                  <a:gd name="connsiteY389" fmla="*/ 175578 h 638175"/>
                  <a:gd name="connsiteX390" fmla="*/ 367352 w 409575"/>
                  <a:gd name="connsiteY390" fmla="*/ 175578 h 638175"/>
                  <a:gd name="connsiteX391" fmla="*/ 363663 w 409575"/>
                  <a:gd name="connsiteY391" fmla="*/ 175578 h 638175"/>
                  <a:gd name="connsiteX392" fmla="*/ 359974 w 409575"/>
                  <a:gd name="connsiteY392" fmla="*/ 171888 h 638175"/>
                  <a:gd name="connsiteX393" fmla="*/ 352595 w 409575"/>
                  <a:gd name="connsiteY393" fmla="*/ 171888 h 638175"/>
                  <a:gd name="connsiteX394" fmla="*/ 348906 w 409575"/>
                  <a:gd name="connsiteY394" fmla="*/ 171888 h 638175"/>
                  <a:gd name="connsiteX395" fmla="*/ 345217 w 409575"/>
                  <a:gd name="connsiteY395" fmla="*/ 179268 h 638175"/>
                  <a:gd name="connsiteX396" fmla="*/ 341528 w 409575"/>
                  <a:gd name="connsiteY396" fmla="*/ 182959 h 638175"/>
                  <a:gd name="connsiteX397" fmla="*/ 341528 w 409575"/>
                  <a:gd name="connsiteY397" fmla="*/ 186649 h 638175"/>
                  <a:gd name="connsiteX398" fmla="*/ 337839 w 409575"/>
                  <a:gd name="connsiteY398" fmla="*/ 182959 h 638175"/>
                  <a:gd name="connsiteX399" fmla="*/ 334150 w 409575"/>
                  <a:gd name="connsiteY399" fmla="*/ 182959 h 638175"/>
                  <a:gd name="connsiteX400" fmla="*/ 330460 w 409575"/>
                  <a:gd name="connsiteY400" fmla="*/ 182959 h 638175"/>
                  <a:gd name="connsiteX401" fmla="*/ 326771 w 409575"/>
                  <a:gd name="connsiteY401" fmla="*/ 182959 h 638175"/>
                  <a:gd name="connsiteX402" fmla="*/ 319393 w 409575"/>
                  <a:gd name="connsiteY402" fmla="*/ 175578 h 638175"/>
                  <a:gd name="connsiteX403" fmla="*/ 315704 w 409575"/>
                  <a:gd name="connsiteY403" fmla="*/ 171888 h 638175"/>
                  <a:gd name="connsiteX404" fmla="*/ 312015 w 409575"/>
                  <a:gd name="connsiteY404" fmla="*/ 168197 h 638175"/>
                  <a:gd name="connsiteX405" fmla="*/ 315704 w 409575"/>
                  <a:gd name="connsiteY405" fmla="*/ 160816 h 638175"/>
                  <a:gd name="connsiteX406" fmla="*/ 312015 w 409575"/>
                  <a:gd name="connsiteY406" fmla="*/ 160816 h 638175"/>
                  <a:gd name="connsiteX407" fmla="*/ 308326 w 409575"/>
                  <a:gd name="connsiteY407" fmla="*/ 157126 h 638175"/>
                  <a:gd name="connsiteX408" fmla="*/ 304636 w 409575"/>
                  <a:gd name="connsiteY408" fmla="*/ 157126 h 638175"/>
                  <a:gd name="connsiteX409" fmla="*/ 312015 w 409575"/>
                  <a:gd name="connsiteY409" fmla="*/ 101766 h 638175"/>
                  <a:gd name="connsiteX410" fmla="*/ 304636 w 409575"/>
                  <a:gd name="connsiteY410" fmla="*/ 90695 h 638175"/>
                  <a:gd name="connsiteX411" fmla="*/ 293568 w 409575"/>
                  <a:gd name="connsiteY411" fmla="*/ 68552 h 638175"/>
                  <a:gd name="connsiteX412" fmla="*/ 293568 w 409575"/>
                  <a:gd name="connsiteY412" fmla="*/ 64861 h 638175"/>
                  <a:gd name="connsiteX413" fmla="*/ 289879 w 409575"/>
                  <a:gd name="connsiteY413" fmla="*/ 61171 h 638175"/>
                  <a:gd name="connsiteX414" fmla="*/ 278811 w 409575"/>
                  <a:gd name="connsiteY414" fmla="*/ 39027 h 638175"/>
                  <a:gd name="connsiteX415" fmla="*/ 275122 w 409575"/>
                  <a:gd name="connsiteY415" fmla="*/ 39027 h 638175"/>
                  <a:gd name="connsiteX416" fmla="*/ 275122 w 409575"/>
                  <a:gd name="connsiteY416" fmla="*/ 31646 h 638175"/>
                  <a:gd name="connsiteX417" fmla="*/ 271433 w 409575"/>
                  <a:gd name="connsiteY417" fmla="*/ 27955 h 638175"/>
                  <a:gd name="connsiteX418" fmla="*/ 267744 w 409575"/>
                  <a:gd name="connsiteY418" fmla="*/ 27955 h 638175"/>
                  <a:gd name="connsiteX419" fmla="*/ 264055 w 409575"/>
                  <a:gd name="connsiteY419" fmla="*/ 31646 h 638175"/>
                  <a:gd name="connsiteX420" fmla="*/ 260365 w 409575"/>
                  <a:gd name="connsiteY420" fmla="*/ 31646 h 638175"/>
                  <a:gd name="connsiteX421" fmla="*/ 256676 w 409575"/>
                  <a:gd name="connsiteY421" fmla="*/ 27955 h 638175"/>
                  <a:gd name="connsiteX422" fmla="*/ 252987 w 409575"/>
                  <a:gd name="connsiteY422" fmla="*/ 27955 h 638175"/>
                  <a:gd name="connsiteX423" fmla="*/ 249298 w 409575"/>
                  <a:gd name="connsiteY423" fmla="*/ 31646 h 638175"/>
                  <a:gd name="connsiteX424" fmla="*/ 241920 w 409575"/>
                  <a:gd name="connsiteY424" fmla="*/ 31646 h 638175"/>
                  <a:gd name="connsiteX425" fmla="*/ 234541 w 409575"/>
                  <a:gd name="connsiteY425" fmla="*/ 39027 h 638175"/>
                  <a:gd name="connsiteX426" fmla="*/ 234541 w 409575"/>
                  <a:gd name="connsiteY426" fmla="*/ 42718 h 638175"/>
                  <a:gd name="connsiteX427" fmla="*/ 227163 w 409575"/>
                  <a:gd name="connsiteY427" fmla="*/ 53789 h 638175"/>
                  <a:gd name="connsiteX428" fmla="*/ 223474 w 409575"/>
                  <a:gd name="connsiteY428" fmla="*/ 53789 h 638175"/>
                  <a:gd name="connsiteX429" fmla="*/ 216096 w 409575"/>
                  <a:gd name="connsiteY429" fmla="*/ 57480 h 638175"/>
                  <a:gd name="connsiteX430" fmla="*/ 212406 w 409575"/>
                  <a:gd name="connsiteY430" fmla="*/ 61171 h 638175"/>
                  <a:gd name="connsiteX431" fmla="*/ 197650 w 409575"/>
                  <a:gd name="connsiteY431" fmla="*/ 68552 h 638175"/>
                  <a:gd name="connsiteX432" fmla="*/ 193961 w 409575"/>
                  <a:gd name="connsiteY432" fmla="*/ 64861 h 638175"/>
                  <a:gd name="connsiteX433" fmla="*/ 182893 w 409575"/>
                  <a:gd name="connsiteY433" fmla="*/ 57480 h 638175"/>
                  <a:gd name="connsiteX434" fmla="*/ 179204 w 409575"/>
                  <a:gd name="connsiteY434" fmla="*/ 57480 h 638175"/>
                  <a:gd name="connsiteX435" fmla="*/ 168136 w 409575"/>
                  <a:gd name="connsiteY435" fmla="*/ 50099 h 638175"/>
                  <a:gd name="connsiteX436" fmla="*/ 164447 w 409575"/>
                  <a:gd name="connsiteY436" fmla="*/ 46408 h 638175"/>
                  <a:gd name="connsiteX437" fmla="*/ 160758 w 409575"/>
                  <a:gd name="connsiteY437" fmla="*/ 42718 h 638175"/>
                  <a:gd name="connsiteX438" fmla="*/ 157069 w 409575"/>
                  <a:gd name="connsiteY438" fmla="*/ 35336 h 638175"/>
                  <a:gd name="connsiteX439" fmla="*/ 157069 w 409575"/>
                  <a:gd name="connsiteY439" fmla="*/ 27955 h 638175"/>
                  <a:gd name="connsiteX440" fmla="*/ 157069 w 409575"/>
                  <a:gd name="connsiteY440" fmla="*/ 20574 h 638175"/>
                  <a:gd name="connsiteX441" fmla="*/ 160758 w 409575"/>
                  <a:gd name="connsiteY441" fmla="*/ 13193 h 638175"/>
                  <a:gd name="connsiteX442" fmla="*/ 160758 w 409575"/>
                  <a:gd name="connsiteY442" fmla="*/ 9502 h 638175"/>
                  <a:gd name="connsiteX443" fmla="*/ 157069 w 409575"/>
                  <a:gd name="connsiteY443" fmla="*/ 9502 h 638175"/>
                  <a:gd name="connsiteX444" fmla="*/ 157069 w 409575"/>
                  <a:gd name="connsiteY444" fmla="*/ 13193 h 638175"/>
                  <a:gd name="connsiteX445" fmla="*/ 153380 w 409575"/>
                  <a:gd name="connsiteY445" fmla="*/ 13193 h 638175"/>
                  <a:gd name="connsiteX446" fmla="*/ 149690 w 409575"/>
                  <a:gd name="connsiteY446" fmla="*/ 13193 h 638175"/>
                  <a:gd name="connsiteX447" fmla="*/ 149690 w 409575"/>
                  <a:gd name="connsiteY447" fmla="*/ 9502 h 638175"/>
                  <a:gd name="connsiteX448" fmla="*/ 149690 w 409575"/>
                  <a:gd name="connsiteY448" fmla="*/ 5812 h 638175"/>
                  <a:gd name="connsiteX449" fmla="*/ 142312 w 409575"/>
                  <a:gd name="connsiteY449" fmla="*/ 5812 h 638175"/>
                  <a:gd name="connsiteX450" fmla="*/ 134933 w 409575"/>
                  <a:gd name="connsiteY450" fmla="*/ 5812 h 638175"/>
                  <a:gd name="connsiteX451" fmla="*/ 131244 w 409575"/>
                  <a:gd name="connsiteY451" fmla="*/ 5812 h 638175"/>
                  <a:gd name="connsiteX452" fmla="*/ 127555 w 409575"/>
                  <a:gd name="connsiteY452" fmla="*/ 5812 h 638175"/>
                  <a:gd name="connsiteX453" fmla="*/ 160758 w 409575"/>
                  <a:gd name="connsiteY453" fmla="*/ 9502 h 638175"/>
                  <a:gd name="connsiteX454" fmla="*/ 160758 w 409575"/>
                  <a:gd name="connsiteY454" fmla="*/ 5812 h 638175"/>
                  <a:gd name="connsiteX455" fmla="*/ 157069 w 409575"/>
                  <a:gd name="connsiteY455" fmla="*/ 5812 h 638175"/>
                  <a:gd name="connsiteX456" fmla="*/ 160758 w 409575"/>
                  <a:gd name="connsiteY456" fmla="*/ 9502 h 638175"/>
                  <a:gd name="connsiteX457" fmla="*/ 275122 w 409575"/>
                  <a:gd name="connsiteY457" fmla="*/ 31646 h 638175"/>
                  <a:gd name="connsiteX458" fmla="*/ 278811 w 409575"/>
                  <a:gd name="connsiteY458" fmla="*/ 35336 h 638175"/>
                  <a:gd name="connsiteX459" fmla="*/ 278811 w 409575"/>
                  <a:gd name="connsiteY459" fmla="*/ 27955 h 638175"/>
                  <a:gd name="connsiteX460" fmla="*/ 275122 w 409575"/>
                  <a:gd name="connsiteY460" fmla="*/ 27955 h 638175"/>
                  <a:gd name="connsiteX461" fmla="*/ 275122 w 409575"/>
                  <a:gd name="connsiteY461" fmla="*/ 31646 h 638175"/>
                  <a:gd name="connsiteX462" fmla="*/ 241920 w 409575"/>
                  <a:gd name="connsiteY462" fmla="*/ 481898 h 638175"/>
                  <a:gd name="connsiteX463" fmla="*/ 241920 w 409575"/>
                  <a:gd name="connsiteY463" fmla="*/ 485584 h 638175"/>
                  <a:gd name="connsiteX464" fmla="*/ 245609 w 409575"/>
                  <a:gd name="connsiteY464" fmla="*/ 485584 h 638175"/>
                  <a:gd name="connsiteX465" fmla="*/ 241920 w 409575"/>
                  <a:gd name="connsiteY465" fmla="*/ 481898 h 638175"/>
                  <a:gd name="connsiteX466" fmla="*/ 304636 w 409575"/>
                  <a:gd name="connsiteY466" fmla="*/ 400703 h 638175"/>
                  <a:gd name="connsiteX467" fmla="*/ 304636 w 409575"/>
                  <a:gd name="connsiteY467" fmla="*/ 404394 h 638175"/>
                  <a:gd name="connsiteX468" fmla="*/ 304636 w 409575"/>
                  <a:gd name="connsiteY468" fmla="*/ 408084 h 638175"/>
                  <a:gd name="connsiteX469" fmla="*/ 300947 w 409575"/>
                  <a:gd name="connsiteY469" fmla="*/ 415465 h 638175"/>
                  <a:gd name="connsiteX470" fmla="*/ 304636 w 409575"/>
                  <a:gd name="connsiteY470" fmla="*/ 415465 h 638175"/>
                  <a:gd name="connsiteX471" fmla="*/ 308326 w 409575"/>
                  <a:gd name="connsiteY471" fmla="*/ 411775 h 638175"/>
                  <a:gd name="connsiteX472" fmla="*/ 312015 w 409575"/>
                  <a:gd name="connsiteY472" fmla="*/ 411775 h 638175"/>
                  <a:gd name="connsiteX473" fmla="*/ 315704 w 409575"/>
                  <a:gd name="connsiteY473" fmla="*/ 408084 h 638175"/>
                  <a:gd name="connsiteX474" fmla="*/ 319393 w 409575"/>
                  <a:gd name="connsiteY474" fmla="*/ 408084 h 638175"/>
                  <a:gd name="connsiteX475" fmla="*/ 319393 w 409575"/>
                  <a:gd name="connsiteY475" fmla="*/ 404394 h 638175"/>
                  <a:gd name="connsiteX476" fmla="*/ 312015 w 409575"/>
                  <a:gd name="connsiteY476" fmla="*/ 408084 h 638175"/>
                  <a:gd name="connsiteX477" fmla="*/ 308326 w 409575"/>
                  <a:gd name="connsiteY477" fmla="*/ 404394 h 638175"/>
                  <a:gd name="connsiteX478" fmla="*/ 304636 w 409575"/>
                  <a:gd name="connsiteY478" fmla="*/ 400703 h 638175"/>
                  <a:gd name="connsiteX479" fmla="*/ 404242 w 409575"/>
                  <a:gd name="connsiteY479" fmla="*/ 529875 h 638175"/>
                  <a:gd name="connsiteX480" fmla="*/ 404242 w 409575"/>
                  <a:gd name="connsiteY480" fmla="*/ 533561 h 638175"/>
                  <a:gd name="connsiteX481" fmla="*/ 407929 w 409575"/>
                  <a:gd name="connsiteY481" fmla="*/ 533561 h 638175"/>
                  <a:gd name="connsiteX482" fmla="*/ 404242 w 409575"/>
                  <a:gd name="connsiteY482" fmla="*/ 529875 h 638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409575" h="638175">
                    <a:moveTo>
                      <a:pt x="127555" y="5812"/>
                    </a:moveTo>
                    <a:lnTo>
                      <a:pt x="120176" y="16883"/>
                    </a:lnTo>
                    <a:lnTo>
                      <a:pt x="120176" y="20574"/>
                    </a:lnTo>
                    <a:lnTo>
                      <a:pt x="120176" y="24264"/>
                    </a:lnTo>
                    <a:lnTo>
                      <a:pt x="120176" y="31646"/>
                    </a:lnTo>
                    <a:lnTo>
                      <a:pt x="116487" y="42718"/>
                    </a:lnTo>
                    <a:lnTo>
                      <a:pt x="116487" y="53789"/>
                    </a:lnTo>
                    <a:lnTo>
                      <a:pt x="116487" y="68552"/>
                    </a:lnTo>
                    <a:lnTo>
                      <a:pt x="109109" y="90695"/>
                    </a:lnTo>
                    <a:lnTo>
                      <a:pt x="105420" y="112838"/>
                    </a:lnTo>
                    <a:lnTo>
                      <a:pt x="98041" y="134982"/>
                    </a:lnTo>
                    <a:lnTo>
                      <a:pt x="98041" y="142363"/>
                    </a:lnTo>
                    <a:lnTo>
                      <a:pt x="94352" y="142363"/>
                    </a:lnTo>
                    <a:lnTo>
                      <a:pt x="94352" y="149744"/>
                    </a:lnTo>
                    <a:lnTo>
                      <a:pt x="86974" y="164507"/>
                    </a:lnTo>
                    <a:lnTo>
                      <a:pt x="86974" y="171888"/>
                    </a:lnTo>
                    <a:lnTo>
                      <a:pt x="79596" y="194031"/>
                    </a:lnTo>
                    <a:lnTo>
                      <a:pt x="79596" y="197721"/>
                    </a:lnTo>
                    <a:lnTo>
                      <a:pt x="79596" y="201412"/>
                    </a:lnTo>
                    <a:lnTo>
                      <a:pt x="79596" y="205102"/>
                    </a:lnTo>
                    <a:lnTo>
                      <a:pt x="79596" y="208793"/>
                    </a:lnTo>
                    <a:lnTo>
                      <a:pt x="79596" y="219865"/>
                    </a:lnTo>
                    <a:lnTo>
                      <a:pt x="75906" y="234627"/>
                    </a:lnTo>
                    <a:lnTo>
                      <a:pt x="75906" y="242009"/>
                    </a:lnTo>
                    <a:lnTo>
                      <a:pt x="75906" y="249390"/>
                    </a:lnTo>
                    <a:lnTo>
                      <a:pt x="72217" y="264151"/>
                    </a:lnTo>
                    <a:lnTo>
                      <a:pt x="72217" y="271532"/>
                    </a:lnTo>
                    <a:lnTo>
                      <a:pt x="72217" y="275223"/>
                    </a:lnTo>
                    <a:lnTo>
                      <a:pt x="72217" y="282604"/>
                    </a:lnTo>
                    <a:lnTo>
                      <a:pt x="68528" y="286295"/>
                    </a:lnTo>
                    <a:lnTo>
                      <a:pt x="68528" y="289986"/>
                    </a:lnTo>
                    <a:lnTo>
                      <a:pt x="64839" y="315820"/>
                    </a:lnTo>
                    <a:lnTo>
                      <a:pt x="61150" y="349034"/>
                    </a:lnTo>
                    <a:lnTo>
                      <a:pt x="57461" y="367487"/>
                    </a:lnTo>
                    <a:lnTo>
                      <a:pt x="53772" y="374869"/>
                    </a:lnTo>
                    <a:lnTo>
                      <a:pt x="50082" y="382250"/>
                    </a:lnTo>
                    <a:lnTo>
                      <a:pt x="46393" y="389631"/>
                    </a:lnTo>
                    <a:lnTo>
                      <a:pt x="42704" y="400703"/>
                    </a:lnTo>
                    <a:lnTo>
                      <a:pt x="50082" y="397012"/>
                    </a:lnTo>
                    <a:lnTo>
                      <a:pt x="53772" y="397012"/>
                    </a:lnTo>
                    <a:lnTo>
                      <a:pt x="61150" y="393322"/>
                    </a:lnTo>
                    <a:lnTo>
                      <a:pt x="64839" y="397012"/>
                    </a:lnTo>
                    <a:lnTo>
                      <a:pt x="61150" y="397012"/>
                    </a:lnTo>
                    <a:lnTo>
                      <a:pt x="61150" y="400703"/>
                    </a:lnTo>
                    <a:lnTo>
                      <a:pt x="53772" y="400703"/>
                    </a:lnTo>
                    <a:lnTo>
                      <a:pt x="50082" y="404394"/>
                    </a:lnTo>
                    <a:lnTo>
                      <a:pt x="57461" y="404394"/>
                    </a:lnTo>
                    <a:lnTo>
                      <a:pt x="57461" y="408084"/>
                    </a:lnTo>
                    <a:lnTo>
                      <a:pt x="50082" y="404394"/>
                    </a:lnTo>
                    <a:lnTo>
                      <a:pt x="46393" y="404394"/>
                    </a:lnTo>
                    <a:lnTo>
                      <a:pt x="46393" y="408084"/>
                    </a:lnTo>
                    <a:lnTo>
                      <a:pt x="39015" y="404394"/>
                    </a:lnTo>
                    <a:lnTo>
                      <a:pt x="39015" y="411775"/>
                    </a:lnTo>
                    <a:lnTo>
                      <a:pt x="42704" y="419156"/>
                    </a:lnTo>
                    <a:lnTo>
                      <a:pt x="39015" y="422847"/>
                    </a:lnTo>
                    <a:lnTo>
                      <a:pt x="39015" y="430227"/>
                    </a:lnTo>
                    <a:lnTo>
                      <a:pt x="35326" y="437608"/>
                    </a:lnTo>
                    <a:lnTo>
                      <a:pt x="31637" y="452370"/>
                    </a:lnTo>
                    <a:lnTo>
                      <a:pt x="27947" y="463442"/>
                    </a:lnTo>
                    <a:lnTo>
                      <a:pt x="20569" y="481898"/>
                    </a:lnTo>
                    <a:lnTo>
                      <a:pt x="5812" y="511416"/>
                    </a:lnTo>
                    <a:lnTo>
                      <a:pt x="31637" y="522493"/>
                    </a:lnTo>
                    <a:lnTo>
                      <a:pt x="42704" y="526179"/>
                    </a:lnTo>
                    <a:lnTo>
                      <a:pt x="42704" y="518798"/>
                    </a:lnTo>
                    <a:lnTo>
                      <a:pt x="46393" y="522493"/>
                    </a:lnTo>
                    <a:lnTo>
                      <a:pt x="50082" y="518798"/>
                    </a:lnTo>
                    <a:lnTo>
                      <a:pt x="53772" y="518798"/>
                    </a:lnTo>
                    <a:lnTo>
                      <a:pt x="57461" y="518798"/>
                    </a:lnTo>
                    <a:lnTo>
                      <a:pt x="64839" y="522493"/>
                    </a:lnTo>
                    <a:lnTo>
                      <a:pt x="61150" y="529875"/>
                    </a:lnTo>
                    <a:lnTo>
                      <a:pt x="57461" y="533561"/>
                    </a:lnTo>
                    <a:lnTo>
                      <a:pt x="57461" y="540943"/>
                    </a:lnTo>
                    <a:lnTo>
                      <a:pt x="53772" y="540943"/>
                    </a:lnTo>
                    <a:lnTo>
                      <a:pt x="53772" y="544639"/>
                    </a:lnTo>
                    <a:lnTo>
                      <a:pt x="53772" y="548325"/>
                    </a:lnTo>
                    <a:lnTo>
                      <a:pt x="50082" y="552011"/>
                    </a:lnTo>
                    <a:lnTo>
                      <a:pt x="46393" y="555707"/>
                    </a:lnTo>
                    <a:lnTo>
                      <a:pt x="42704" y="559393"/>
                    </a:lnTo>
                    <a:lnTo>
                      <a:pt x="42704" y="563089"/>
                    </a:lnTo>
                    <a:lnTo>
                      <a:pt x="42704" y="566775"/>
                    </a:lnTo>
                    <a:lnTo>
                      <a:pt x="42704" y="570471"/>
                    </a:lnTo>
                    <a:lnTo>
                      <a:pt x="42704" y="577853"/>
                    </a:lnTo>
                    <a:lnTo>
                      <a:pt x="39015" y="581539"/>
                    </a:lnTo>
                    <a:lnTo>
                      <a:pt x="39015" y="585234"/>
                    </a:lnTo>
                    <a:lnTo>
                      <a:pt x="35326" y="585234"/>
                    </a:lnTo>
                    <a:lnTo>
                      <a:pt x="35326" y="588921"/>
                    </a:lnTo>
                    <a:lnTo>
                      <a:pt x="35326" y="592616"/>
                    </a:lnTo>
                    <a:lnTo>
                      <a:pt x="35326" y="596303"/>
                    </a:lnTo>
                    <a:lnTo>
                      <a:pt x="39015" y="596303"/>
                    </a:lnTo>
                    <a:lnTo>
                      <a:pt x="42704" y="599989"/>
                    </a:lnTo>
                    <a:lnTo>
                      <a:pt x="46393" y="599989"/>
                    </a:lnTo>
                    <a:lnTo>
                      <a:pt x="50082" y="596303"/>
                    </a:lnTo>
                    <a:lnTo>
                      <a:pt x="57461" y="599989"/>
                    </a:lnTo>
                    <a:lnTo>
                      <a:pt x="68528" y="599989"/>
                    </a:lnTo>
                    <a:lnTo>
                      <a:pt x="72217" y="599989"/>
                    </a:lnTo>
                    <a:lnTo>
                      <a:pt x="75906" y="599989"/>
                    </a:lnTo>
                    <a:lnTo>
                      <a:pt x="79596" y="596303"/>
                    </a:lnTo>
                    <a:lnTo>
                      <a:pt x="86974" y="592616"/>
                    </a:lnTo>
                    <a:lnTo>
                      <a:pt x="90663" y="592616"/>
                    </a:lnTo>
                    <a:lnTo>
                      <a:pt x="90663" y="588921"/>
                    </a:lnTo>
                    <a:lnTo>
                      <a:pt x="94352" y="592616"/>
                    </a:lnTo>
                    <a:lnTo>
                      <a:pt x="98041" y="592616"/>
                    </a:lnTo>
                    <a:lnTo>
                      <a:pt x="101731" y="592616"/>
                    </a:lnTo>
                    <a:lnTo>
                      <a:pt x="105420" y="588921"/>
                    </a:lnTo>
                    <a:lnTo>
                      <a:pt x="109109" y="585234"/>
                    </a:lnTo>
                    <a:lnTo>
                      <a:pt x="120176" y="588921"/>
                    </a:lnTo>
                    <a:lnTo>
                      <a:pt x="116487" y="599989"/>
                    </a:lnTo>
                    <a:lnTo>
                      <a:pt x="120176" y="603684"/>
                    </a:lnTo>
                    <a:lnTo>
                      <a:pt x="123866" y="607371"/>
                    </a:lnTo>
                    <a:lnTo>
                      <a:pt x="127555" y="599989"/>
                    </a:lnTo>
                    <a:lnTo>
                      <a:pt x="131244" y="599989"/>
                    </a:lnTo>
                    <a:lnTo>
                      <a:pt x="138622" y="599989"/>
                    </a:lnTo>
                    <a:lnTo>
                      <a:pt x="142312" y="596303"/>
                    </a:lnTo>
                    <a:lnTo>
                      <a:pt x="142312" y="592616"/>
                    </a:lnTo>
                    <a:lnTo>
                      <a:pt x="146001" y="592616"/>
                    </a:lnTo>
                    <a:lnTo>
                      <a:pt x="149690" y="592616"/>
                    </a:lnTo>
                    <a:lnTo>
                      <a:pt x="153380" y="592616"/>
                    </a:lnTo>
                    <a:lnTo>
                      <a:pt x="157069" y="592616"/>
                    </a:lnTo>
                    <a:lnTo>
                      <a:pt x="160758" y="592616"/>
                    </a:lnTo>
                    <a:lnTo>
                      <a:pt x="164447" y="592616"/>
                    </a:lnTo>
                    <a:lnTo>
                      <a:pt x="168136" y="588921"/>
                    </a:lnTo>
                    <a:lnTo>
                      <a:pt x="171826" y="588921"/>
                    </a:lnTo>
                    <a:lnTo>
                      <a:pt x="171826" y="585234"/>
                    </a:lnTo>
                    <a:lnTo>
                      <a:pt x="175515" y="585234"/>
                    </a:lnTo>
                    <a:lnTo>
                      <a:pt x="179204" y="581539"/>
                    </a:lnTo>
                    <a:lnTo>
                      <a:pt x="182893" y="581539"/>
                    </a:lnTo>
                    <a:lnTo>
                      <a:pt x="182893" y="577853"/>
                    </a:lnTo>
                    <a:lnTo>
                      <a:pt x="190272" y="574157"/>
                    </a:lnTo>
                    <a:lnTo>
                      <a:pt x="193961" y="570471"/>
                    </a:lnTo>
                    <a:lnTo>
                      <a:pt x="197650" y="570471"/>
                    </a:lnTo>
                    <a:lnTo>
                      <a:pt x="201339" y="570471"/>
                    </a:lnTo>
                    <a:lnTo>
                      <a:pt x="205028" y="574157"/>
                    </a:lnTo>
                    <a:lnTo>
                      <a:pt x="205028" y="570471"/>
                    </a:lnTo>
                    <a:lnTo>
                      <a:pt x="208717" y="570471"/>
                    </a:lnTo>
                    <a:lnTo>
                      <a:pt x="212406" y="570471"/>
                    </a:lnTo>
                    <a:lnTo>
                      <a:pt x="212406" y="566775"/>
                    </a:lnTo>
                    <a:lnTo>
                      <a:pt x="216096" y="563089"/>
                    </a:lnTo>
                    <a:lnTo>
                      <a:pt x="219785" y="559393"/>
                    </a:lnTo>
                    <a:lnTo>
                      <a:pt x="216096" y="555707"/>
                    </a:lnTo>
                    <a:lnTo>
                      <a:pt x="216096" y="552011"/>
                    </a:lnTo>
                    <a:lnTo>
                      <a:pt x="219785" y="548325"/>
                    </a:lnTo>
                    <a:lnTo>
                      <a:pt x="227163" y="552011"/>
                    </a:lnTo>
                    <a:lnTo>
                      <a:pt x="230852" y="552011"/>
                    </a:lnTo>
                    <a:lnTo>
                      <a:pt x="234541" y="552011"/>
                    </a:lnTo>
                    <a:lnTo>
                      <a:pt x="238230" y="552011"/>
                    </a:lnTo>
                    <a:lnTo>
                      <a:pt x="238230" y="548325"/>
                    </a:lnTo>
                    <a:lnTo>
                      <a:pt x="245609" y="544639"/>
                    </a:lnTo>
                    <a:lnTo>
                      <a:pt x="245609" y="540943"/>
                    </a:lnTo>
                    <a:lnTo>
                      <a:pt x="252987" y="544639"/>
                    </a:lnTo>
                    <a:lnTo>
                      <a:pt x="252987" y="540943"/>
                    </a:lnTo>
                    <a:lnTo>
                      <a:pt x="252987" y="537257"/>
                    </a:lnTo>
                    <a:lnTo>
                      <a:pt x="256676" y="537257"/>
                    </a:lnTo>
                    <a:lnTo>
                      <a:pt x="256676" y="533561"/>
                    </a:lnTo>
                    <a:lnTo>
                      <a:pt x="260365" y="533561"/>
                    </a:lnTo>
                    <a:lnTo>
                      <a:pt x="264055" y="533561"/>
                    </a:lnTo>
                    <a:lnTo>
                      <a:pt x="264055" y="548325"/>
                    </a:lnTo>
                    <a:lnTo>
                      <a:pt x="267744" y="544639"/>
                    </a:lnTo>
                    <a:lnTo>
                      <a:pt x="271433" y="548325"/>
                    </a:lnTo>
                    <a:lnTo>
                      <a:pt x="275122" y="548325"/>
                    </a:lnTo>
                    <a:lnTo>
                      <a:pt x="278811" y="544639"/>
                    </a:lnTo>
                    <a:lnTo>
                      <a:pt x="282500" y="544639"/>
                    </a:lnTo>
                    <a:lnTo>
                      <a:pt x="286190" y="548325"/>
                    </a:lnTo>
                    <a:lnTo>
                      <a:pt x="282500" y="548325"/>
                    </a:lnTo>
                    <a:lnTo>
                      <a:pt x="278811" y="548325"/>
                    </a:lnTo>
                    <a:lnTo>
                      <a:pt x="278811" y="552011"/>
                    </a:lnTo>
                    <a:lnTo>
                      <a:pt x="275122" y="552011"/>
                    </a:lnTo>
                    <a:lnTo>
                      <a:pt x="271433" y="552011"/>
                    </a:lnTo>
                    <a:lnTo>
                      <a:pt x="271433" y="555707"/>
                    </a:lnTo>
                    <a:lnTo>
                      <a:pt x="267744" y="555707"/>
                    </a:lnTo>
                    <a:lnTo>
                      <a:pt x="264055" y="555707"/>
                    </a:lnTo>
                    <a:lnTo>
                      <a:pt x="264055" y="559393"/>
                    </a:lnTo>
                    <a:lnTo>
                      <a:pt x="267744" y="570471"/>
                    </a:lnTo>
                    <a:lnTo>
                      <a:pt x="271433" y="574157"/>
                    </a:lnTo>
                    <a:lnTo>
                      <a:pt x="271433" y="570471"/>
                    </a:lnTo>
                    <a:lnTo>
                      <a:pt x="275122" y="570471"/>
                    </a:lnTo>
                    <a:lnTo>
                      <a:pt x="275122" y="574157"/>
                    </a:lnTo>
                    <a:lnTo>
                      <a:pt x="275122" y="581539"/>
                    </a:lnTo>
                    <a:lnTo>
                      <a:pt x="282500" y="585234"/>
                    </a:lnTo>
                    <a:lnTo>
                      <a:pt x="275122" y="588921"/>
                    </a:lnTo>
                    <a:lnTo>
                      <a:pt x="271433" y="588921"/>
                    </a:lnTo>
                    <a:lnTo>
                      <a:pt x="271433" y="596303"/>
                    </a:lnTo>
                    <a:lnTo>
                      <a:pt x="271433" y="603684"/>
                    </a:lnTo>
                    <a:lnTo>
                      <a:pt x="271433" y="607371"/>
                    </a:lnTo>
                    <a:lnTo>
                      <a:pt x="271433" y="611066"/>
                    </a:lnTo>
                    <a:lnTo>
                      <a:pt x="264055" y="611066"/>
                    </a:lnTo>
                    <a:lnTo>
                      <a:pt x="267744" y="614752"/>
                    </a:lnTo>
                    <a:lnTo>
                      <a:pt x="271433" y="614752"/>
                    </a:lnTo>
                    <a:lnTo>
                      <a:pt x="271433" y="618448"/>
                    </a:lnTo>
                    <a:lnTo>
                      <a:pt x="271433" y="625830"/>
                    </a:lnTo>
                    <a:lnTo>
                      <a:pt x="275122" y="625830"/>
                    </a:lnTo>
                    <a:lnTo>
                      <a:pt x="275122" y="640594"/>
                    </a:lnTo>
                    <a:lnTo>
                      <a:pt x="289879" y="636898"/>
                    </a:lnTo>
                    <a:lnTo>
                      <a:pt x="308326" y="629516"/>
                    </a:lnTo>
                    <a:lnTo>
                      <a:pt x="312015" y="629516"/>
                    </a:lnTo>
                    <a:lnTo>
                      <a:pt x="334150" y="633212"/>
                    </a:lnTo>
                    <a:lnTo>
                      <a:pt x="337839" y="633212"/>
                    </a:lnTo>
                    <a:lnTo>
                      <a:pt x="341528" y="633212"/>
                    </a:lnTo>
                    <a:lnTo>
                      <a:pt x="348906" y="633212"/>
                    </a:lnTo>
                    <a:lnTo>
                      <a:pt x="359974" y="611066"/>
                    </a:lnTo>
                    <a:lnTo>
                      <a:pt x="359974" y="603684"/>
                    </a:lnTo>
                    <a:lnTo>
                      <a:pt x="363663" y="596303"/>
                    </a:lnTo>
                    <a:lnTo>
                      <a:pt x="367352" y="585234"/>
                    </a:lnTo>
                    <a:lnTo>
                      <a:pt x="371041" y="577853"/>
                    </a:lnTo>
                    <a:lnTo>
                      <a:pt x="371041" y="574157"/>
                    </a:lnTo>
                    <a:lnTo>
                      <a:pt x="371041" y="570471"/>
                    </a:lnTo>
                    <a:lnTo>
                      <a:pt x="382106" y="548325"/>
                    </a:lnTo>
                    <a:lnTo>
                      <a:pt x="389488" y="552011"/>
                    </a:lnTo>
                    <a:lnTo>
                      <a:pt x="404242" y="552011"/>
                    </a:lnTo>
                    <a:lnTo>
                      <a:pt x="396870" y="544639"/>
                    </a:lnTo>
                    <a:lnTo>
                      <a:pt x="396870" y="540943"/>
                    </a:lnTo>
                    <a:lnTo>
                      <a:pt x="400556" y="537257"/>
                    </a:lnTo>
                    <a:lnTo>
                      <a:pt x="396870" y="537257"/>
                    </a:lnTo>
                    <a:lnTo>
                      <a:pt x="393174" y="537257"/>
                    </a:lnTo>
                    <a:lnTo>
                      <a:pt x="389488" y="533561"/>
                    </a:lnTo>
                    <a:lnTo>
                      <a:pt x="385802" y="533561"/>
                    </a:lnTo>
                    <a:lnTo>
                      <a:pt x="382106" y="529875"/>
                    </a:lnTo>
                    <a:lnTo>
                      <a:pt x="378420" y="529875"/>
                    </a:lnTo>
                    <a:lnTo>
                      <a:pt x="378420" y="526179"/>
                    </a:lnTo>
                    <a:lnTo>
                      <a:pt x="374730" y="522493"/>
                    </a:lnTo>
                    <a:lnTo>
                      <a:pt x="371041" y="526179"/>
                    </a:lnTo>
                    <a:lnTo>
                      <a:pt x="367352" y="526179"/>
                    </a:lnTo>
                    <a:lnTo>
                      <a:pt x="363663" y="526179"/>
                    </a:lnTo>
                    <a:lnTo>
                      <a:pt x="348906" y="526179"/>
                    </a:lnTo>
                    <a:lnTo>
                      <a:pt x="345217" y="529875"/>
                    </a:lnTo>
                    <a:lnTo>
                      <a:pt x="341528" y="529875"/>
                    </a:lnTo>
                    <a:lnTo>
                      <a:pt x="337839" y="533561"/>
                    </a:lnTo>
                    <a:lnTo>
                      <a:pt x="334150" y="533561"/>
                    </a:lnTo>
                    <a:lnTo>
                      <a:pt x="334150" y="529875"/>
                    </a:lnTo>
                    <a:lnTo>
                      <a:pt x="330460" y="529875"/>
                    </a:lnTo>
                    <a:lnTo>
                      <a:pt x="326771" y="526179"/>
                    </a:lnTo>
                    <a:lnTo>
                      <a:pt x="323082" y="522493"/>
                    </a:lnTo>
                    <a:lnTo>
                      <a:pt x="319393" y="515111"/>
                    </a:lnTo>
                    <a:lnTo>
                      <a:pt x="315704" y="515111"/>
                    </a:lnTo>
                    <a:lnTo>
                      <a:pt x="315704" y="511416"/>
                    </a:lnTo>
                    <a:lnTo>
                      <a:pt x="308326" y="511416"/>
                    </a:lnTo>
                    <a:lnTo>
                      <a:pt x="304636" y="511416"/>
                    </a:lnTo>
                    <a:lnTo>
                      <a:pt x="300947" y="504043"/>
                    </a:lnTo>
                    <a:lnTo>
                      <a:pt x="289879" y="504043"/>
                    </a:lnTo>
                    <a:lnTo>
                      <a:pt x="286190" y="504043"/>
                    </a:lnTo>
                    <a:lnTo>
                      <a:pt x="282500" y="504043"/>
                    </a:lnTo>
                    <a:lnTo>
                      <a:pt x="275122" y="507730"/>
                    </a:lnTo>
                    <a:lnTo>
                      <a:pt x="271433" y="504043"/>
                    </a:lnTo>
                    <a:lnTo>
                      <a:pt x="271433" y="507730"/>
                    </a:lnTo>
                    <a:lnTo>
                      <a:pt x="267744" y="507730"/>
                    </a:lnTo>
                    <a:lnTo>
                      <a:pt x="267744" y="504043"/>
                    </a:lnTo>
                    <a:lnTo>
                      <a:pt x="271433" y="504043"/>
                    </a:lnTo>
                    <a:lnTo>
                      <a:pt x="271433" y="500348"/>
                    </a:lnTo>
                    <a:lnTo>
                      <a:pt x="267744" y="496662"/>
                    </a:lnTo>
                    <a:lnTo>
                      <a:pt x="264055" y="496662"/>
                    </a:lnTo>
                    <a:lnTo>
                      <a:pt x="260365" y="500348"/>
                    </a:lnTo>
                    <a:lnTo>
                      <a:pt x="256676" y="500348"/>
                    </a:lnTo>
                    <a:lnTo>
                      <a:pt x="252987" y="500348"/>
                    </a:lnTo>
                    <a:lnTo>
                      <a:pt x="252987" y="496662"/>
                    </a:lnTo>
                    <a:lnTo>
                      <a:pt x="256676" y="496662"/>
                    </a:lnTo>
                    <a:lnTo>
                      <a:pt x="256676" y="492966"/>
                    </a:lnTo>
                    <a:lnTo>
                      <a:pt x="256676" y="489280"/>
                    </a:lnTo>
                    <a:lnTo>
                      <a:pt x="249298" y="485584"/>
                    </a:lnTo>
                    <a:lnTo>
                      <a:pt x="245609" y="485584"/>
                    </a:lnTo>
                    <a:lnTo>
                      <a:pt x="245609" y="489280"/>
                    </a:lnTo>
                    <a:lnTo>
                      <a:pt x="241920" y="489280"/>
                    </a:lnTo>
                    <a:lnTo>
                      <a:pt x="238230" y="485584"/>
                    </a:lnTo>
                    <a:lnTo>
                      <a:pt x="234541" y="485584"/>
                    </a:lnTo>
                    <a:lnTo>
                      <a:pt x="234541" y="481898"/>
                    </a:lnTo>
                    <a:lnTo>
                      <a:pt x="238230" y="481898"/>
                    </a:lnTo>
                    <a:lnTo>
                      <a:pt x="241920" y="481898"/>
                    </a:lnTo>
                    <a:lnTo>
                      <a:pt x="245609" y="478202"/>
                    </a:lnTo>
                    <a:lnTo>
                      <a:pt x="234541" y="470823"/>
                    </a:lnTo>
                    <a:lnTo>
                      <a:pt x="234541" y="467133"/>
                    </a:lnTo>
                    <a:lnTo>
                      <a:pt x="241920" y="470823"/>
                    </a:lnTo>
                    <a:lnTo>
                      <a:pt x="245609" y="474514"/>
                    </a:lnTo>
                    <a:lnTo>
                      <a:pt x="249298" y="474514"/>
                    </a:lnTo>
                    <a:lnTo>
                      <a:pt x="252987" y="470823"/>
                    </a:lnTo>
                    <a:lnTo>
                      <a:pt x="252987" y="474514"/>
                    </a:lnTo>
                    <a:lnTo>
                      <a:pt x="256676" y="478202"/>
                    </a:lnTo>
                    <a:lnTo>
                      <a:pt x="260365" y="474514"/>
                    </a:lnTo>
                    <a:lnTo>
                      <a:pt x="260365" y="470823"/>
                    </a:lnTo>
                    <a:lnTo>
                      <a:pt x="260365" y="467133"/>
                    </a:lnTo>
                    <a:lnTo>
                      <a:pt x="264055" y="467133"/>
                    </a:lnTo>
                    <a:lnTo>
                      <a:pt x="267744" y="463442"/>
                    </a:lnTo>
                    <a:lnTo>
                      <a:pt x="267744" y="456061"/>
                    </a:lnTo>
                    <a:lnTo>
                      <a:pt x="271433" y="452370"/>
                    </a:lnTo>
                    <a:lnTo>
                      <a:pt x="275122" y="448680"/>
                    </a:lnTo>
                    <a:lnTo>
                      <a:pt x="278811" y="444989"/>
                    </a:lnTo>
                    <a:lnTo>
                      <a:pt x="282500" y="444989"/>
                    </a:lnTo>
                    <a:lnTo>
                      <a:pt x="286190" y="444989"/>
                    </a:lnTo>
                    <a:lnTo>
                      <a:pt x="286190" y="441299"/>
                    </a:lnTo>
                    <a:lnTo>
                      <a:pt x="289879" y="437608"/>
                    </a:lnTo>
                    <a:lnTo>
                      <a:pt x="289879" y="433917"/>
                    </a:lnTo>
                    <a:lnTo>
                      <a:pt x="297258" y="426537"/>
                    </a:lnTo>
                    <a:lnTo>
                      <a:pt x="293568" y="426537"/>
                    </a:lnTo>
                    <a:lnTo>
                      <a:pt x="289879" y="426537"/>
                    </a:lnTo>
                    <a:lnTo>
                      <a:pt x="286190" y="422847"/>
                    </a:lnTo>
                    <a:lnTo>
                      <a:pt x="286190" y="426537"/>
                    </a:lnTo>
                    <a:lnTo>
                      <a:pt x="278811" y="422847"/>
                    </a:lnTo>
                    <a:lnTo>
                      <a:pt x="278811" y="419156"/>
                    </a:lnTo>
                    <a:lnTo>
                      <a:pt x="278811" y="415465"/>
                    </a:lnTo>
                    <a:lnTo>
                      <a:pt x="278811" y="411775"/>
                    </a:lnTo>
                    <a:lnTo>
                      <a:pt x="282500" y="408084"/>
                    </a:lnTo>
                    <a:lnTo>
                      <a:pt x="282500" y="404394"/>
                    </a:lnTo>
                    <a:lnTo>
                      <a:pt x="278811" y="404394"/>
                    </a:lnTo>
                    <a:lnTo>
                      <a:pt x="275122" y="408084"/>
                    </a:lnTo>
                    <a:lnTo>
                      <a:pt x="271433" y="404394"/>
                    </a:lnTo>
                    <a:lnTo>
                      <a:pt x="278811" y="400703"/>
                    </a:lnTo>
                    <a:lnTo>
                      <a:pt x="286190" y="400703"/>
                    </a:lnTo>
                    <a:lnTo>
                      <a:pt x="286190" y="397012"/>
                    </a:lnTo>
                    <a:lnTo>
                      <a:pt x="282500" y="393322"/>
                    </a:lnTo>
                    <a:lnTo>
                      <a:pt x="282500" y="389631"/>
                    </a:lnTo>
                    <a:lnTo>
                      <a:pt x="282500" y="385940"/>
                    </a:lnTo>
                    <a:lnTo>
                      <a:pt x="286190" y="382250"/>
                    </a:lnTo>
                    <a:lnTo>
                      <a:pt x="289879" y="385940"/>
                    </a:lnTo>
                    <a:lnTo>
                      <a:pt x="289879" y="382250"/>
                    </a:lnTo>
                    <a:lnTo>
                      <a:pt x="293568" y="378559"/>
                    </a:lnTo>
                    <a:lnTo>
                      <a:pt x="297258" y="371178"/>
                    </a:lnTo>
                    <a:lnTo>
                      <a:pt x="293568" y="371178"/>
                    </a:lnTo>
                    <a:lnTo>
                      <a:pt x="293568" y="363797"/>
                    </a:lnTo>
                    <a:lnTo>
                      <a:pt x="289879" y="363797"/>
                    </a:lnTo>
                    <a:lnTo>
                      <a:pt x="289879" y="360106"/>
                    </a:lnTo>
                    <a:lnTo>
                      <a:pt x="286190" y="356416"/>
                    </a:lnTo>
                    <a:lnTo>
                      <a:pt x="286190" y="352725"/>
                    </a:lnTo>
                    <a:lnTo>
                      <a:pt x="282500" y="345344"/>
                    </a:lnTo>
                    <a:lnTo>
                      <a:pt x="282500" y="341654"/>
                    </a:lnTo>
                    <a:lnTo>
                      <a:pt x="275122" y="330582"/>
                    </a:lnTo>
                    <a:lnTo>
                      <a:pt x="275122" y="326892"/>
                    </a:lnTo>
                    <a:lnTo>
                      <a:pt x="271433" y="323201"/>
                    </a:lnTo>
                    <a:lnTo>
                      <a:pt x="271433" y="315820"/>
                    </a:lnTo>
                    <a:lnTo>
                      <a:pt x="267744" y="308439"/>
                    </a:lnTo>
                    <a:lnTo>
                      <a:pt x="267744" y="304748"/>
                    </a:lnTo>
                    <a:lnTo>
                      <a:pt x="264055" y="301057"/>
                    </a:lnTo>
                    <a:lnTo>
                      <a:pt x="267744" y="297367"/>
                    </a:lnTo>
                    <a:lnTo>
                      <a:pt x="264055" y="293676"/>
                    </a:lnTo>
                    <a:lnTo>
                      <a:pt x="264055" y="289986"/>
                    </a:lnTo>
                    <a:lnTo>
                      <a:pt x="264055" y="286295"/>
                    </a:lnTo>
                    <a:lnTo>
                      <a:pt x="264055" y="282604"/>
                    </a:lnTo>
                    <a:lnTo>
                      <a:pt x="264055" y="275223"/>
                    </a:lnTo>
                    <a:lnTo>
                      <a:pt x="264055" y="271532"/>
                    </a:lnTo>
                    <a:lnTo>
                      <a:pt x="267744" y="271532"/>
                    </a:lnTo>
                    <a:lnTo>
                      <a:pt x="267744" y="267842"/>
                    </a:lnTo>
                    <a:lnTo>
                      <a:pt x="271433" y="267842"/>
                    </a:lnTo>
                    <a:lnTo>
                      <a:pt x="275122" y="264151"/>
                    </a:lnTo>
                    <a:lnTo>
                      <a:pt x="278811" y="264151"/>
                    </a:lnTo>
                    <a:lnTo>
                      <a:pt x="282500" y="264151"/>
                    </a:lnTo>
                    <a:lnTo>
                      <a:pt x="282500" y="267842"/>
                    </a:lnTo>
                    <a:lnTo>
                      <a:pt x="286190" y="271532"/>
                    </a:lnTo>
                    <a:lnTo>
                      <a:pt x="286190" y="267842"/>
                    </a:lnTo>
                    <a:lnTo>
                      <a:pt x="289879" y="264151"/>
                    </a:lnTo>
                    <a:lnTo>
                      <a:pt x="293568" y="264151"/>
                    </a:lnTo>
                    <a:lnTo>
                      <a:pt x="297258" y="264151"/>
                    </a:lnTo>
                    <a:lnTo>
                      <a:pt x="300947" y="264151"/>
                    </a:lnTo>
                    <a:lnTo>
                      <a:pt x="304636" y="267842"/>
                    </a:lnTo>
                    <a:lnTo>
                      <a:pt x="308326" y="271532"/>
                    </a:lnTo>
                    <a:lnTo>
                      <a:pt x="312015" y="271532"/>
                    </a:lnTo>
                    <a:lnTo>
                      <a:pt x="315704" y="275223"/>
                    </a:lnTo>
                    <a:lnTo>
                      <a:pt x="315704" y="278914"/>
                    </a:lnTo>
                    <a:lnTo>
                      <a:pt x="323082" y="278914"/>
                    </a:lnTo>
                    <a:lnTo>
                      <a:pt x="326771" y="278914"/>
                    </a:lnTo>
                    <a:lnTo>
                      <a:pt x="330460" y="278914"/>
                    </a:lnTo>
                    <a:lnTo>
                      <a:pt x="334150" y="275223"/>
                    </a:lnTo>
                    <a:lnTo>
                      <a:pt x="341528" y="267842"/>
                    </a:lnTo>
                    <a:lnTo>
                      <a:pt x="345217" y="267842"/>
                    </a:lnTo>
                    <a:lnTo>
                      <a:pt x="352595" y="267842"/>
                    </a:lnTo>
                    <a:lnTo>
                      <a:pt x="352595" y="264151"/>
                    </a:lnTo>
                    <a:lnTo>
                      <a:pt x="356285" y="260461"/>
                    </a:lnTo>
                    <a:lnTo>
                      <a:pt x="359974" y="260461"/>
                    </a:lnTo>
                    <a:lnTo>
                      <a:pt x="359974" y="256771"/>
                    </a:lnTo>
                    <a:lnTo>
                      <a:pt x="367352" y="253080"/>
                    </a:lnTo>
                    <a:lnTo>
                      <a:pt x="367352" y="249390"/>
                    </a:lnTo>
                    <a:lnTo>
                      <a:pt x="371041" y="245699"/>
                    </a:lnTo>
                    <a:lnTo>
                      <a:pt x="371041" y="238318"/>
                    </a:lnTo>
                    <a:lnTo>
                      <a:pt x="371041" y="234627"/>
                    </a:lnTo>
                    <a:lnTo>
                      <a:pt x="374730" y="227246"/>
                    </a:lnTo>
                    <a:lnTo>
                      <a:pt x="378420" y="227246"/>
                    </a:lnTo>
                    <a:lnTo>
                      <a:pt x="382106" y="227246"/>
                    </a:lnTo>
                    <a:lnTo>
                      <a:pt x="385802" y="227246"/>
                    </a:lnTo>
                    <a:lnTo>
                      <a:pt x="389488" y="223555"/>
                    </a:lnTo>
                    <a:lnTo>
                      <a:pt x="393174" y="223555"/>
                    </a:lnTo>
                    <a:lnTo>
                      <a:pt x="389488" y="219865"/>
                    </a:lnTo>
                    <a:lnTo>
                      <a:pt x="393174" y="219865"/>
                    </a:lnTo>
                    <a:lnTo>
                      <a:pt x="396870" y="216174"/>
                    </a:lnTo>
                    <a:lnTo>
                      <a:pt x="400556" y="212484"/>
                    </a:lnTo>
                    <a:lnTo>
                      <a:pt x="396870" y="208793"/>
                    </a:lnTo>
                    <a:lnTo>
                      <a:pt x="393174" y="205102"/>
                    </a:lnTo>
                    <a:lnTo>
                      <a:pt x="393174" y="201412"/>
                    </a:lnTo>
                    <a:lnTo>
                      <a:pt x="393174" y="197721"/>
                    </a:lnTo>
                    <a:lnTo>
                      <a:pt x="393174" y="194031"/>
                    </a:lnTo>
                    <a:lnTo>
                      <a:pt x="393174" y="190340"/>
                    </a:lnTo>
                    <a:lnTo>
                      <a:pt x="393174" y="186649"/>
                    </a:lnTo>
                    <a:lnTo>
                      <a:pt x="393174" y="182959"/>
                    </a:lnTo>
                    <a:lnTo>
                      <a:pt x="389488" y="182959"/>
                    </a:lnTo>
                    <a:lnTo>
                      <a:pt x="385802" y="179268"/>
                    </a:lnTo>
                    <a:lnTo>
                      <a:pt x="378420" y="175578"/>
                    </a:lnTo>
                    <a:lnTo>
                      <a:pt x="367352" y="175578"/>
                    </a:lnTo>
                    <a:lnTo>
                      <a:pt x="363663" y="175578"/>
                    </a:lnTo>
                    <a:lnTo>
                      <a:pt x="359974" y="171888"/>
                    </a:lnTo>
                    <a:lnTo>
                      <a:pt x="352595" y="171888"/>
                    </a:lnTo>
                    <a:lnTo>
                      <a:pt x="348906" y="171888"/>
                    </a:lnTo>
                    <a:lnTo>
                      <a:pt x="345217" y="179268"/>
                    </a:lnTo>
                    <a:lnTo>
                      <a:pt x="341528" y="182959"/>
                    </a:lnTo>
                    <a:lnTo>
                      <a:pt x="341528" y="186649"/>
                    </a:lnTo>
                    <a:lnTo>
                      <a:pt x="337839" y="182959"/>
                    </a:lnTo>
                    <a:lnTo>
                      <a:pt x="334150" y="182959"/>
                    </a:lnTo>
                    <a:lnTo>
                      <a:pt x="330460" y="182959"/>
                    </a:lnTo>
                    <a:lnTo>
                      <a:pt x="326771" y="182959"/>
                    </a:lnTo>
                    <a:lnTo>
                      <a:pt x="319393" y="175578"/>
                    </a:lnTo>
                    <a:lnTo>
                      <a:pt x="315704" y="171888"/>
                    </a:lnTo>
                    <a:lnTo>
                      <a:pt x="312015" y="168197"/>
                    </a:lnTo>
                    <a:lnTo>
                      <a:pt x="315704" y="160816"/>
                    </a:lnTo>
                    <a:lnTo>
                      <a:pt x="312015" y="160816"/>
                    </a:lnTo>
                    <a:lnTo>
                      <a:pt x="308326" y="157126"/>
                    </a:lnTo>
                    <a:lnTo>
                      <a:pt x="304636" y="157126"/>
                    </a:lnTo>
                    <a:lnTo>
                      <a:pt x="312015" y="101766"/>
                    </a:lnTo>
                    <a:lnTo>
                      <a:pt x="304636" y="90695"/>
                    </a:lnTo>
                    <a:lnTo>
                      <a:pt x="293568" y="68552"/>
                    </a:lnTo>
                    <a:lnTo>
                      <a:pt x="293568" y="64861"/>
                    </a:lnTo>
                    <a:lnTo>
                      <a:pt x="289879" y="61171"/>
                    </a:lnTo>
                    <a:lnTo>
                      <a:pt x="278811" y="39027"/>
                    </a:lnTo>
                    <a:lnTo>
                      <a:pt x="275122" y="39027"/>
                    </a:lnTo>
                    <a:lnTo>
                      <a:pt x="275122" y="31646"/>
                    </a:lnTo>
                    <a:lnTo>
                      <a:pt x="271433" y="27955"/>
                    </a:lnTo>
                    <a:lnTo>
                      <a:pt x="267744" y="27955"/>
                    </a:lnTo>
                    <a:lnTo>
                      <a:pt x="264055" y="31646"/>
                    </a:lnTo>
                    <a:lnTo>
                      <a:pt x="260365" y="31646"/>
                    </a:lnTo>
                    <a:lnTo>
                      <a:pt x="256676" y="27955"/>
                    </a:lnTo>
                    <a:lnTo>
                      <a:pt x="252987" y="27955"/>
                    </a:lnTo>
                    <a:lnTo>
                      <a:pt x="249298" y="31646"/>
                    </a:lnTo>
                    <a:lnTo>
                      <a:pt x="241920" y="31646"/>
                    </a:lnTo>
                    <a:lnTo>
                      <a:pt x="234541" y="39027"/>
                    </a:lnTo>
                    <a:lnTo>
                      <a:pt x="234541" y="42718"/>
                    </a:lnTo>
                    <a:lnTo>
                      <a:pt x="227163" y="53789"/>
                    </a:lnTo>
                    <a:lnTo>
                      <a:pt x="223474" y="53789"/>
                    </a:lnTo>
                    <a:lnTo>
                      <a:pt x="216096" y="57480"/>
                    </a:lnTo>
                    <a:lnTo>
                      <a:pt x="212406" y="61171"/>
                    </a:lnTo>
                    <a:lnTo>
                      <a:pt x="197650" y="68552"/>
                    </a:lnTo>
                    <a:lnTo>
                      <a:pt x="193961" y="64861"/>
                    </a:lnTo>
                    <a:lnTo>
                      <a:pt x="182893" y="57480"/>
                    </a:lnTo>
                    <a:lnTo>
                      <a:pt x="179204" y="57480"/>
                    </a:lnTo>
                    <a:lnTo>
                      <a:pt x="168136" y="50099"/>
                    </a:lnTo>
                    <a:lnTo>
                      <a:pt x="164447" y="46408"/>
                    </a:lnTo>
                    <a:lnTo>
                      <a:pt x="160758" y="42718"/>
                    </a:lnTo>
                    <a:lnTo>
                      <a:pt x="157069" y="35336"/>
                    </a:lnTo>
                    <a:lnTo>
                      <a:pt x="157069" y="27955"/>
                    </a:lnTo>
                    <a:lnTo>
                      <a:pt x="157069" y="20574"/>
                    </a:lnTo>
                    <a:lnTo>
                      <a:pt x="160758" y="13193"/>
                    </a:lnTo>
                    <a:lnTo>
                      <a:pt x="160758" y="9502"/>
                    </a:lnTo>
                    <a:lnTo>
                      <a:pt x="157069" y="9502"/>
                    </a:lnTo>
                    <a:lnTo>
                      <a:pt x="157069" y="13193"/>
                    </a:lnTo>
                    <a:lnTo>
                      <a:pt x="153380" y="13193"/>
                    </a:lnTo>
                    <a:lnTo>
                      <a:pt x="149690" y="13193"/>
                    </a:lnTo>
                    <a:lnTo>
                      <a:pt x="149690" y="9502"/>
                    </a:lnTo>
                    <a:lnTo>
                      <a:pt x="149690" y="5812"/>
                    </a:lnTo>
                    <a:lnTo>
                      <a:pt x="142312" y="5812"/>
                    </a:lnTo>
                    <a:lnTo>
                      <a:pt x="134933" y="5812"/>
                    </a:lnTo>
                    <a:lnTo>
                      <a:pt x="131244" y="5812"/>
                    </a:lnTo>
                    <a:lnTo>
                      <a:pt x="127555" y="5812"/>
                    </a:lnTo>
                    <a:close/>
                    <a:moveTo>
                      <a:pt x="160758" y="9502"/>
                    </a:moveTo>
                    <a:lnTo>
                      <a:pt x="160758" y="5812"/>
                    </a:lnTo>
                    <a:lnTo>
                      <a:pt x="157069" y="5812"/>
                    </a:lnTo>
                    <a:lnTo>
                      <a:pt x="160758" y="9502"/>
                    </a:lnTo>
                    <a:close/>
                    <a:moveTo>
                      <a:pt x="275122" y="31646"/>
                    </a:moveTo>
                    <a:lnTo>
                      <a:pt x="278811" y="35336"/>
                    </a:lnTo>
                    <a:lnTo>
                      <a:pt x="278811" y="27955"/>
                    </a:lnTo>
                    <a:lnTo>
                      <a:pt x="275122" y="27955"/>
                    </a:lnTo>
                    <a:lnTo>
                      <a:pt x="275122" y="31646"/>
                    </a:lnTo>
                    <a:close/>
                    <a:moveTo>
                      <a:pt x="241920" y="481898"/>
                    </a:moveTo>
                    <a:lnTo>
                      <a:pt x="241920" y="485584"/>
                    </a:lnTo>
                    <a:lnTo>
                      <a:pt x="245609" y="485584"/>
                    </a:lnTo>
                    <a:lnTo>
                      <a:pt x="241920" y="481898"/>
                    </a:lnTo>
                    <a:close/>
                    <a:moveTo>
                      <a:pt x="304636" y="400703"/>
                    </a:moveTo>
                    <a:lnTo>
                      <a:pt x="304636" y="404394"/>
                    </a:lnTo>
                    <a:lnTo>
                      <a:pt x="304636" y="408084"/>
                    </a:lnTo>
                    <a:lnTo>
                      <a:pt x="300947" y="415465"/>
                    </a:lnTo>
                    <a:lnTo>
                      <a:pt x="304636" y="415465"/>
                    </a:lnTo>
                    <a:lnTo>
                      <a:pt x="308326" y="411775"/>
                    </a:lnTo>
                    <a:lnTo>
                      <a:pt x="312015" y="411775"/>
                    </a:lnTo>
                    <a:lnTo>
                      <a:pt x="315704" y="408084"/>
                    </a:lnTo>
                    <a:lnTo>
                      <a:pt x="319393" y="408084"/>
                    </a:lnTo>
                    <a:lnTo>
                      <a:pt x="319393" y="404394"/>
                    </a:lnTo>
                    <a:lnTo>
                      <a:pt x="312015" y="408084"/>
                    </a:lnTo>
                    <a:lnTo>
                      <a:pt x="308326" y="404394"/>
                    </a:lnTo>
                    <a:lnTo>
                      <a:pt x="304636" y="400703"/>
                    </a:lnTo>
                    <a:close/>
                    <a:moveTo>
                      <a:pt x="404242" y="529875"/>
                    </a:moveTo>
                    <a:lnTo>
                      <a:pt x="404242" y="533561"/>
                    </a:lnTo>
                    <a:lnTo>
                      <a:pt x="407929" y="533561"/>
                    </a:lnTo>
                    <a:lnTo>
                      <a:pt x="404242" y="529875"/>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46" name="Freeform: Shape 45">
                <a:extLst>
                  <a:ext uri="{FF2B5EF4-FFF2-40B4-BE49-F238E27FC236}">
                    <a16:creationId xmlns:a16="http://schemas.microsoft.com/office/drawing/2014/main" id="{5DB9E753-5C3F-463F-A883-845CB1B43476}"/>
                  </a:ext>
                </a:extLst>
              </p:cNvPr>
              <p:cNvSpPr/>
              <p:nvPr/>
            </p:nvSpPr>
            <p:spPr>
              <a:xfrm>
                <a:off x="5104876" y="1864859"/>
                <a:ext cx="234089" cy="361775"/>
              </a:xfrm>
              <a:custGeom>
                <a:avLst/>
                <a:gdLst>
                  <a:gd name="connsiteX0" fmla="*/ 79596 w 104775"/>
                  <a:gd name="connsiteY0" fmla="*/ 116528 h 161925"/>
                  <a:gd name="connsiteX1" fmla="*/ 72217 w 104775"/>
                  <a:gd name="connsiteY1" fmla="*/ 123909 h 161925"/>
                  <a:gd name="connsiteX2" fmla="*/ 68528 w 104775"/>
                  <a:gd name="connsiteY2" fmla="*/ 127600 h 161925"/>
                  <a:gd name="connsiteX3" fmla="*/ 64839 w 104775"/>
                  <a:gd name="connsiteY3" fmla="*/ 127600 h 161925"/>
                  <a:gd name="connsiteX4" fmla="*/ 61150 w 104775"/>
                  <a:gd name="connsiteY4" fmla="*/ 127600 h 161925"/>
                  <a:gd name="connsiteX5" fmla="*/ 57460 w 104775"/>
                  <a:gd name="connsiteY5" fmla="*/ 127600 h 161925"/>
                  <a:gd name="connsiteX6" fmla="*/ 46393 w 104775"/>
                  <a:gd name="connsiteY6" fmla="*/ 142362 h 161925"/>
                  <a:gd name="connsiteX7" fmla="*/ 46393 w 104775"/>
                  <a:gd name="connsiteY7" fmla="*/ 146053 h 161925"/>
                  <a:gd name="connsiteX8" fmla="*/ 46393 w 104775"/>
                  <a:gd name="connsiteY8" fmla="*/ 146053 h 161925"/>
                  <a:gd name="connsiteX9" fmla="*/ 46393 w 104775"/>
                  <a:gd name="connsiteY9" fmla="*/ 149743 h 161925"/>
                  <a:gd name="connsiteX10" fmla="*/ 42704 w 104775"/>
                  <a:gd name="connsiteY10" fmla="*/ 149743 h 161925"/>
                  <a:gd name="connsiteX11" fmla="*/ 39015 w 104775"/>
                  <a:gd name="connsiteY11" fmla="*/ 149743 h 161925"/>
                  <a:gd name="connsiteX12" fmla="*/ 35325 w 104775"/>
                  <a:gd name="connsiteY12" fmla="*/ 146053 h 161925"/>
                  <a:gd name="connsiteX13" fmla="*/ 27947 w 104775"/>
                  <a:gd name="connsiteY13" fmla="*/ 142362 h 161925"/>
                  <a:gd name="connsiteX14" fmla="*/ 24258 w 104775"/>
                  <a:gd name="connsiteY14" fmla="*/ 142362 h 161925"/>
                  <a:gd name="connsiteX15" fmla="*/ 27947 w 104775"/>
                  <a:gd name="connsiteY15" fmla="*/ 146053 h 161925"/>
                  <a:gd name="connsiteX16" fmla="*/ 31636 w 104775"/>
                  <a:gd name="connsiteY16" fmla="*/ 149743 h 161925"/>
                  <a:gd name="connsiteX17" fmla="*/ 31636 w 104775"/>
                  <a:gd name="connsiteY17" fmla="*/ 149743 h 161925"/>
                  <a:gd name="connsiteX18" fmla="*/ 35325 w 104775"/>
                  <a:gd name="connsiteY18" fmla="*/ 153434 h 161925"/>
                  <a:gd name="connsiteX19" fmla="*/ 39015 w 104775"/>
                  <a:gd name="connsiteY19" fmla="*/ 153434 h 161925"/>
                  <a:gd name="connsiteX20" fmla="*/ 31636 w 104775"/>
                  <a:gd name="connsiteY20" fmla="*/ 153434 h 161925"/>
                  <a:gd name="connsiteX21" fmla="*/ 31636 w 104775"/>
                  <a:gd name="connsiteY21" fmla="*/ 153434 h 161925"/>
                  <a:gd name="connsiteX22" fmla="*/ 31636 w 104775"/>
                  <a:gd name="connsiteY22" fmla="*/ 157125 h 161925"/>
                  <a:gd name="connsiteX23" fmla="*/ 31636 w 104775"/>
                  <a:gd name="connsiteY23" fmla="*/ 157125 h 161925"/>
                  <a:gd name="connsiteX24" fmla="*/ 31636 w 104775"/>
                  <a:gd name="connsiteY24" fmla="*/ 157125 h 161925"/>
                  <a:gd name="connsiteX25" fmla="*/ 24258 w 104775"/>
                  <a:gd name="connsiteY25" fmla="*/ 157125 h 161925"/>
                  <a:gd name="connsiteX26" fmla="*/ 20569 w 104775"/>
                  <a:gd name="connsiteY26" fmla="*/ 157125 h 161925"/>
                  <a:gd name="connsiteX27" fmla="*/ 24258 w 104775"/>
                  <a:gd name="connsiteY27" fmla="*/ 157125 h 161925"/>
                  <a:gd name="connsiteX28" fmla="*/ 20569 w 104775"/>
                  <a:gd name="connsiteY28" fmla="*/ 160815 h 161925"/>
                  <a:gd name="connsiteX29" fmla="*/ 16880 w 104775"/>
                  <a:gd name="connsiteY29" fmla="*/ 160815 h 161925"/>
                  <a:gd name="connsiteX30" fmla="*/ 13191 w 104775"/>
                  <a:gd name="connsiteY30" fmla="*/ 164506 h 161925"/>
                  <a:gd name="connsiteX31" fmla="*/ 9501 w 104775"/>
                  <a:gd name="connsiteY31" fmla="*/ 164506 h 161925"/>
                  <a:gd name="connsiteX32" fmla="*/ 9501 w 104775"/>
                  <a:gd name="connsiteY32" fmla="*/ 160815 h 161925"/>
                  <a:gd name="connsiteX33" fmla="*/ 9501 w 104775"/>
                  <a:gd name="connsiteY33" fmla="*/ 153434 h 161925"/>
                  <a:gd name="connsiteX34" fmla="*/ 5812 w 104775"/>
                  <a:gd name="connsiteY34" fmla="*/ 138672 h 161925"/>
                  <a:gd name="connsiteX35" fmla="*/ 5812 w 104775"/>
                  <a:gd name="connsiteY35" fmla="*/ 131290 h 161925"/>
                  <a:gd name="connsiteX36" fmla="*/ 5812 w 104775"/>
                  <a:gd name="connsiteY36" fmla="*/ 127600 h 161925"/>
                  <a:gd name="connsiteX37" fmla="*/ 9501 w 104775"/>
                  <a:gd name="connsiteY37" fmla="*/ 116528 h 161925"/>
                  <a:gd name="connsiteX38" fmla="*/ 9501 w 104775"/>
                  <a:gd name="connsiteY38" fmla="*/ 112837 h 161925"/>
                  <a:gd name="connsiteX39" fmla="*/ 9501 w 104775"/>
                  <a:gd name="connsiteY39" fmla="*/ 112837 h 161925"/>
                  <a:gd name="connsiteX40" fmla="*/ 13191 w 104775"/>
                  <a:gd name="connsiteY40" fmla="*/ 101766 h 161925"/>
                  <a:gd name="connsiteX41" fmla="*/ 16880 w 104775"/>
                  <a:gd name="connsiteY41" fmla="*/ 90695 h 161925"/>
                  <a:gd name="connsiteX42" fmla="*/ 20569 w 104775"/>
                  <a:gd name="connsiteY42" fmla="*/ 79623 h 161925"/>
                  <a:gd name="connsiteX43" fmla="*/ 24258 w 104775"/>
                  <a:gd name="connsiteY43" fmla="*/ 75932 h 161925"/>
                  <a:gd name="connsiteX44" fmla="*/ 31636 w 104775"/>
                  <a:gd name="connsiteY44" fmla="*/ 64860 h 161925"/>
                  <a:gd name="connsiteX45" fmla="*/ 39015 w 104775"/>
                  <a:gd name="connsiteY45" fmla="*/ 50098 h 161925"/>
                  <a:gd name="connsiteX46" fmla="*/ 50082 w 104775"/>
                  <a:gd name="connsiteY46" fmla="*/ 39026 h 161925"/>
                  <a:gd name="connsiteX47" fmla="*/ 50082 w 104775"/>
                  <a:gd name="connsiteY47" fmla="*/ 39026 h 161925"/>
                  <a:gd name="connsiteX48" fmla="*/ 50082 w 104775"/>
                  <a:gd name="connsiteY48" fmla="*/ 39026 h 161925"/>
                  <a:gd name="connsiteX49" fmla="*/ 50082 w 104775"/>
                  <a:gd name="connsiteY49" fmla="*/ 42717 h 161925"/>
                  <a:gd name="connsiteX50" fmla="*/ 50082 w 104775"/>
                  <a:gd name="connsiteY50" fmla="*/ 46407 h 161925"/>
                  <a:gd name="connsiteX51" fmla="*/ 53771 w 104775"/>
                  <a:gd name="connsiteY51" fmla="*/ 42717 h 161925"/>
                  <a:gd name="connsiteX52" fmla="*/ 53771 w 104775"/>
                  <a:gd name="connsiteY52" fmla="*/ 42717 h 161925"/>
                  <a:gd name="connsiteX53" fmla="*/ 53771 w 104775"/>
                  <a:gd name="connsiteY53" fmla="*/ 42717 h 161925"/>
                  <a:gd name="connsiteX54" fmla="*/ 57460 w 104775"/>
                  <a:gd name="connsiteY54" fmla="*/ 39026 h 161925"/>
                  <a:gd name="connsiteX55" fmla="*/ 57460 w 104775"/>
                  <a:gd name="connsiteY55" fmla="*/ 39026 h 161925"/>
                  <a:gd name="connsiteX56" fmla="*/ 61150 w 104775"/>
                  <a:gd name="connsiteY56" fmla="*/ 35336 h 161925"/>
                  <a:gd name="connsiteX57" fmla="*/ 64839 w 104775"/>
                  <a:gd name="connsiteY57" fmla="*/ 35336 h 161925"/>
                  <a:gd name="connsiteX58" fmla="*/ 64839 w 104775"/>
                  <a:gd name="connsiteY58" fmla="*/ 39026 h 161925"/>
                  <a:gd name="connsiteX59" fmla="*/ 64839 w 104775"/>
                  <a:gd name="connsiteY59" fmla="*/ 35336 h 161925"/>
                  <a:gd name="connsiteX60" fmla="*/ 64839 w 104775"/>
                  <a:gd name="connsiteY60" fmla="*/ 35336 h 161925"/>
                  <a:gd name="connsiteX61" fmla="*/ 61150 w 104775"/>
                  <a:gd name="connsiteY61" fmla="*/ 35336 h 161925"/>
                  <a:gd name="connsiteX62" fmla="*/ 61150 w 104775"/>
                  <a:gd name="connsiteY62" fmla="*/ 31645 h 161925"/>
                  <a:gd name="connsiteX63" fmla="*/ 57460 w 104775"/>
                  <a:gd name="connsiteY63" fmla="*/ 35336 h 161925"/>
                  <a:gd name="connsiteX64" fmla="*/ 57460 w 104775"/>
                  <a:gd name="connsiteY64" fmla="*/ 35336 h 161925"/>
                  <a:gd name="connsiteX65" fmla="*/ 50082 w 104775"/>
                  <a:gd name="connsiteY65" fmla="*/ 39026 h 161925"/>
                  <a:gd name="connsiteX66" fmla="*/ 50082 w 104775"/>
                  <a:gd name="connsiteY66" fmla="*/ 39026 h 161925"/>
                  <a:gd name="connsiteX67" fmla="*/ 61150 w 104775"/>
                  <a:gd name="connsiteY67" fmla="*/ 16882 h 161925"/>
                  <a:gd name="connsiteX68" fmla="*/ 64839 w 104775"/>
                  <a:gd name="connsiteY68" fmla="*/ 13193 h 161925"/>
                  <a:gd name="connsiteX69" fmla="*/ 72217 w 104775"/>
                  <a:gd name="connsiteY69" fmla="*/ 9502 h 161925"/>
                  <a:gd name="connsiteX70" fmla="*/ 72217 w 104775"/>
                  <a:gd name="connsiteY70" fmla="*/ 5812 h 161925"/>
                  <a:gd name="connsiteX71" fmla="*/ 75906 w 104775"/>
                  <a:gd name="connsiteY71" fmla="*/ 5812 h 161925"/>
                  <a:gd name="connsiteX72" fmla="*/ 79596 w 104775"/>
                  <a:gd name="connsiteY72" fmla="*/ 5812 h 161925"/>
                  <a:gd name="connsiteX73" fmla="*/ 79596 w 104775"/>
                  <a:gd name="connsiteY73" fmla="*/ 5812 h 161925"/>
                  <a:gd name="connsiteX74" fmla="*/ 83285 w 104775"/>
                  <a:gd name="connsiteY74" fmla="*/ 9502 h 161925"/>
                  <a:gd name="connsiteX75" fmla="*/ 86974 w 104775"/>
                  <a:gd name="connsiteY75" fmla="*/ 13193 h 161925"/>
                  <a:gd name="connsiteX76" fmla="*/ 86974 w 104775"/>
                  <a:gd name="connsiteY76" fmla="*/ 16882 h 161925"/>
                  <a:gd name="connsiteX77" fmla="*/ 86974 w 104775"/>
                  <a:gd name="connsiteY77" fmla="*/ 20573 h 161925"/>
                  <a:gd name="connsiteX78" fmla="*/ 90663 w 104775"/>
                  <a:gd name="connsiteY78" fmla="*/ 20573 h 161925"/>
                  <a:gd name="connsiteX79" fmla="*/ 86974 w 104775"/>
                  <a:gd name="connsiteY79" fmla="*/ 20573 h 161925"/>
                  <a:gd name="connsiteX80" fmla="*/ 86974 w 104775"/>
                  <a:gd name="connsiteY80" fmla="*/ 20573 h 161925"/>
                  <a:gd name="connsiteX81" fmla="*/ 86974 w 104775"/>
                  <a:gd name="connsiteY81" fmla="*/ 24264 h 161925"/>
                  <a:gd name="connsiteX82" fmla="*/ 90663 w 104775"/>
                  <a:gd name="connsiteY82" fmla="*/ 27954 h 161925"/>
                  <a:gd name="connsiteX83" fmla="*/ 90663 w 104775"/>
                  <a:gd name="connsiteY83" fmla="*/ 27954 h 161925"/>
                  <a:gd name="connsiteX84" fmla="*/ 94352 w 104775"/>
                  <a:gd name="connsiteY84" fmla="*/ 31645 h 161925"/>
                  <a:gd name="connsiteX85" fmla="*/ 101730 w 104775"/>
                  <a:gd name="connsiteY85" fmla="*/ 42717 h 161925"/>
                  <a:gd name="connsiteX86" fmla="*/ 101730 w 104775"/>
                  <a:gd name="connsiteY86" fmla="*/ 46407 h 161925"/>
                  <a:gd name="connsiteX87" fmla="*/ 101730 w 104775"/>
                  <a:gd name="connsiteY87" fmla="*/ 46407 h 161925"/>
                  <a:gd name="connsiteX88" fmla="*/ 101730 w 104775"/>
                  <a:gd name="connsiteY88" fmla="*/ 46407 h 161925"/>
                  <a:gd name="connsiteX89" fmla="*/ 101730 w 104775"/>
                  <a:gd name="connsiteY89" fmla="*/ 46407 h 161925"/>
                  <a:gd name="connsiteX90" fmla="*/ 98041 w 104775"/>
                  <a:gd name="connsiteY90" fmla="*/ 50098 h 161925"/>
                  <a:gd name="connsiteX91" fmla="*/ 98041 w 104775"/>
                  <a:gd name="connsiteY91" fmla="*/ 72242 h 161925"/>
                  <a:gd name="connsiteX92" fmla="*/ 98041 w 104775"/>
                  <a:gd name="connsiteY92" fmla="*/ 83313 h 161925"/>
                  <a:gd name="connsiteX93" fmla="*/ 98041 w 104775"/>
                  <a:gd name="connsiteY93" fmla="*/ 87004 h 161925"/>
                  <a:gd name="connsiteX94" fmla="*/ 94352 w 104775"/>
                  <a:gd name="connsiteY94" fmla="*/ 94385 h 161925"/>
                  <a:gd name="connsiteX95" fmla="*/ 90663 w 104775"/>
                  <a:gd name="connsiteY95" fmla="*/ 94385 h 161925"/>
                  <a:gd name="connsiteX96" fmla="*/ 86974 w 104775"/>
                  <a:gd name="connsiteY96" fmla="*/ 98075 h 161925"/>
                  <a:gd name="connsiteX97" fmla="*/ 86974 w 104775"/>
                  <a:gd name="connsiteY97" fmla="*/ 98075 h 161925"/>
                  <a:gd name="connsiteX98" fmla="*/ 86974 w 104775"/>
                  <a:gd name="connsiteY98" fmla="*/ 98075 h 161925"/>
                  <a:gd name="connsiteX99" fmla="*/ 86974 w 104775"/>
                  <a:gd name="connsiteY99" fmla="*/ 105456 h 161925"/>
                  <a:gd name="connsiteX100" fmla="*/ 79596 w 104775"/>
                  <a:gd name="connsiteY100" fmla="*/ 112837 h 161925"/>
                  <a:gd name="connsiteX101" fmla="*/ 79596 w 104775"/>
                  <a:gd name="connsiteY101" fmla="*/ 116528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4775" h="161925">
                    <a:moveTo>
                      <a:pt x="79596" y="116528"/>
                    </a:moveTo>
                    <a:lnTo>
                      <a:pt x="72217" y="123909"/>
                    </a:lnTo>
                    <a:lnTo>
                      <a:pt x="68528" y="127600"/>
                    </a:lnTo>
                    <a:lnTo>
                      <a:pt x="64839" y="127600"/>
                    </a:lnTo>
                    <a:lnTo>
                      <a:pt x="61150" y="127600"/>
                    </a:lnTo>
                    <a:lnTo>
                      <a:pt x="57460" y="127600"/>
                    </a:lnTo>
                    <a:lnTo>
                      <a:pt x="46393" y="142362"/>
                    </a:lnTo>
                    <a:lnTo>
                      <a:pt x="46393" y="146053"/>
                    </a:lnTo>
                    <a:lnTo>
                      <a:pt x="46393" y="146053"/>
                    </a:lnTo>
                    <a:lnTo>
                      <a:pt x="46393" y="149743"/>
                    </a:lnTo>
                    <a:lnTo>
                      <a:pt x="42704" y="149743"/>
                    </a:lnTo>
                    <a:lnTo>
                      <a:pt x="39015" y="149743"/>
                    </a:lnTo>
                    <a:lnTo>
                      <a:pt x="35325" y="146053"/>
                    </a:lnTo>
                    <a:lnTo>
                      <a:pt x="27947" y="142362"/>
                    </a:lnTo>
                    <a:lnTo>
                      <a:pt x="24258" y="142362"/>
                    </a:lnTo>
                    <a:lnTo>
                      <a:pt x="27947" y="146053"/>
                    </a:lnTo>
                    <a:lnTo>
                      <a:pt x="31636" y="149743"/>
                    </a:lnTo>
                    <a:lnTo>
                      <a:pt x="31636" y="149743"/>
                    </a:lnTo>
                    <a:lnTo>
                      <a:pt x="35325" y="153434"/>
                    </a:lnTo>
                    <a:lnTo>
                      <a:pt x="39015" y="153434"/>
                    </a:lnTo>
                    <a:lnTo>
                      <a:pt x="31636" y="153434"/>
                    </a:lnTo>
                    <a:lnTo>
                      <a:pt x="31636" y="153434"/>
                    </a:lnTo>
                    <a:lnTo>
                      <a:pt x="31636" y="157125"/>
                    </a:lnTo>
                    <a:lnTo>
                      <a:pt x="31636" y="157125"/>
                    </a:lnTo>
                    <a:lnTo>
                      <a:pt x="31636" y="157125"/>
                    </a:lnTo>
                    <a:lnTo>
                      <a:pt x="24258" y="157125"/>
                    </a:lnTo>
                    <a:lnTo>
                      <a:pt x="20569" y="157125"/>
                    </a:lnTo>
                    <a:lnTo>
                      <a:pt x="24258" y="157125"/>
                    </a:lnTo>
                    <a:lnTo>
                      <a:pt x="20569" y="160815"/>
                    </a:lnTo>
                    <a:lnTo>
                      <a:pt x="16880" y="160815"/>
                    </a:lnTo>
                    <a:lnTo>
                      <a:pt x="13191" y="164506"/>
                    </a:lnTo>
                    <a:lnTo>
                      <a:pt x="9501" y="164506"/>
                    </a:lnTo>
                    <a:lnTo>
                      <a:pt x="9501" y="160815"/>
                    </a:lnTo>
                    <a:lnTo>
                      <a:pt x="9501" y="153434"/>
                    </a:lnTo>
                    <a:lnTo>
                      <a:pt x="5812" y="138672"/>
                    </a:lnTo>
                    <a:lnTo>
                      <a:pt x="5812" y="131290"/>
                    </a:lnTo>
                    <a:lnTo>
                      <a:pt x="5812" y="127600"/>
                    </a:lnTo>
                    <a:lnTo>
                      <a:pt x="9501" y="116528"/>
                    </a:lnTo>
                    <a:lnTo>
                      <a:pt x="9501" y="112837"/>
                    </a:lnTo>
                    <a:lnTo>
                      <a:pt x="9501" y="112837"/>
                    </a:lnTo>
                    <a:lnTo>
                      <a:pt x="13191" y="101766"/>
                    </a:lnTo>
                    <a:lnTo>
                      <a:pt x="16880" y="90695"/>
                    </a:lnTo>
                    <a:lnTo>
                      <a:pt x="20569" y="79623"/>
                    </a:lnTo>
                    <a:lnTo>
                      <a:pt x="24258" y="75932"/>
                    </a:lnTo>
                    <a:lnTo>
                      <a:pt x="31636" y="64860"/>
                    </a:lnTo>
                    <a:lnTo>
                      <a:pt x="39015" y="50098"/>
                    </a:lnTo>
                    <a:lnTo>
                      <a:pt x="50082" y="39026"/>
                    </a:lnTo>
                    <a:lnTo>
                      <a:pt x="50082" y="39026"/>
                    </a:lnTo>
                    <a:lnTo>
                      <a:pt x="50082" y="39026"/>
                    </a:lnTo>
                    <a:lnTo>
                      <a:pt x="50082" y="42717"/>
                    </a:lnTo>
                    <a:lnTo>
                      <a:pt x="50082" y="46407"/>
                    </a:lnTo>
                    <a:lnTo>
                      <a:pt x="53771" y="42717"/>
                    </a:lnTo>
                    <a:lnTo>
                      <a:pt x="53771" y="42717"/>
                    </a:lnTo>
                    <a:lnTo>
                      <a:pt x="53771" y="42717"/>
                    </a:lnTo>
                    <a:lnTo>
                      <a:pt x="57460" y="39026"/>
                    </a:lnTo>
                    <a:lnTo>
                      <a:pt x="57460" y="39026"/>
                    </a:lnTo>
                    <a:lnTo>
                      <a:pt x="61150" y="35336"/>
                    </a:lnTo>
                    <a:lnTo>
                      <a:pt x="64839" y="35336"/>
                    </a:lnTo>
                    <a:lnTo>
                      <a:pt x="64839" y="39026"/>
                    </a:lnTo>
                    <a:lnTo>
                      <a:pt x="64839" y="35336"/>
                    </a:lnTo>
                    <a:lnTo>
                      <a:pt x="64839" y="35336"/>
                    </a:lnTo>
                    <a:lnTo>
                      <a:pt x="61150" y="35336"/>
                    </a:lnTo>
                    <a:lnTo>
                      <a:pt x="61150" y="31645"/>
                    </a:lnTo>
                    <a:lnTo>
                      <a:pt x="57460" y="35336"/>
                    </a:lnTo>
                    <a:lnTo>
                      <a:pt x="57460" y="35336"/>
                    </a:lnTo>
                    <a:lnTo>
                      <a:pt x="50082" y="39026"/>
                    </a:lnTo>
                    <a:lnTo>
                      <a:pt x="50082" y="39026"/>
                    </a:lnTo>
                    <a:lnTo>
                      <a:pt x="61150" y="16882"/>
                    </a:lnTo>
                    <a:lnTo>
                      <a:pt x="64839" y="13193"/>
                    </a:lnTo>
                    <a:lnTo>
                      <a:pt x="72217" y="9502"/>
                    </a:lnTo>
                    <a:lnTo>
                      <a:pt x="72217" y="5812"/>
                    </a:lnTo>
                    <a:lnTo>
                      <a:pt x="75906" y="5812"/>
                    </a:lnTo>
                    <a:lnTo>
                      <a:pt x="79596" y="5812"/>
                    </a:lnTo>
                    <a:lnTo>
                      <a:pt x="79596" y="5812"/>
                    </a:lnTo>
                    <a:lnTo>
                      <a:pt x="83285" y="9502"/>
                    </a:lnTo>
                    <a:lnTo>
                      <a:pt x="86974" y="13193"/>
                    </a:lnTo>
                    <a:lnTo>
                      <a:pt x="86974" y="16882"/>
                    </a:lnTo>
                    <a:lnTo>
                      <a:pt x="86974" y="20573"/>
                    </a:lnTo>
                    <a:lnTo>
                      <a:pt x="90663" y="20573"/>
                    </a:lnTo>
                    <a:lnTo>
                      <a:pt x="86974" y="20573"/>
                    </a:lnTo>
                    <a:lnTo>
                      <a:pt x="86974" y="20573"/>
                    </a:lnTo>
                    <a:lnTo>
                      <a:pt x="86974" y="24264"/>
                    </a:lnTo>
                    <a:lnTo>
                      <a:pt x="90663" y="27954"/>
                    </a:lnTo>
                    <a:lnTo>
                      <a:pt x="90663" y="27954"/>
                    </a:lnTo>
                    <a:lnTo>
                      <a:pt x="94352" y="31645"/>
                    </a:lnTo>
                    <a:lnTo>
                      <a:pt x="101730" y="42717"/>
                    </a:lnTo>
                    <a:lnTo>
                      <a:pt x="101730" y="46407"/>
                    </a:lnTo>
                    <a:lnTo>
                      <a:pt x="101730" y="46407"/>
                    </a:lnTo>
                    <a:lnTo>
                      <a:pt x="101730" y="46407"/>
                    </a:lnTo>
                    <a:lnTo>
                      <a:pt x="101730" y="46407"/>
                    </a:lnTo>
                    <a:lnTo>
                      <a:pt x="98041" y="50098"/>
                    </a:lnTo>
                    <a:lnTo>
                      <a:pt x="98041" y="72242"/>
                    </a:lnTo>
                    <a:lnTo>
                      <a:pt x="98041" y="83313"/>
                    </a:lnTo>
                    <a:lnTo>
                      <a:pt x="98041" y="87004"/>
                    </a:lnTo>
                    <a:lnTo>
                      <a:pt x="94352" y="94385"/>
                    </a:lnTo>
                    <a:lnTo>
                      <a:pt x="90663" y="94385"/>
                    </a:lnTo>
                    <a:lnTo>
                      <a:pt x="86974" y="98075"/>
                    </a:lnTo>
                    <a:lnTo>
                      <a:pt x="86974" y="98075"/>
                    </a:lnTo>
                    <a:lnTo>
                      <a:pt x="86974" y="98075"/>
                    </a:lnTo>
                    <a:lnTo>
                      <a:pt x="86974" y="105456"/>
                    </a:lnTo>
                    <a:lnTo>
                      <a:pt x="79596" y="112837"/>
                    </a:lnTo>
                    <a:lnTo>
                      <a:pt x="79596" y="116528"/>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F11D9CD7-9C5D-4705-9E62-C38562740D23}"/>
                  </a:ext>
                </a:extLst>
              </p:cNvPr>
              <p:cNvSpPr/>
              <p:nvPr/>
            </p:nvSpPr>
            <p:spPr>
              <a:xfrm>
                <a:off x="5467542" y="2194679"/>
                <a:ext cx="148966" cy="127685"/>
              </a:xfrm>
              <a:custGeom>
                <a:avLst/>
                <a:gdLst>
                  <a:gd name="connsiteX0" fmla="*/ 64839 w 66675"/>
                  <a:gd name="connsiteY0" fmla="*/ 5812 h 57150"/>
                  <a:gd name="connsiteX1" fmla="*/ 64839 w 66675"/>
                  <a:gd name="connsiteY1" fmla="*/ 5812 h 57150"/>
                  <a:gd name="connsiteX2" fmla="*/ 13191 w 66675"/>
                  <a:gd name="connsiteY2" fmla="*/ 50098 h 57150"/>
                  <a:gd name="connsiteX3" fmla="*/ 9501 w 66675"/>
                  <a:gd name="connsiteY3" fmla="*/ 53789 h 57150"/>
                  <a:gd name="connsiteX4" fmla="*/ 5812 w 66675"/>
                  <a:gd name="connsiteY4" fmla="*/ 53789 h 57150"/>
                  <a:gd name="connsiteX5" fmla="*/ 5812 w 66675"/>
                  <a:gd name="connsiteY5" fmla="*/ 50098 h 57150"/>
                  <a:gd name="connsiteX6" fmla="*/ 13191 w 66675"/>
                  <a:gd name="connsiteY6" fmla="*/ 50098 h 57150"/>
                  <a:gd name="connsiteX7" fmla="*/ 64839 w 66675"/>
                  <a:gd name="connsiteY7" fmla="*/ 581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6675" h="57150">
                    <a:moveTo>
                      <a:pt x="64839" y="5812"/>
                    </a:moveTo>
                    <a:lnTo>
                      <a:pt x="64839" y="5812"/>
                    </a:lnTo>
                    <a:lnTo>
                      <a:pt x="13191" y="50098"/>
                    </a:lnTo>
                    <a:lnTo>
                      <a:pt x="9501" y="53789"/>
                    </a:lnTo>
                    <a:lnTo>
                      <a:pt x="5812" y="53789"/>
                    </a:lnTo>
                    <a:lnTo>
                      <a:pt x="5812" y="50098"/>
                    </a:lnTo>
                    <a:lnTo>
                      <a:pt x="13191" y="50098"/>
                    </a:lnTo>
                    <a:lnTo>
                      <a:pt x="64839"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2897AEE3-8241-4D56-AD0D-5D2AFF4742B0}"/>
                  </a:ext>
                </a:extLst>
              </p:cNvPr>
              <p:cNvSpPr/>
              <p:nvPr/>
            </p:nvSpPr>
            <p:spPr>
              <a:xfrm>
                <a:off x="6036262" y="4363234"/>
                <a:ext cx="744828" cy="1830151"/>
              </a:xfrm>
              <a:custGeom>
                <a:avLst/>
                <a:gdLst>
                  <a:gd name="connsiteX0" fmla="*/ 153382 w 333375"/>
                  <a:gd name="connsiteY0" fmla="*/ 5812 h 819150"/>
                  <a:gd name="connsiteX1" fmla="*/ 149696 w 333375"/>
                  <a:gd name="connsiteY1" fmla="*/ 9507 h 819150"/>
                  <a:gd name="connsiteX2" fmla="*/ 153382 w 333375"/>
                  <a:gd name="connsiteY2" fmla="*/ 13193 h 819150"/>
                  <a:gd name="connsiteX3" fmla="*/ 153382 w 333375"/>
                  <a:gd name="connsiteY3" fmla="*/ 16889 h 819150"/>
                  <a:gd name="connsiteX4" fmla="*/ 153382 w 333375"/>
                  <a:gd name="connsiteY4" fmla="*/ 20575 h 819150"/>
                  <a:gd name="connsiteX5" fmla="*/ 149696 w 333375"/>
                  <a:gd name="connsiteY5" fmla="*/ 20575 h 819150"/>
                  <a:gd name="connsiteX6" fmla="*/ 153382 w 333375"/>
                  <a:gd name="connsiteY6" fmla="*/ 24271 h 819150"/>
                  <a:gd name="connsiteX7" fmla="*/ 157069 w 333375"/>
                  <a:gd name="connsiteY7" fmla="*/ 24271 h 819150"/>
                  <a:gd name="connsiteX8" fmla="*/ 157069 w 333375"/>
                  <a:gd name="connsiteY8" fmla="*/ 27957 h 819150"/>
                  <a:gd name="connsiteX9" fmla="*/ 157069 w 333375"/>
                  <a:gd name="connsiteY9" fmla="*/ 31653 h 819150"/>
                  <a:gd name="connsiteX10" fmla="*/ 160755 w 333375"/>
                  <a:gd name="connsiteY10" fmla="*/ 39025 h 819150"/>
                  <a:gd name="connsiteX11" fmla="*/ 160755 w 333375"/>
                  <a:gd name="connsiteY11" fmla="*/ 46407 h 819150"/>
                  <a:gd name="connsiteX12" fmla="*/ 164450 w 333375"/>
                  <a:gd name="connsiteY12" fmla="*/ 50103 h 819150"/>
                  <a:gd name="connsiteX13" fmla="*/ 171823 w 333375"/>
                  <a:gd name="connsiteY13" fmla="*/ 50103 h 819150"/>
                  <a:gd name="connsiteX14" fmla="*/ 179205 w 333375"/>
                  <a:gd name="connsiteY14" fmla="*/ 53789 h 819150"/>
                  <a:gd name="connsiteX15" fmla="*/ 186587 w 333375"/>
                  <a:gd name="connsiteY15" fmla="*/ 53789 h 819150"/>
                  <a:gd name="connsiteX16" fmla="*/ 190273 w 333375"/>
                  <a:gd name="connsiteY16" fmla="*/ 57485 h 819150"/>
                  <a:gd name="connsiteX17" fmla="*/ 193959 w 333375"/>
                  <a:gd name="connsiteY17" fmla="*/ 57485 h 819150"/>
                  <a:gd name="connsiteX18" fmla="*/ 197655 w 333375"/>
                  <a:gd name="connsiteY18" fmla="*/ 68553 h 819150"/>
                  <a:gd name="connsiteX19" fmla="*/ 197655 w 333375"/>
                  <a:gd name="connsiteY19" fmla="*/ 75935 h 819150"/>
                  <a:gd name="connsiteX20" fmla="*/ 197655 w 333375"/>
                  <a:gd name="connsiteY20" fmla="*/ 79630 h 819150"/>
                  <a:gd name="connsiteX21" fmla="*/ 201341 w 333375"/>
                  <a:gd name="connsiteY21" fmla="*/ 79630 h 819150"/>
                  <a:gd name="connsiteX22" fmla="*/ 201341 w 333375"/>
                  <a:gd name="connsiteY22" fmla="*/ 87003 h 819150"/>
                  <a:gd name="connsiteX23" fmla="*/ 201341 w 333375"/>
                  <a:gd name="connsiteY23" fmla="*/ 90698 h 819150"/>
                  <a:gd name="connsiteX24" fmla="*/ 201341 w 333375"/>
                  <a:gd name="connsiteY24" fmla="*/ 94384 h 819150"/>
                  <a:gd name="connsiteX25" fmla="*/ 201341 w 333375"/>
                  <a:gd name="connsiteY25" fmla="*/ 105462 h 819150"/>
                  <a:gd name="connsiteX26" fmla="*/ 205027 w 333375"/>
                  <a:gd name="connsiteY26" fmla="*/ 109148 h 819150"/>
                  <a:gd name="connsiteX27" fmla="*/ 205027 w 333375"/>
                  <a:gd name="connsiteY27" fmla="*/ 112844 h 819150"/>
                  <a:gd name="connsiteX28" fmla="*/ 216095 w 333375"/>
                  <a:gd name="connsiteY28" fmla="*/ 116530 h 819150"/>
                  <a:gd name="connsiteX29" fmla="*/ 219791 w 333375"/>
                  <a:gd name="connsiteY29" fmla="*/ 120226 h 819150"/>
                  <a:gd name="connsiteX30" fmla="*/ 223477 w 333375"/>
                  <a:gd name="connsiteY30" fmla="*/ 123912 h 819150"/>
                  <a:gd name="connsiteX31" fmla="*/ 227163 w 333375"/>
                  <a:gd name="connsiteY31" fmla="*/ 127608 h 819150"/>
                  <a:gd name="connsiteX32" fmla="*/ 227163 w 333375"/>
                  <a:gd name="connsiteY32" fmla="*/ 131294 h 819150"/>
                  <a:gd name="connsiteX33" fmla="*/ 230859 w 333375"/>
                  <a:gd name="connsiteY33" fmla="*/ 134980 h 819150"/>
                  <a:gd name="connsiteX34" fmla="*/ 230859 w 333375"/>
                  <a:gd name="connsiteY34" fmla="*/ 146058 h 819150"/>
                  <a:gd name="connsiteX35" fmla="*/ 230859 w 333375"/>
                  <a:gd name="connsiteY35" fmla="*/ 149744 h 819150"/>
                  <a:gd name="connsiteX36" fmla="*/ 234545 w 333375"/>
                  <a:gd name="connsiteY36" fmla="*/ 153439 h 819150"/>
                  <a:gd name="connsiteX37" fmla="*/ 238231 w 333375"/>
                  <a:gd name="connsiteY37" fmla="*/ 160821 h 819150"/>
                  <a:gd name="connsiteX38" fmla="*/ 238231 w 333375"/>
                  <a:gd name="connsiteY38" fmla="*/ 164508 h 819150"/>
                  <a:gd name="connsiteX39" fmla="*/ 238231 w 333375"/>
                  <a:gd name="connsiteY39" fmla="*/ 168203 h 819150"/>
                  <a:gd name="connsiteX40" fmla="*/ 238231 w 333375"/>
                  <a:gd name="connsiteY40" fmla="*/ 171890 h 819150"/>
                  <a:gd name="connsiteX41" fmla="*/ 238231 w 333375"/>
                  <a:gd name="connsiteY41" fmla="*/ 175585 h 819150"/>
                  <a:gd name="connsiteX42" fmla="*/ 241917 w 333375"/>
                  <a:gd name="connsiteY42" fmla="*/ 179271 h 819150"/>
                  <a:gd name="connsiteX43" fmla="*/ 238231 w 333375"/>
                  <a:gd name="connsiteY43" fmla="*/ 179271 h 819150"/>
                  <a:gd name="connsiteX44" fmla="*/ 234545 w 333375"/>
                  <a:gd name="connsiteY44" fmla="*/ 179271 h 819150"/>
                  <a:gd name="connsiteX45" fmla="*/ 234545 w 333375"/>
                  <a:gd name="connsiteY45" fmla="*/ 182957 h 819150"/>
                  <a:gd name="connsiteX46" fmla="*/ 227163 w 333375"/>
                  <a:gd name="connsiteY46" fmla="*/ 175585 h 819150"/>
                  <a:gd name="connsiteX47" fmla="*/ 223477 w 333375"/>
                  <a:gd name="connsiteY47" fmla="*/ 171890 h 819150"/>
                  <a:gd name="connsiteX48" fmla="*/ 219791 w 333375"/>
                  <a:gd name="connsiteY48" fmla="*/ 171890 h 819150"/>
                  <a:gd name="connsiteX49" fmla="*/ 219791 w 333375"/>
                  <a:gd name="connsiteY49" fmla="*/ 168203 h 819150"/>
                  <a:gd name="connsiteX50" fmla="*/ 212409 w 333375"/>
                  <a:gd name="connsiteY50" fmla="*/ 171890 h 819150"/>
                  <a:gd name="connsiteX51" fmla="*/ 205027 w 333375"/>
                  <a:gd name="connsiteY51" fmla="*/ 175585 h 819150"/>
                  <a:gd name="connsiteX52" fmla="*/ 193959 w 333375"/>
                  <a:gd name="connsiteY52" fmla="*/ 179271 h 819150"/>
                  <a:gd name="connsiteX53" fmla="*/ 186587 w 333375"/>
                  <a:gd name="connsiteY53" fmla="*/ 182957 h 819150"/>
                  <a:gd name="connsiteX54" fmla="*/ 179205 w 333375"/>
                  <a:gd name="connsiteY54" fmla="*/ 182957 h 819150"/>
                  <a:gd name="connsiteX55" fmla="*/ 171823 w 333375"/>
                  <a:gd name="connsiteY55" fmla="*/ 182957 h 819150"/>
                  <a:gd name="connsiteX56" fmla="*/ 164450 w 333375"/>
                  <a:gd name="connsiteY56" fmla="*/ 179271 h 819150"/>
                  <a:gd name="connsiteX57" fmla="*/ 153382 w 333375"/>
                  <a:gd name="connsiteY57" fmla="*/ 175585 h 819150"/>
                  <a:gd name="connsiteX58" fmla="*/ 138628 w 333375"/>
                  <a:gd name="connsiteY58" fmla="*/ 171890 h 819150"/>
                  <a:gd name="connsiteX59" fmla="*/ 142314 w 333375"/>
                  <a:gd name="connsiteY59" fmla="*/ 205103 h 819150"/>
                  <a:gd name="connsiteX60" fmla="*/ 146000 w 333375"/>
                  <a:gd name="connsiteY60" fmla="*/ 216181 h 819150"/>
                  <a:gd name="connsiteX61" fmla="*/ 146000 w 333375"/>
                  <a:gd name="connsiteY61" fmla="*/ 223563 h 819150"/>
                  <a:gd name="connsiteX62" fmla="*/ 149696 w 333375"/>
                  <a:gd name="connsiteY62" fmla="*/ 230935 h 819150"/>
                  <a:gd name="connsiteX63" fmla="*/ 157069 w 333375"/>
                  <a:gd name="connsiteY63" fmla="*/ 264158 h 819150"/>
                  <a:gd name="connsiteX64" fmla="*/ 157069 w 333375"/>
                  <a:gd name="connsiteY64" fmla="*/ 267844 h 819150"/>
                  <a:gd name="connsiteX65" fmla="*/ 171823 w 333375"/>
                  <a:gd name="connsiteY65" fmla="*/ 293676 h 819150"/>
                  <a:gd name="connsiteX66" fmla="*/ 179205 w 333375"/>
                  <a:gd name="connsiteY66" fmla="*/ 308440 h 819150"/>
                  <a:gd name="connsiteX67" fmla="*/ 186587 w 333375"/>
                  <a:gd name="connsiteY67" fmla="*/ 319517 h 819150"/>
                  <a:gd name="connsiteX68" fmla="*/ 179205 w 333375"/>
                  <a:gd name="connsiteY68" fmla="*/ 323204 h 819150"/>
                  <a:gd name="connsiteX69" fmla="*/ 168137 w 333375"/>
                  <a:gd name="connsiteY69" fmla="*/ 334272 h 819150"/>
                  <a:gd name="connsiteX70" fmla="*/ 160755 w 333375"/>
                  <a:gd name="connsiteY70" fmla="*/ 341654 h 819150"/>
                  <a:gd name="connsiteX71" fmla="*/ 157069 w 333375"/>
                  <a:gd name="connsiteY71" fmla="*/ 341654 h 819150"/>
                  <a:gd name="connsiteX72" fmla="*/ 153382 w 333375"/>
                  <a:gd name="connsiteY72" fmla="*/ 345349 h 819150"/>
                  <a:gd name="connsiteX73" fmla="*/ 149696 w 333375"/>
                  <a:gd name="connsiteY73" fmla="*/ 345349 h 819150"/>
                  <a:gd name="connsiteX74" fmla="*/ 138628 w 333375"/>
                  <a:gd name="connsiteY74" fmla="*/ 349035 h 819150"/>
                  <a:gd name="connsiteX75" fmla="*/ 109110 w 333375"/>
                  <a:gd name="connsiteY75" fmla="*/ 356417 h 819150"/>
                  <a:gd name="connsiteX76" fmla="*/ 105424 w 333375"/>
                  <a:gd name="connsiteY76" fmla="*/ 360113 h 819150"/>
                  <a:gd name="connsiteX77" fmla="*/ 101728 w 333375"/>
                  <a:gd name="connsiteY77" fmla="*/ 360113 h 819150"/>
                  <a:gd name="connsiteX78" fmla="*/ 94356 w 333375"/>
                  <a:gd name="connsiteY78" fmla="*/ 363799 h 819150"/>
                  <a:gd name="connsiteX79" fmla="*/ 75906 w 333375"/>
                  <a:gd name="connsiteY79" fmla="*/ 367495 h 819150"/>
                  <a:gd name="connsiteX80" fmla="*/ 72220 w 333375"/>
                  <a:gd name="connsiteY80" fmla="*/ 367495 h 819150"/>
                  <a:gd name="connsiteX81" fmla="*/ 57466 w 333375"/>
                  <a:gd name="connsiteY81" fmla="*/ 374867 h 819150"/>
                  <a:gd name="connsiteX82" fmla="*/ 46398 w 333375"/>
                  <a:gd name="connsiteY82" fmla="*/ 385945 h 819150"/>
                  <a:gd name="connsiteX83" fmla="*/ 42702 w 333375"/>
                  <a:gd name="connsiteY83" fmla="*/ 393327 h 819150"/>
                  <a:gd name="connsiteX84" fmla="*/ 35330 w 333375"/>
                  <a:gd name="connsiteY84" fmla="*/ 408090 h 819150"/>
                  <a:gd name="connsiteX85" fmla="*/ 31634 w 333375"/>
                  <a:gd name="connsiteY85" fmla="*/ 426540 h 819150"/>
                  <a:gd name="connsiteX86" fmla="*/ 31634 w 333375"/>
                  <a:gd name="connsiteY86" fmla="*/ 441304 h 819150"/>
                  <a:gd name="connsiteX87" fmla="*/ 20566 w 333375"/>
                  <a:gd name="connsiteY87" fmla="*/ 444990 h 819150"/>
                  <a:gd name="connsiteX88" fmla="*/ 16880 w 333375"/>
                  <a:gd name="connsiteY88" fmla="*/ 444990 h 819150"/>
                  <a:gd name="connsiteX89" fmla="*/ 5812 w 333375"/>
                  <a:gd name="connsiteY89" fmla="*/ 448686 h 819150"/>
                  <a:gd name="connsiteX90" fmla="*/ 13193 w 333375"/>
                  <a:gd name="connsiteY90" fmla="*/ 452372 h 819150"/>
                  <a:gd name="connsiteX91" fmla="*/ 42702 w 333375"/>
                  <a:gd name="connsiteY91" fmla="*/ 463450 h 819150"/>
                  <a:gd name="connsiteX92" fmla="*/ 46398 w 333375"/>
                  <a:gd name="connsiteY92" fmla="*/ 467136 h 819150"/>
                  <a:gd name="connsiteX93" fmla="*/ 46398 w 333375"/>
                  <a:gd name="connsiteY93" fmla="*/ 470822 h 819150"/>
                  <a:gd name="connsiteX94" fmla="*/ 50084 w 333375"/>
                  <a:gd name="connsiteY94" fmla="*/ 478204 h 819150"/>
                  <a:gd name="connsiteX95" fmla="*/ 53770 w 333375"/>
                  <a:gd name="connsiteY95" fmla="*/ 474518 h 819150"/>
                  <a:gd name="connsiteX96" fmla="*/ 57466 w 333375"/>
                  <a:gd name="connsiteY96" fmla="*/ 478204 h 819150"/>
                  <a:gd name="connsiteX97" fmla="*/ 61152 w 333375"/>
                  <a:gd name="connsiteY97" fmla="*/ 478204 h 819150"/>
                  <a:gd name="connsiteX98" fmla="*/ 64838 w 333375"/>
                  <a:gd name="connsiteY98" fmla="*/ 478204 h 819150"/>
                  <a:gd name="connsiteX99" fmla="*/ 72220 w 333375"/>
                  <a:gd name="connsiteY99" fmla="*/ 478204 h 819150"/>
                  <a:gd name="connsiteX100" fmla="*/ 75906 w 333375"/>
                  <a:gd name="connsiteY100" fmla="*/ 478204 h 819150"/>
                  <a:gd name="connsiteX101" fmla="*/ 79602 w 333375"/>
                  <a:gd name="connsiteY101" fmla="*/ 478204 h 819150"/>
                  <a:gd name="connsiteX102" fmla="*/ 86974 w 333375"/>
                  <a:gd name="connsiteY102" fmla="*/ 478204 h 819150"/>
                  <a:gd name="connsiteX103" fmla="*/ 90660 w 333375"/>
                  <a:gd name="connsiteY103" fmla="*/ 474518 h 819150"/>
                  <a:gd name="connsiteX104" fmla="*/ 94356 w 333375"/>
                  <a:gd name="connsiteY104" fmla="*/ 474518 h 819150"/>
                  <a:gd name="connsiteX105" fmla="*/ 98042 w 333375"/>
                  <a:gd name="connsiteY105" fmla="*/ 478204 h 819150"/>
                  <a:gd name="connsiteX106" fmla="*/ 105424 w 333375"/>
                  <a:gd name="connsiteY106" fmla="*/ 478204 h 819150"/>
                  <a:gd name="connsiteX107" fmla="*/ 109110 w 333375"/>
                  <a:gd name="connsiteY107" fmla="*/ 481900 h 819150"/>
                  <a:gd name="connsiteX108" fmla="*/ 109110 w 333375"/>
                  <a:gd name="connsiteY108" fmla="*/ 485586 h 819150"/>
                  <a:gd name="connsiteX109" fmla="*/ 112796 w 333375"/>
                  <a:gd name="connsiteY109" fmla="*/ 485586 h 819150"/>
                  <a:gd name="connsiteX110" fmla="*/ 109110 w 333375"/>
                  <a:gd name="connsiteY110" fmla="*/ 489281 h 819150"/>
                  <a:gd name="connsiteX111" fmla="*/ 105424 w 333375"/>
                  <a:gd name="connsiteY111" fmla="*/ 489281 h 819150"/>
                  <a:gd name="connsiteX112" fmla="*/ 105424 w 333375"/>
                  <a:gd name="connsiteY112" fmla="*/ 492968 h 819150"/>
                  <a:gd name="connsiteX113" fmla="*/ 109110 w 333375"/>
                  <a:gd name="connsiteY113" fmla="*/ 492968 h 819150"/>
                  <a:gd name="connsiteX114" fmla="*/ 109110 w 333375"/>
                  <a:gd name="connsiteY114" fmla="*/ 496663 h 819150"/>
                  <a:gd name="connsiteX115" fmla="*/ 109110 w 333375"/>
                  <a:gd name="connsiteY115" fmla="*/ 500350 h 819150"/>
                  <a:gd name="connsiteX116" fmla="*/ 109110 w 333375"/>
                  <a:gd name="connsiteY116" fmla="*/ 504045 h 819150"/>
                  <a:gd name="connsiteX117" fmla="*/ 112796 w 333375"/>
                  <a:gd name="connsiteY117" fmla="*/ 504045 h 819150"/>
                  <a:gd name="connsiteX118" fmla="*/ 112796 w 333375"/>
                  <a:gd name="connsiteY118" fmla="*/ 500350 h 819150"/>
                  <a:gd name="connsiteX119" fmla="*/ 116492 w 333375"/>
                  <a:gd name="connsiteY119" fmla="*/ 500350 h 819150"/>
                  <a:gd name="connsiteX120" fmla="*/ 120178 w 333375"/>
                  <a:gd name="connsiteY120" fmla="*/ 500350 h 819150"/>
                  <a:gd name="connsiteX121" fmla="*/ 120178 w 333375"/>
                  <a:gd name="connsiteY121" fmla="*/ 496663 h 819150"/>
                  <a:gd name="connsiteX122" fmla="*/ 123864 w 333375"/>
                  <a:gd name="connsiteY122" fmla="*/ 496663 h 819150"/>
                  <a:gd name="connsiteX123" fmla="*/ 127560 w 333375"/>
                  <a:gd name="connsiteY123" fmla="*/ 496663 h 819150"/>
                  <a:gd name="connsiteX124" fmla="*/ 127560 w 333375"/>
                  <a:gd name="connsiteY124" fmla="*/ 492968 h 819150"/>
                  <a:gd name="connsiteX125" fmla="*/ 134933 w 333375"/>
                  <a:gd name="connsiteY125" fmla="*/ 489281 h 819150"/>
                  <a:gd name="connsiteX126" fmla="*/ 134933 w 333375"/>
                  <a:gd name="connsiteY126" fmla="*/ 492968 h 819150"/>
                  <a:gd name="connsiteX127" fmla="*/ 138628 w 333375"/>
                  <a:gd name="connsiteY127" fmla="*/ 492968 h 819150"/>
                  <a:gd name="connsiteX128" fmla="*/ 138628 w 333375"/>
                  <a:gd name="connsiteY128" fmla="*/ 500350 h 819150"/>
                  <a:gd name="connsiteX129" fmla="*/ 149696 w 333375"/>
                  <a:gd name="connsiteY129" fmla="*/ 507731 h 819150"/>
                  <a:gd name="connsiteX130" fmla="*/ 146000 w 333375"/>
                  <a:gd name="connsiteY130" fmla="*/ 511427 h 819150"/>
                  <a:gd name="connsiteX131" fmla="*/ 142314 w 333375"/>
                  <a:gd name="connsiteY131" fmla="*/ 515113 h 819150"/>
                  <a:gd name="connsiteX132" fmla="*/ 142314 w 333375"/>
                  <a:gd name="connsiteY132" fmla="*/ 518799 h 819150"/>
                  <a:gd name="connsiteX133" fmla="*/ 134933 w 333375"/>
                  <a:gd name="connsiteY133" fmla="*/ 522495 h 819150"/>
                  <a:gd name="connsiteX134" fmla="*/ 131246 w 333375"/>
                  <a:gd name="connsiteY134" fmla="*/ 522495 h 819150"/>
                  <a:gd name="connsiteX135" fmla="*/ 131246 w 333375"/>
                  <a:gd name="connsiteY135" fmla="*/ 526181 h 819150"/>
                  <a:gd name="connsiteX136" fmla="*/ 127560 w 333375"/>
                  <a:gd name="connsiteY136" fmla="*/ 529877 h 819150"/>
                  <a:gd name="connsiteX137" fmla="*/ 123864 w 333375"/>
                  <a:gd name="connsiteY137" fmla="*/ 533563 h 819150"/>
                  <a:gd name="connsiteX138" fmla="*/ 127560 w 333375"/>
                  <a:gd name="connsiteY138" fmla="*/ 537259 h 819150"/>
                  <a:gd name="connsiteX139" fmla="*/ 134933 w 333375"/>
                  <a:gd name="connsiteY139" fmla="*/ 537259 h 819150"/>
                  <a:gd name="connsiteX140" fmla="*/ 138628 w 333375"/>
                  <a:gd name="connsiteY140" fmla="*/ 540945 h 819150"/>
                  <a:gd name="connsiteX141" fmla="*/ 138628 w 333375"/>
                  <a:gd name="connsiteY141" fmla="*/ 544641 h 819150"/>
                  <a:gd name="connsiteX142" fmla="*/ 134933 w 333375"/>
                  <a:gd name="connsiteY142" fmla="*/ 548327 h 819150"/>
                  <a:gd name="connsiteX143" fmla="*/ 134933 w 333375"/>
                  <a:gd name="connsiteY143" fmla="*/ 552023 h 819150"/>
                  <a:gd name="connsiteX144" fmla="*/ 131246 w 333375"/>
                  <a:gd name="connsiteY144" fmla="*/ 552023 h 819150"/>
                  <a:gd name="connsiteX145" fmla="*/ 127560 w 333375"/>
                  <a:gd name="connsiteY145" fmla="*/ 548327 h 819150"/>
                  <a:gd name="connsiteX146" fmla="*/ 123864 w 333375"/>
                  <a:gd name="connsiteY146" fmla="*/ 548327 h 819150"/>
                  <a:gd name="connsiteX147" fmla="*/ 120178 w 333375"/>
                  <a:gd name="connsiteY147" fmla="*/ 548327 h 819150"/>
                  <a:gd name="connsiteX148" fmla="*/ 120178 w 333375"/>
                  <a:gd name="connsiteY148" fmla="*/ 552023 h 819150"/>
                  <a:gd name="connsiteX149" fmla="*/ 120178 w 333375"/>
                  <a:gd name="connsiteY149" fmla="*/ 555709 h 819150"/>
                  <a:gd name="connsiteX150" fmla="*/ 123864 w 333375"/>
                  <a:gd name="connsiteY150" fmla="*/ 559395 h 819150"/>
                  <a:gd name="connsiteX151" fmla="*/ 123864 w 333375"/>
                  <a:gd name="connsiteY151" fmla="*/ 563091 h 819150"/>
                  <a:gd name="connsiteX152" fmla="*/ 120178 w 333375"/>
                  <a:gd name="connsiteY152" fmla="*/ 563091 h 819150"/>
                  <a:gd name="connsiteX153" fmla="*/ 120178 w 333375"/>
                  <a:gd name="connsiteY153" fmla="*/ 566777 h 819150"/>
                  <a:gd name="connsiteX154" fmla="*/ 123864 w 333375"/>
                  <a:gd name="connsiteY154" fmla="*/ 574159 h 819150"/>
                  <a:gd name="connsiteX155" fmla="*/ 120178 w 333375"/>
                  <a:gd name="connsiteY155" fmla="*/ 574159 h 819150"/>
                  <a:gd name="connsiteX156" fmla="*/ 120178 w 333375"/>
                  <a:gd name="connsiteY156" fmla="*/ 577854 h 819150"/>
                  <a:gd name="connsiteX157" fmla="*/ 116492 w 333375"/>
                  <a:gd name="connsiteY157" fmla="*/ 577854 h 819150"/>
                  <a:gd name="connsiteX158" fmla="*/ 109110 w 333375"/>
                  <a:gd name="connsiteY158" fmla="*/ 574159 h 819150"/>
                  <a:gd name="connsiteX159" fmla="*/ 105424 w 333375"/>
                  <a:gd name="connsiteY159" fmla="*/ 585236 h 819150"/>
                  <a:gd name="connsiteX160" fmla="*/ 105424 w 333375"/>
                  <a:gd name="connsiteY160" fmla="*/ 592618 h 819150"/>
                  <a:gd name="connsiteX161" fmla="*/ 101728 w 333375"/>
                  <a:gd name="connsiteY161" fmla="*/ 596304 h 819150"/>
                  <a:gd name="connsiteX162" fmla="*/ 101728 w 333375"/>
                  <a:gd name="connsiteY162" fmla="*/ 600000 h 819150"/>
                  <a:gd name="connsiteX163" fmla="*/ 105424 w 333375"/>
                  <a:gd name="connsiteY163" fmla="*/ 600000 h 819150"/>
                  <a:gd name="connsiteX164" fmla="*/ 109110 w 333375"/>
                  <a:gd name="connsiteY164" fmla="*/ 603686 h 819150"/>
                  <a:gd name="connsiteX165" fmla="*/ 109110 w 333375"/>
                  <a:gd name="connsiteY165" fmla="*/ 607373 h 819150"/>
                  <a:gd name="connsiteX166" fmla="*/ 105424 w 333375"/>
                  <a:gd name="connsiteY166" fmla="*/ 614754 h 819150"/>
                  <a:gd name="connsiteX167" fmla="*/ 105424 w 333375"/>
                  <a:gd name="connsiteY167" fmla="*/ 618450 h 819150"/>
                  <a:gd name="connsiteX168" fmla="*/ 105424 w 333375"/>
                  <a:gd name="connsiteY168" fmla="*/ 622136 h 819150"/>
                  <a:gd name="connsiteX169" fmla="*/ 105424 w 333375"/>
                  <a:gd name="connsiteY169" fmla="*/ 625832 h 819150"/>
                  <a:gd name="connsiteX170" fmla="*/ 101728 w 333375"/>
                  <a:gd name="connsiteY170" fmla="*/ 629518 h 819150"/>
                  <a:gd name="connsiteX171" fmla="*/ 98042 w 333375"/>
                  <a:gd name="connsiteY171" fmla="*/ 633214 h 819150"/>
                  <a:gd name="connsiteX172" fmla="*/ 94356 w 333375"/>
                  <a:gd name="connsiteY172" fmla="*/ 640596 h 819150"/>
                  <a:gd name="connsiteX173" fmla="*/ 90660 w 333375"/>
                  <a:gd name="connsiteY173" fmla="*/ 640596 h 819150"/>
                  <a:gd name="connsiteX174" fmla="*/ 86974 w 333375"/>
                  <a:gd name="connsiteY174" fmla="*/ 647977 h 819150"/>
                  <a:gd name="connsiteX175" fmla="*/ 83288 w 333375"/>
                  <a:gd name="connsiteY175" fmla="*/ 655350 h 819150"/>
                  <a:gd name="connsiteX176" fmla="*/ 83288 w 333375"/>
                  <a:gd name="connsiteY176" fmla="*/ 659046 h 819150"/>
                  <a:gd name="connsiteX177" fmla="*/ 86974 w 333375"/>
                  <a:gd name="connsiteY177" fmla="*/ 659046 h 819150"/>
                  <a:gd name="connsiteX178" fmla="*/ 90660 w 333375"/>
                  <a:gd name="connsiteY178" fmla="*/ 659046 h 819150"/>
                  <a:gd name="connsiteX179" fmla="*/ 94356 w 333375"/>
                  <a:gd name="connsiteY179" fmla="*/ 655350 h 819150"/>
                  <a:gd name="connsiteX180" fmla="*/ 98042 w 333375"/>
                  <a:gd name="connsiteY180" fmla="*/ 655350 h 819150"/>
                  <a:gd name="connsiteX181" fmla="*/ 101728 w 333375"/>
                  <a:gd name="connsiteY181" fmla="*/ 659046 h 819150"/>
                  <a:gd name="connsiteX182" fmla="*/ 101728 w 333375"/>
                  <a:gd name="connsiteY182" fmla="*/ 662732 h 819150"/>
                  <a:gd name="connsiteX183" fmla="*/ 94356 w 333375"/>
                  <a:gd name="connsiteY183" fmla="*/ 666428 h 819150"/>
                  <a:gd name="connsiteX184" fmla="*/ 94356 w 333375"/>
                  <a:gd name="connsiteY184" fmla="*/ 670114 h 819150"/>
                  <a:gd name="connsiteX185" fmla="*/ 94356 w 333375"/>
                  <a:gd name="connsiteY185" fmla="*/ 673809 h 819150"/>
                  <a:gd name="connsiteX186" fmla="*/ 86974 w 333375"/>
                  <a:gd name="connsiteY186" fmla="*/ 681191 h 819150"/>
                  <a:gd name="connsiteX187" fmla="*/ 86974 w 333375"/>
                  <a:gd name="connsiteY187" fmla="*/ 684877 h 819150"/>
                  <a:gd name="connsiteX188" fmla="*/ 83288 w 333375"/>
                  <a:gd name="connsiteY188" fmla="*/ 688573 h 819150"/>
                  <a:gd name="connsiteX189" fmla="*/ 86974 w 333375"/>
                  <a:gd name="connsiteY189" fmla="*/ 692259 h 819150"/>
                  <a:gd name="connsiteX190" fmla="*/ 83288 w 333375"/>
                  <a:gd name="connsiteY190" fmla="*/ 695955 h 819150"/>
                  <a:gd name="connsiteX191" fmla="*/ 79602 w 333375"/>
                  <a:gd name="connsiteY191" fmla="*/ 695955 h 819150"/>
                  <a:gd name="connsiteX192" fmla="*/ 75906 w 333375"/>
                  <a:gd name="connsiteY192" fmla="*/ 695955 h 819150"/>
                  <a:gd name="connsiteX193" fmla="*/ 72220 w 333375"/>
                  <a:gd name="connsiteY193" fmla="*/ 695955 h 819150"/>
                  <a:gd name="connsiteX194" fmla="*/ 68534 w 333375"/>
                  <a:gd name="connsiteY194" fmla="*/ 699641 h 819150"/>
                  <a:gd name="connsiteX195" fmla="*/ 68534 w 333375"/>
                  <a:gd name="connsiteY195" fmla="*/ 703327 h 819150"/>
                  <a:gd name="connsiteX196" fmla="*/ 68534 w 333375"/>
                  <a:gd name="connsiteY196" fmla="*/ 707023 h 819150"/>
                  <a:gd name="connsiteX197" fmla="*/ 61152 w 333375"/>
                  <a:gd name="connsiteY197" fmla="*/ 714405 h 819150"/>
                  <a:gd name="connsiteX198" fmla="*/ 61152 w 333375"/>
                  <a:gd name="connsiteY198" fmla="*/ 718091 h 819150"/>
                  <a:gd name="connsiteX199" fmla="*/ 57466 w 333375"/>
                  <a:gd name="connsiteY199" fmla="*/ 718091 h 819150"/>
                  <a:gd name="connsiteX200" fmla="*/ 53770 w 333375"/>
                  <a:gd name="connsiteY200" fmla="*/ 721787 h 819150"/>
                  <a:gd name="connsiteX201" fmla="*/ 50084 w 333375"/>
                  <a:gd name="connsiteY201" fmla="*/ 721787 h 819150"/>
                  <a:gd name="connsiteX202" fmla="*/ 50084 w 333375"/>
                  <a:gd name="connsiteY202" fmla="*/ 725473 h 819150"/>
                  <a:gd name="connsiteX203" fmla="*/ 46398 w 333375"/>
                  <a:gd name="connsiteY203" fmla="*/ 725473 h 819150"/>
                  <a:gd name="connsiteX204" fmla="*/ 42702 w 333375"/>
                  <a:gd name="connsiteY204" fmla="*/ 725473 h 819150"/>
                  <a:gd name="connsiteX205" fmla="*/ 46398 w 333375"/>
                  <a:gd name="connsiteY205" fmla="*/ 729169 h 819150"/>
                  <a:gd name="connsiteX206" fmla="*/ 42702 w 333375"/>
                  <a:gd name="connsiteY206" fmla="*/ 732855 h 819150"/>
                  <a:gd name="connsiteX207" fmla="*/ 42702 w 333375"/>
                  <a:gd name="connsiteY207" fmla="*/ 736551 h 819150"/>
                  <a:gd name="connsiteX208" fmla="*/ 42702 w 333375"/>
                  <a:gd name="connsiteY208" fmla="*/ 740237 h 819150"/>
                  <a:gd name="connsiteX209" fmla="*/ 42702 w 333375"/>
                  <a:gd name="connsiteY209" fmla="*/ 743932 h 819150"/>
                  <a:gd name="connsiteX210" fmla="*/ 42702 w 333375"/>
                  <a:gd name="connsiteY210" fmla="*/ 747619 h 819150"/>
                  <a:gd name="connsiteX211" fmla="*/ 42702 w 333375"/>
                  <a:gd name="connsiteY211" fmla="*/ 751305 h 819150"/>
                  <a:gd name="connsiteX212" fmla="*/ 42702 w 333375"/>
                  <a:gd name="connsiteY212" fmla="*/ 755000 h 819150"/>
                  <a:gd name="connsiteX213" fmla="*/ 46398 w 333375"/>
                  <a:gd name="connsiteY213" fmla="*/ 755000 h 819150"/>
                  <a:gd name="connsiteX214" fmla="*/ 46398 w 333375"/>
                  <a:gd name="connsiteY214" fmla="*/ 758687 h 819150"/>
                  <a:gd name="connsiteX215" fmla="*/ 46398 w 333375"/>
                  <a:gd name="connsiteY215" fmla="*/ 762382 h 819150"/>
                  <a:gd name="connsiteX216" fmla="*/ 50084 w 333375"/>
                  <a:gd name="connsiteY216" fmla="*/ 762382 h 819150"/>
                  <a:gd name="connsiteX217" fmla="*/ 50084 w 333375"/>
                  <a:gd name="connsiteY217" fmla="*/ 766069 h 819150"/>
                  <a:gd name="connsiteX218" fmla="*/ 53770 w 333375"/>
                  <a:gd name="connsiteY218" fmla="*/ 769764 h 819150"/>
                  <a:gd name="connsiteX219" fmla="*/ 57466 w 333375"/>
                  <a:gd name="connsiteY219" fmla="*/ 769764 h 819150"/>
                  <a:gd name="connsiteX220" fmla="*/ 61152 w 333375"/>
                  <a:gd name="connsiteY220" fmla="*/ 769764 h 819150"/>
                  <a:gd name="connsiteX221" fmla="*/ 61152 w 333375"/>
                  <a:gd name="connsiteY221" fmla="*/ 773450 h 819150"/>
                  <a:gd name="connsiteX222" fmla="*/ 68534 w 333375"/>
                  <a:gd name="connsiteY222" fmla="*/ 773450 h 819150"/>
                  <a:gd name="connsiteX223" fmla="*/ 72220 w 333375"/>
                  <a:gd name="connsiteY223" fmla="*/ 777146 h 819150"/>
                  <a:gd name="connsiteX224" fmla="*/ 72220 w 333375"/>
                  <a:gd name="connsiteY224" fmla="*/ 780832 h 819150"/>
                  <a:gd name="connsiteX225" fmla="*/ 68534 w 333375"/>
                  <a:gd name="connsiteY225" fmla="*/ 784528 h 819150"/>
                  <a:gd name="connsiteX226" fmla="*/ 72220 w 333375"/>
                  <a:gd name="connsiteY226" fmla="*/ 795596 h 819150"/>
                  <a:gd name="connsiteX227" fmla="*/ 72220 w 333375"/>
                  <a:gd name="connsiteY227" fmla="*/ 802978 h 819150"/>
                  <a:gd name="connsiteX228" fmla="*/ 64838 w 333375"/>
                  <a:gd name="connsiteY228" fmla="*/ 814046 h 819150"/>
                  <a:gd name="connsiteX229" fmla="*/ 64838 w 333375"/>
                  <a:gd name="connsiteY229" fmla="*/ 817742 h 819150"/>
                  <a:gd name="connsiteX230" fmla="*/ 68534 w 333375"/>
                  <a:gd name="connsiteY230" fmla="*/ 817742 h 819150"/>
                  <a:gd name="connsiteX231" fmla="*/ 72220 w 333375"/>
                  <a:gd name="connsiteY231" fmla="*/ 817742 h 819150"/>
                  <a:gd name="connsiteX232" fmla="*/ 75906 w 333375"/>
                  <a:gd name="connsiteY232" fmla="*/ 814046 h 819150"/>
                  <a:gd name="connsiteX233" fmla="*/ 79602 w 333375"/>
                  <a:gd name="connsiteY233" fmla="*/ 814046 h 819150"/>
                  <a:gd name="connsiteX234" fmla="*/ 83288 w 333375"/>
                  <a:gd name="connsiteY234" fmla="*/ 810360 h 819150"/>
                  <a:gd name="connsiteX235" fmla="*/ 83288 w 333375"/>
                  <a:gd name="connsiteY235" fmla="*/ 814046 h 819150"/>
                  <a:gd name="connsiteX236" fmla="*/ 86974 w 333375"/>
                  <a:gd name="connsiteY236" fmla="*/ 817742 h 819150"/>
                  <a:gd name="connsiteX237" fmla="*/ 90660 w 333375"/>
                  <a:gd name="connsiteY237" fmla="*/ 817742 h 819150"/>
                  <a:gd name="connsiteX238" fmla="*/ 94356 w 333375"/>
                  <a:gd name="connsiteY238" fmla="*/ 814046 h 819150"/>
                  <a:gd name="connsiteX239" fmla="*/ 94356 w 333375"/>
                  <a:gd name="connsiteY239" fmla="*/ 810360 h 819150"/>
                  <a:gd name="connsiteX240" fmla="*/ 98042 w 333375"/>
                  <a:gd name="connsiteY240" fmla="*/ 806664 h 819150"/>
                  <a:gd name="connsiteX241" fmla="*/ 105424 w 333375"/>
                  <a:gd name="connsiteY241" fmla="*/ 795596 h 819150"/>
                  <a:gd name="connsiteX242" fmla="*/ 112796 w 333375"/>
                  <a:gd name="connsiteY242" fmla="*/ 795596 h 819150"/>
                  <a:gd name="connsiteX243" fmla="*/ 112796 w 333375"/>
                  <a:gd name="connsiteY243" fmla="*/ 802978 h 819150"/>
                  <a:gd name="connsiteX244" fmla="*/ 116492 w 333375"/>
                  <a:gd name="connsiteY244" fmla="*/ 810360 h 819150"/>
                  <a:gd name="connsiteX245" fmla="*/ 120178 w 333375"/>
                  <a:gd name="connsiteY245" fmla="*/ 806664 h 819150"/>
                  <a:gd name="connsiteX246" fmla="*/ 127560 w 333375"/>
                  <a:gd name="connsiteY246" fmla="*/ 817742 h 819150"/>
                  <a:gd name="connsiteX247" fmla="*/ 131246 w 333375"/>
                  <a:gd name="connsiteY247" fmla="*/ 817742 h 819150"/>
                  <a:gd name="connsiteX248" fmla="*/ 134933 w 333375"/>
                  <a:gd name="connsiteY248" fmla="*/ 814046 h 819150"/>
                  <a:gd name="connsiteX249" fmla="*/ 138628 w 333375"/>
                  <a:gd name="connsiteY249" fmla="*/ 817742 h 819150"/>
                  <a:gd name="connsiteX250" fmla="*/ 142314 w 333375"/>
                  <a:gd name="connsiteY250" fmla="*/ 814046 h 819150"/>
                  <a:gd name="connsiteX251" fmla="*/ 146000 w 333375"/>
                  <a:gd name="connsiteY251" fmla="*/ 810360 h 819150"/>
                  <a:gd name="connsiteX252" fmla="*/ 146000 w 333375"/>
                  <a:gd name="connsiteY252" fmla="*/ 814046 h 819150"/>
                  <a:gd name="connsiteX253" fmla="*/ 146000 w 333375"/>
                  <a:gd name="connsiteY253" fmla="*/ 821428 h 819150"/>
                  <a:gd name="connsiteX254" fmla="*/ 149696 w 333375"/>
                  <a:gd name="connsiteY254" fmla="*/ 817742 h 819150"/>
                  <a:gd name="connsiteX255" fmla="*/ 153382 w 333375"/>
                  <a:gd name="connsiteY255" fmla="*/ 814046 h 819150"/>
                  <a:gd name="connsiteX256" fmla="*/ 153382 w 333375"/>
                  <a:gd name="connsiteY256" fmla="*/ 810360 h 819150"/>
                  <a:gd name="connsiteX257" fmla="*/ 157069 w 333375"/>
                  <a:gd name="connsiteY257" fmla="*/ 810360 h 819150"/>
                  <a:gd name="connsiteX258" fmla="*/ 160755 w 333375"/>
                  <a:gd name="connsiteY258" fmla="*/ 810360 h 819150"/>
                  <a:gd name="connsiteX259" fmla="*/ 168137 w 333375"/>
                  <a:gd name="connsiteY259" fmla="*/ 806664 h 819150"/>
                  <a:gd name="connsiteX260" fmla="*/ 168137 w 333375"/>
                  <a:gd name="connsiteY260" fmla="*/ 810360 h 819150"/>
                  <a:gd name="connsiteX261" fmla="*/ 168137 w 333375"/>
                  <a:gd name="connsiteY261" fmla="*/ 817742 h 819150"/>
                  <a:gd name="connsiteX262" fmla="*/ 175518 w 333375"/>
                  <a:gd name="connsiteY262" fmla="*/ 821428 h 819150"/>
                  <a:gd name="connsiteX263" fmla="*/ 175518 w 333375"/>
                  <a:gd name="connsiteY263" fmla="*/ 817742 h 819150"/>
                  <a:gd name="connsiteX264" fmla="*/ 179205 w 333375"/>
                  <a:gd name="connsiteY264" fmla="*/ 817742 h 819150"/>
                  <a:gd name="connsiteX265" fmla="*/ 182891 w 333375"/>
                  <a:gd name="connsiteY265" fmla="*/ 817742 h 819150"/>
                  <a:gd name="connsiteX266" fmla="*/ 182891 w 333375"/>
                  <a:gd name="connsiteY266" fmla="*/ 821428 h 819150"/>
                  <a:gd name="connsiteX267" fmla="*/ 190273 w 333375"/>
                  <a:gd name="connsiteY267" fmla="*/ 817742 h 819150"/>
                  <a:gd name="connsiteX268" fmla="*/ 193959 w 333375"/>
                  <a:gd name="connsiteY268" fmla="*/ 814046 h 819150"/>
                  <a:gd name="connsiteX269" fmla="*/ 197655 w 333375"/>
                  <a:gd name="connsiteY269" fmla="*/ 814046 h 819150"/>
                  <a:gd name="connsiteX270" fmla="*/ 201341 w 333375"/>
                  <a:gd name="connsiteY270" fmla="*/ 814046 h 819150"/>
                  <a:gd name="connsiteX271" fmla="*/ 205027 w 333375"/>
                  <a:gd name="connsiteY271" fmla="*/ 814046 h 819150"/>
                  <a:gd name="connsiteX272" fmla="*/ 208723 w 333375"/>
                  <a:gd name="connsiteY272" fmla="*/ 814046 h 819150"/>
                  <a:gd name="connsiteX273" fmla="*/ 212409 w 333375"/>
                  <a:gd name="connsiteY273" fmla="*/ 817742 h 819150"/>
                  <a:gd name="connsiteX274" fmla="*/ 219791 w 333375"/>
                  <a:gd name="connsiteY274" fmla="*/ 821428 h 819150"/>
                  <a:gd name="connsiteX275" fmla="*/ 223477 w 333375"/>
                  <a:gd name="connsiteY275" fmla="*/ 821428 h 819150"/>
                  <a:gd name="connsiteX276" fmla="*/ 223477 w 333375"/>
                  <a:gd name="connsiteY276" fmla="*/ 817742 h 819150"/>
                  <a:gd name="connsiteX277" fmla="*/ 230859 w 333375"/>
                  <a:gd name="connsiteY277" fmla="*/ 817742 h 819150"/>
                  <a:gd name="connsiteX278" fmla="*/ 234545 w 333375"/>
                  <a:gd name="connsiteY278" fmla="*/ 817742 h 819150"/>
                  <a:gd name="connsiteX279" fmla="*/ 234545 w 333375"/>
                  <a:gd name="connsiteY279" fmla="*/ 810360 h 819150"/>
                  <a:gd name="connsiteX280" fmla="*/ 238231 w 333375"/>
                  <a:gd name="connsiteY280" fmla="*/ 802978 h 819150"/>
                  <a:gd name="connsiteX281" fmla="*/ 227163 w 333375"/>
                  <a:gd name="connsiteY281" fmla="*/ 795596 h 819150"/>
                  <a:gd name="connsiteX282" fmla="*/ 223477 w 333375"/>
                  <a:gd name="connsiteY282" fmla="*/ 795596 h 819150"/>
                  <a:gd name="connsiteX283" fmla="*/ 219791 w 333375"/>
                  <a:gd name="connsiteY283" fmla="*/ 791910 h 819150"/>
                  <a:gd name="connsiteX284" fmla="*/ 219791 w 333375"/>
                  <a:gd name="connsiteY284" fmla="*/ 788214 h 819150"/>
                  <a:gd name="connsiteX285" fmla="*/ 216095 w 333375"/>
                  <a:gd name="connsiteY285" fmla="*/ 788214 h 819150"/>
                  <a:gd name="connsiteX286" fmla="*/ 212409 w 333375"/>
                  <a:gd name="connsiteY286" fmla="*/ 784528 h 819150"/>
                  <a:gd name="connsiteX287" fmla="*/ 212409 w 333375"/>
                  <a:gd name="connsiteY287" fmla="*/ 780832 h 819150"/>
                  <a:gd name="connsiteX288" fmla="*/ 212409 w 333375"/>
                  <a:gd name="connsiteY288" fmla="*/ 777146 h 819150"/>
                  <a:gd name="connsiteX289" fmla="*/ 216095 w 333375"/>
                  <a:gd name="connsiteY289" fmla="*/ 773450 h 819150"/>
                  <a:gd name="connsiteX290" fmla="*/ 219791 w 333375"/>
                  <a:gd name="connsiteY290" fmla="*/ 777146 h 819150"/>
                  <a:gd name="connsiteX291" fmla="*/ 227163 w 333375"/>
                  <a:gd name="connsiteY291" fmla="*/ 780832 h 819150"/>
                  <a:gd name="connsiteX292" fmla="*/ 230859 w 333375"/>
                  <a:gd name="connsiteY292" fmla="*/ 773450 h 819150"/>
                  <a:gd name="connsiteX293" fmla="*/ 234545 w 333375"/>
                  <a:gd name="connsiteY293" fmla="*/ 769764 h 819150"/>
                  <a:gd name="connsiteX294" fmla="*/ 234545 w 333375"/>
                  <a:gd name="connsiteY294" fmla="*/ 766069 h 819150"/>
                  <a:gd name="connsiteX295" fmla="*/ 238231 w 333375"/>
                  <a:gd name="connsiteY295" fmla="*/ 766069 h 819150"/>
                  <a:gd name="connsiteX296" fmla="*/ 234545 w 333375"/>
                  <a:gd name="connsiteY296" fmla="*/ 762382 h 819150"/>
                  <a:gd name="connsiteX297" fmla="*/ 234545 w 333375"/>
                  <a:gd name="connsiteY297" fmla="*/ 758687 h 819150"/>
                  <a:gd name="connsiteX298" fmla="*/ 230859 w 333375"/>
                  <a:gd name="connsiteY298" fmla="*/ 755000 h 819150"/>
                  <a:gd name="connsiteX299" fmla="*/ 230859 w 333375"/>
                  <a:gd name="connsiteY299" fmla="*/ 751305 h 819150"/>
                  <a:gd name="connsiteX300" fmla="*/ 230859 w 333375"/>
                  <a:gd name="connsiteY300" fmla="*/ 747619 h 819150"/>
                  <a:gd name="connsiteX301" fmla="*/ 234545 w 333375"/>
                  <a:gd name="connsiteY301" fmla="*/ 743932 h 819150"/>
                  <a:gd name="connsiteX302" fmla="*/ 241917 w 333375"/>
                  <a:gd name="connsiteY302" fmla="*/ 743932 h 819150"/>
                  <a:gd name="connsiteX303" fmla="*/ 245613 w 333375"/>
                  <a:gd name="connsiteY303" fmla="*/ 740237 h 819150"/>
                  <a:gd name="connsiteX304" fmla="*/ 249299 w 333375"/>
                  <a:gd name="connsiteY304" fmla="*/ 740237 h 819150"/>
                  <a:gd name="connsiteX305" fmla="*/ 249299 w 333375"/>
                  <a:gd name="connsiteY305" fmla="*/ 736551 h 819150"/>
                  <a:gd name="connsiteX306" fmla="*/ 252985 w 333375"/>
                  <a:gd name="connsiteY306" fmla="*/ 736551 h 819150"/>
                  <a:gd name="connsiteX307" fmla="*/ 252985 w 333375"/>
                  <a:gd name="connsiteY307" fmla="*/ 740237 h 819150"/>
                  <a:gd name="connsiteX308" fmla="*/ 260367 w 333375"/>
                  <a:gd name="connsiteY308" fmla="*/ 743932 h 819150"/>
                  <a:gd name="connsiteX309" fmla="*/ 260367 w 333375"/>
                  <a:gd name="connsiteY309" fmla="*/ 736551 h 819150"/>
                  <a:gd name="connsiteX310" fmla="*/ 260367 w 333375"/>
                  <a:gd name="connsiteY310" fmla="*/ 732855 h 819150"/>
                  <a:gd name="connsiteX311" fmla="*/ 264053 w 333375"/>
                  <a:gd name="connsiteY311" fmla="*/ 732855 h 819150"/>
                  <a:gd name="connsiteX312" fmla="*/ 264053 w 333375"/>
                  <a:gd name="connsiteY312" fmla="*/ 729169 h 819150"/>
                  <a:gd name="connsiteX313" fmla="*/ 267749 w 333375"/>
                  <a:gd name="connsiteY313" fmla="*/ 725473 h 819150"/>
                  <a:gd name="connsiteX314" fmla="*/ 267749 w 333375"/>
                  <a:gd name="connsiteY314" fmla="*/ 718091 h 819150"/>
                  <a:gd name="connsiteX315" fmla="*/ 264053 w 333375"/>
                  <a:gd name="connsiteY315" fmla="*/ 714405 h 819150"/>
                  <a:gd name="connsiteX316" fmla="*/ 264053 w 333375"/>
                  <a:gd name="connsiteY316" fmla="*/ 718091 h 819150"/>
                  <a:gd name="connsiteX317" fmla="*/ 260367 w 333375"/>
                  <a:gd name="connsiteY317" fmla="*/ 710709 h 819150"/>
                  <a:gd name="connsiteX318" fmla="*/ 260367 w 333375"/>
                  <a:gd name="connsiteY318" fmla="*/ 707023 h 819150"/>
                  <a:gd name="connsiteX319" fmla="*/ 260367 w 333375"/>
                  <a:gd name="connsiteY319" fmla="*/ 703327 h 819150"/>
                  <a:gd name="connsiteX320" fmla="*/ 264053 w 333375"/>
                  <a:gd name="connsiteY320" fmla="*/ 699641 h 819150"/>
                  <a:gd name="connsiteX321" fmla="*/ 264053 w 333375"/>
                  <a:gd name="connsiteY321" fmla="*/ 695955 h 819150"/>
                  <a:gd name="connsiteX322" fmla="*/ 267749 w 333375"/>
                  <a:gd name="connsiteY322" fmla="*/ 692259 h 819150"/>
                  <a:gd name="connsiteX323" fmla="*/ 267749 w 333375"/>
                  <a:gd name="connsiteY323" fmla="*/ 688573 h 819150"/>
                  <a:gd name="connsiteX324" fmla="*/ 264053 w 333375"/>
                  <a:gd name="connsiteY324" fmla="*/ 684877 h 819150"/>
                  <a:gd name="connsiteX325" fmla="*/ 260367 w 333375"/>
                  <a:gd name="connsiteY325" fmla="*/ 684877 h 819150"/>
                  <a:gd name="connsiteX326" fmla="*/ 256681 w 333375"/>
                  <a:gd name="connsiteY326" fmla="*/ 684877 h 819150"/>
                  <a:gd name="connsiteX327" fmla="*/ 249299 w 333375"/>
                  <a:gd name="connsiteY327" fmla="*/ 684877 h 819150"/>
                  <a:gd name="connsiteX328" fmla="*/ 249299 w 333375"/>
                  <a:gd name="connsiteY328" fmla="*/ 681191 h 819150"/>
                  <a:gd name="connsiteX329" fmla="*/ 249299 w 333375"/>
                  <a:gd name="connsiteY329" fmla="*/ 677496 h 819150"/>
                  <a:gd name="connsiteX330" fmla="*/ 245613 w 333375"/>
                  <a:gd name="connsiteY330" fmla="*/ 681191 h 819150"/>
                  <a:gd name="connsiteX331" fmla="*/ 241917 w 333375"/>
                  <a:gd name="connsiteY331" fmla="*/ 677496 h 819150"/>
                  <a:gd name="connsiteX332" fmla="*/ 230859 w 333375"/>
                  <a:gd name="connsiteY332" fmla="*/ 673809 h 819150"/>
                  <a:gd name="connsiteX333" fmla="*/ 230859 w 333375"/>
                  <a:gd name="connsiteY333" fmla="*/ 666428 h 819150"/>
                  <a:gd name="connsiteX334" fmla="*/ 230859 w 333375"/>
                  <a:gd name="connsiteY334" fmla="*/ 662732 h 819150"/>
                  <a:gd name="connsiteX335" fmla="*/ 223477 w 333375"/>
                  <a:gd name="connsiteY335" fmla="*/ 659046 h 819150"/>
                  <a:gd name="connsiteX336" fmla="*/ 227163 w 333375"/>
                  <a:gd name="connsiteY336" fmla="*/ 655350 h 819150"/>
                  <a:gd name="connsiteX337" fmla="*/ 230859 w 333375"/>
                  <a:gd name="connsiteY337" fmla="*/ 655350 h 819150"/>
                  <a:gd name="connsiteX338" fmla="*/ 230859 w 333375"/>
                  <a:gd name="connsiteY338" fmla="*/ 651664 h 819150"/>
                  <a:gd name="connsiteX339" fmla="*/ 234545 w 333375"/>
                  <a:gd name="connsiteY339" fmla="*/ 636900 h 819150"/>
                  <a:gd name="connsiteX340" fmla="*/ 230859 w 333375"/>
                  <a:gd name="connsiteY340" fmla="*/ 636900 h 819150"/>
                  <a:gd name="connsiteX341" fmla="*/ 216095 w 333375"/>
                  <a:gd name="connsiteY341" fmla="*/ 636900 h 819150"/>
                  <a:gd name="connsiteX342" fmla="*/ 212409 w 333375"/>
                  <a:gd name="connsiteY342" fmla="*/ 636900 h 819150"/>
                  <a:gd name="connsiteX343" fmla="*/ 208723 w 333375"/>
                  <a:gd name="connsiteY343" fmla="*/ 640596 h 819150"/>
                  <a:gd name="connsiteX344" fmla="*/ 205027 w 333375"/>
                  <a:gd name="connsiteY344" fmla="*/ 640596 h 819150"/>
                  <a:gd name="connsiteX345" fmla="*/ 201341 w 333375"/>
                  <a:gd name="connsiteY345" fmla="*/ 636900 h 819150"/>
                  <a:gd name="connsiteX346" fmla="*/ 201341 w 333375"/>
                  <a:gd name="connsiteY346" fmla="*/ 633214 h 819150"/>
                  <a:gd name="connsiteX347" fmla="*/ 197655 w 333375"/>
                  <a:gd name="connsiteY347" fmla="*/ 633214 h 819150"/>
                  <a:gd name="connsiteX348" fmla="*/ 190273 w 333375"/>
                  <a:gd name="connsiteY348" fmla="*/ 636900 h 819150"/>
                  <a:gd name="connsiteX349" fmla="*/ 186587 w 333375"/>
                  <a:gd name="connsiteY349" fmla="*/ 636900 h 819150"/>
                  <a:gd name="connsiteX350" fmla="*/ 182891 w 333375"/>
                  <a:gd name="connsiteY350" fmla="*/ 640596 h 819150"/>
                  <a:gd name="connsiteX351" fmla="*/ 179205 w 333375"/>
                  <a:gd name="connsiteY351" fmla="*/ 640596 h 819150"/>
                  <a:gd name="connsiteX352" fmla="*/ 175518 w 333375"/>
                  <a:gd name="connsiteY352" fmla="*/ 644282 h 819150"/>
                  <a:gd name="connsiteX353" fmla="*/ 171823 w 333375"/>
                  <a:gd name="connsiteY353" fmla="*/ 644282 h 819150"/>
                  <a:gd name="connsiteX354" fmla="*/ 168137 w 333375"/>
                  <a:gd name="connsiteY354" fmla="*/ 640596 h 819150"/>
                  <a:gd name="connsiteX355" fmla="*/ 175518 w 333375"/>
                  <a:gd name="connsiteY355" fmla="*/ 633214 h 819150"/>
                  <a:gd name="connsiteX356" fmla="*/ 175518 w 333375"/>
                  <a:gd name="connsiteY356" fmla="*/ 622136 h 819150"/>
                  <a:gd name="connsiteX357" fmla="*/ 171823 w 333375"/>
                  <a:gd name="connsiteY357" fmla="*/ 622136 h 819150"/>
                  <a:gd name="connsiteX358" fmla="*/ 168137 w 333375"/>
                  <a:gd name="connsiteY358" fmla="*/ 618450 h 819150"/>
                  <a:gd name="connsiteX359" fmla="*/ 168137 w 333375"/>
                  <a:gd name="connsiteY359" fmla="*/ 614754 h 819150"/>
                  <a:gd name="connsiteX360" fmla="*/ 164450 w 333375"/>
                  <a:gd name="connsiteY360" fmla="*/ 614754 h 819150"/>
                  <a:gd name="connsiteX361" fmla="*/ 164450 w 333375"/>
                  <a:gd name="connsiteY361" fmla="*/ 611068 h 819150"/>
                  <a:gd name="connsiteX362" fmla="*/ 160755 w 333375"/>
                  <a:gd name="connsiteY362" fmla="*/ 611068 h 819150"/>
                  <a:gd name="connsiteX363" fmla="*/ 160755 w 333375"/>
                  <a:gd name="connsiteY363" fmla="*/ 607373 h 819150"/>
                  <a:gd name="connsiteX364" fmla="*/ 160755 w 333375"/>
                  <a:gd name="connsiteY364" fmla="*/ 603686 h 819150"/>
                  <a:gd name="connsiteX365" fmla="*/ 160755 w 333375"/>
                  <a:gd name="connsiteY365" fmla="*/ 600000 h 819150"/>
                  <a:gd name="connsiteX366" fmla="*/ 160755 w 333375"/>
                  <a:gd name="connsiteY366" fmla="*/ 592618 h 819150"/>
                  <a:gd name="connsiteX367" fmla="*/ 157069 w 333375"/>
                  <a:gd name="connsiteY367" fmla="*/ 588923 h 819150"/>
                  <a:gd name="connsiteX368" fmla="*/ 153382 w 333375"/>
                  <a:gd name="connsiteY368" fmla="*/ 581541 h 819150"/>
                  <a:gd name="connsiteX369" fmla="*/ 157069 w 333375"/>
                  <a:gd name="connsiteY369" fmla="*/ 581541 h 819150"/>
                  <a:gd name="connsiteX370" fmla="*/ 164450 w 333375"/>
                  <a:gd name="connsiteY370" fmla="*/ 581541 h 819150"/>
                  <a:gd name="connsiteX371" fmla="*/ 168137 w 333375"/>
                  <a:gd name="connsiteY371" fmla="*/ 581541 h 819150"/>
                  <a:gd name="connsiteX372" fmla="*/ 168137 w 333375"/>
                  <a:gd name="connsiteY372" fmla="*/ 577854 h 819150"/>
                  <a:gd name="connsiteX373" fmla="*/ 175518 w 333375"/>
                  <a:gd name="connsiteY373" fmla="*/ 574159 h 819150"/>
                  <a:gd name="connsiteX374" fmla="*/ 179205 w 333375"/>
                  <a:gd name="connsiteY374" fmla="*/ 570473 h 819150"/>
                  <a:gd name="connsiteX375" fmla="*/ 179205 w 333375"/>
                  <a:gd name="connsiteY375" fmla="*/ 574159 h 819150"/>
                  <a:gd name="connsiteX376" fmla="*/ 186587 w 333375"/>
                  <a:gd name="connsiteY376" fmla="*/ 585236 h 819150"/>
                  <a:gd name="connsiteX377" fmla="*/ 190273 w 333375"/>
                  <a:gd name="connsiteY377" fmla="*/ 592618 h 819150"/>
                  <a:gd name="connsiteX378" fmla="*/ 190273 w 333375"/>
                  <a:gd name="connsiteY378" fmla="*/ 596304 h 819150"/>
                  <a:gd name="connsiteX379" fmla="*/ 193959 w 333375"/>
                  <a:gd name="connsiteY379" fmla="*/ 592618 h 819150"/>
                  <a:gd name="connsiteX380" fmla="*/ 197655 w 333375"/>
                  <a:gd name="connsiteY380" fmla="*/ 592618 h 819150"/>
                  <a:gd name="connsiteX381" fmla="*/ 197655 w 333375"/>
                  <a:gd name="connsiteY381" fmla="*/ 596304 h 819150"/>
                  <a:gd name="connsiteX382" fmla="*/ 201341 w 333375"/>
                  <a:gd name="connsiteY382" fmla="*/ 596304 h 819150"/>
                  <a:gd name="connsiteX383" fmla="*/ 201341 w 333375"/>
                  <a:gd name="connsiteY383" fmla="*/ 592618 h 819150"/>
                  <a:gd name="connsiteX384" fmla="*/ 205027 w 333375"/>
                  <a:gd name="connsiteY384" fmla="*/ 588923 h 819150"/>
                  <a:gd name="connsiteX385" fmla="*/ 205027 w 333375"/>
                  <a:gd name="connsiteY385" fmla="*/ 585236 h 819150"/>
                  <a:gd name="connsiteX386" fmla="*/ 208723 w 333375"/>
                  <a:gd name="connsiteY386" fmla="*/ 581541 h 819150"/>
                  <a:gd name="connsiteX387" fmla="*/ 208723 w 333375"/>
                  <a:gd name="connsiteY387" fmla="*/ 577854 h 819150"/>
                  <a:gd name="connsiteX388" fmla="*/ 208723 w 333375"/>
                  <a:gd name="connsiteY388" fmla="*/ 574159 h 819150"/>
                  <a:gd name="connsiteX389" fmla="*/ 212409 w 333375"/>
                  <a:gd name="connsiteY389" fmla="*/ 570473 h 819150"/>
                  <a:gd name="connsiteX390" fmla="*/ 212409 w 333375"/>
                  <a:gd name="connsiteY390" fmla="*/ 566777 h 819150"/>
                  <a:gd name="connsiteX391" fmla="*/ 216095 w 333375"/>
                  <a:gd name="connsiteY391" fmla="*/ 563091 h 819150"/>
                  <a:gd name="connsiteX392" fmla="*/ 216095 w 333375"/>
                  <a:gd name="connsiteY392" fmla="*/ 559395 h 819150"/>
                  <a:gd name="connsiteX393" fmla="*/ 219791 w 333375"/>
                  <a:gd name="connsiteY393" fmla="*/ 555709 h 819150"/>
                  <a:gd name="connsiteX394" fmla="*/ 227163 w 333375"/>
                  <a:gd name="connsiteY394" fmla="*/ 552023 h 819150"/>
                  <a:gd name="connsiteX395" fmla="*/ 230859 w 333375"/>
                  <a:gd name="connsiteY395" fmla="*/ 548327 h 819150"/>
                  <a:gd name="connsiteX396" fmla="*/ 238231 w 333375"/>
                  <a:gd name="connsiteY396" fmla="*/ 544641 h 819150"/>
                  <a:gd name="connsiteX397" fmla="*/ 241917 w 333375"/>
                  <a:gd name="connsiteY397" fmla="*/ 544641 h 819150"/>
                  <a:gd name="connsiteX398" fmla="*/ 245613 w 333375"/>
                  <a:gd name="connsiteY398" fmla="*/ 540945 h 819150"/>
                  <a:gd name="connsiteX399" fmla="*/ 249299 w 333375"/>
                  <a:gd name="connsiteY399" fmla="*/ 537259 h 819150"/>
                  <a:gd name="connsiteX400" fmla="*/ 249299 w 333375"/>
                  <a:gd name="connsiteY400" fmla="*/ 533563 h 819150"/>
                  <a:gd name="connsiteX401" fmla="*/ 252985 w 333375"/>
                  <a:gd name="connsiteY401" fmla="*/ 529877 h 819150"/>
                  <a:gd name="connsiteX402" fmla="*/ 256681 w 333375"/>
                  <a:gd name="connsiteY402" fmla="*/ 529877 h 819150"/>
                  <a:gd name="connsiteX403" fmla="*/ 260367 w 333375"/>
                  <a:gd name="connsiteY403" fmla="*/ 529877 h 819150"/>
                  <a:gd name="connsiteX404" fmla="*/ 264053 w 333375"/>
                  <a:gd name="connsiteY404" fmla="*/ 526181 h 819150"/>
                  <a:gd name="connsiteX405" fmla="*/ 264053 w 333375"/>
                  <a:gd name="connsiteY405" fmla="*/ 522495 h 819150"/>
                  <a:gd name="connsiteX406" fmla="*/ 264053 w 333375"/>
                  <a:gd name="connsiteY406" fmla="*/ 518799 h 819150"/>
                  <a:gd name="connsiteX407" fmla="*/ 267749 w 333375"/>
                  <a:gd name="connsiteY407" fmla="*/ 515113 h 819150"/>
                  <a:gd name="connsiteX408" fmla="*/ 271435 w 333375"/>
                  <a:gd name="connsiteY408" fmla="*/ 515113 h 819150"/>
                  <a:gd name="connsiteX409" fmla="*/ 275121 w 333375"/>
                  <a:gd name="connsiteY409" fmla="*/ 515113 h 819150"/>
                  <a:gd name="connsiteX410" fmla="*/ 278817 w 333375"/>
                  <a:gd name="connsiteY410" fmla="*/ 511427 h 819150"/>
                  <a:gd name="connsiteX411" fmla="*/ 282503 w 333375"/>
                  <a:gd name="connsiteY411" fmla="*/ 511427 h 819150"/>
                  <a:gd name="connsiteX412" fmla="*/ 282503 w 333375"/>
                  <a:gd name="connsiteY412" fmla="*/ 507731 h 819150"/>
                  <a:gd name="connsiteX413" fmla="*/ 289885 w 333375"/>
                  <a:gd name="connsiteY413" fmla="*/ 507731 h 819150"/>
                  <a:gd name="connsiteX414" fmla="*/ 293571 w 333375"/>
                  <a:gd name="connsiteY414" fmla="*/ 504045 h 819150"/>
                  <a:gd name="connsiteX415" fmla="*/ 297258 w 333375"/>
                  <a:gd name="connsiteY415" fmla="*/ 504045 h 819150"/>
                  <a:gd name="connsiteX416" fmla="*/ 304639 w 333375"/>
                  <a:gd name="connsiteY416" fmla="*/ 504045 h 819150"/>
                  <a:gd name="connsiteX417" fmla="*/ 300944 w 333375"/>
                  <a:gd name="connsiteY417" fmla="*/ 500350 h 819150"/>
                  <a:gd name="connsiteX418" fmla="*/ 304639 w 333375"/>
                  <a:gd name="connsiteY418" fmla="*/ 500350 h 819150"/>
                  <a:gd name="connsiteX419" fmla="*/ 308326 w 333375"/>
                  <a:gd name="connsiteY419" fmla="*/ 496663 h 819150"/>
                  <a:gd name="connsiteX420" fmla="*/ 293571 w 333375"/>
                  <a:gd name="connsiteY420" fmla="*/ 485586 h 819150"/>
                  <a:gd name="connsiteX421" fmla="*/ 289885 w 333375"/>
                  <a:gd name="connsiteY421" fmla="*/ 485586 h 819150"/>
                  <a:gd name="connsiteX422" fmla="*/ 312012 w 333375"/>
                  <a:gd name="connsiteY422" fmla="*/ 474518 h 819150"/>
                  <a:gd name="connsiteX423" fmla="*/ 304639 w 333375"/>
                  <a:gd name="connsiteY423" fmla="*/ 467136 h 819150"/>
                  <a:gd name="connsiteX424" fmla="*/ 282503 w 333375"/>
                  <a:gd name="connsiteY424" fmla="*/ 478204 h 819150"/>
                  <a:gd name="connsiteX425" fmla="*/ 278817 w 333375"/>
                  <a:gd name="connsiteY425" fmla="*/ 481900 h 819150"/>
                  <a:gd name="connsiteX426" fmla="*/ 275121 w 333375"/>
                  <a:gd name="connsiteY426" fmla="*/ 485586 h 819150"/>
                  <a:gd name="connsiteX427" fmla="*/ 271435 w 333375"/>
                  <a:gd name="connsiteY427" fmla="*/ 485586 h 819150"/>
                  <a:gd name="connsiteX428" fmla="*/ 267749 w 333375"/>
                  <a:gd name="connsiteY428" fmla="*/ 485586 h 819150"/>
                  <a:gd name="connsiteX429" fmla="*/ 260367 w 333375"/>
                  <a:gd name="connsiteY429" fmla="*/ 485586 h 819150"/>
                  <a:gd name="connsiteX430" fmla="*/ 260367 w 333375"/>
                  <a:gd name="connsiteY430" fmla="*/ 481900 h 819150"/>
                  <a:gd name="connsiteX431" fmla="*/ 256681 w 333375"/>
                  <a:gd name="connsiteY431" fmla="*/ 478204 h 819150"/>
                  <a:gd name="connsiteX432" fmla="*/ 256681 w 333375"/>
                  <a:gd name="connsiteY432" fmla="*/ 452372 h 819150"/>
                  <a:gd name="connsiteX433" fmla="*/ 252985 w 333375"/>
                  <a:gd name="connsiteY433" fmla="*/ 448686 h 819150"/>
                  <a:gd name="connsiteX434" fmla="*/ 256681 w 333375"/>
                  <a:gd name="connsiteY434" fmla="*/ 444990 h 819150"/>
                  <a:gd name="connsiteX435" fmla="*/ 264053 w 333375"/>
                  <a:gd name="connsiteY435" fmla="*/ 444990 h 819150"/>
                  <a:gd name="connsiteX436" fmla="*/ 256681 w 333375"/>
                  <a:gd name="connsiteY436" fmla="*/ 430227 h 819150"/>
                  <a:gd name="connsiteX437" fmla="*/ 264053 w 333375"/>
                  <a:gd name="connsiteY437" fmla="*/ 426540 h 819150"/>
                  <a:gd name="connsiteX438" fmla="*/ 267749 w 333375"/>
                  <a:gd name="connsiteY438" fmla="*/ 419158 h 819150"/>
                  <a:gd name="connsiteX439" fmla="*/ 282503 w 333375"/>
                  <a:gd name="connsiteY439" fmla="*/ 404395 h 819150"/>
                  <a:gd name="connsiteX440" fmla="*/ 282503 w 333375"/>
                  <a:gd name="connsiteY440" fmla="*/ 400709 h 819150"/>
                  <a:gd name="connsiteX441" fmla="*/ 286189 w 333375"/>
                  <a:gd name="connsiteY441" fmla="*/ 397013 h 819150"/>
                  <a:gd name="connsiteX442" fmla="*/ 293571 w 333375"/>
                  <a:gd name="connsiteY442" fmla="*/ 385945 h 819150"/>
                  <a:gd name="connsiteX443" fmla="*/ 297258 w 333375"/>
                  <a:gd name="connsiteY443" fmla="*/ 378563 h 819150"/>
                  <a:gd name="connsiteX444" fmla="*/ 297258 w 333375"/>
                  <a:gd name="connsiteY444" fmla="*/ 374867 h 819150"/>
                  <a:gd name="connsiteX445" fmla="*/ 300944 w 333375"/>
                  <a:gd name="connsiteY445" fmla="*/ 371181 h 819150"/>
                  <a:gd name="connsiteX446" fmla="*/ 300944 w 333375"/>
                  <a:gd name="connsiteY446" fmla="*/ 367495 h 819150"/>
                  <a:gd name="connsiteX447" fmla="*/ 300944 w 333375"/>
                  <a:gd name="connsiteY447" fmla="*/ 363799 h 819150"/>
                  <a:gd name="connsiteX448" fmla="*/ 304639 w 333375"/>
                  <a:gd name="connsiteY448" fmla="*/ 360113 h 819150"/>
                  <a:gd name="connsiteX449" fmla="*/ 304639 w 333375"/>
                  <a:gd name="connsiteY449" fmla="*/ 356417 h 819150"/>
                  <a:gd name="connsiteX450" fmla="*/ 308326 w 333375"/>
                  <a:gd name="connsiteY450" fmla="*/ 356417 h 819150"/>
                  <a:gd name="connsiteX451" fmla="*/ 312012 w 333375"/>
                  <a:gd name="connsiteY451" fmla="*/ 356417 h 819150"/>
                  <a:gd name="connsiteX452" fmla="*/ 315707 w 333375"/>
                  <a:gd name="connsiteY452" fmla="*/ 356417 h 819150"/>
                  <a:gd name="connsiteX453" fmla="*/ 315707 w 333375"/>
                  <a:gd name="connsiteY453" fmla="*/ 352731 h 819150"/>
                  <a:gd name="connsiteX454" fmla="*/ 334148 w 333375"/>
                  <a:gd name="connsiteY454" fmla="*/ 334272 h 819150"/>
                  <a:gd name="connsiteX455" fmla="*/ 330462 w 333375"/>
                  <a:gd name="connsiteY455" fmla="*/ 323204 h 819150"/>
                  <a:gd name="connsiteX456" fmla="*/ 326775 w 333375"/>
                  <a:gd name="connsiteY456" fmla="*/ 315822 h 819150"/>
                  <a:gd name="connsiteX457" fmla="*/ 326775 w 333375"/>
                  <a:gd name="connsiteY457" fmla="*/ 312136 h 819150"/>
                  <a:gd name="connsiteX458" fmla="*/ 330462 w 333375"/>
                  <a:gd name="connsiteY458" fmla="*/ 308440 h 819150"/>
                  <a:gd name="connsiteX459" fmla="*/ 334148 w 333375"/>
                  <a:gd name="connsiteY459" fmla="*/ 304754 h 819150"/>
                  <a:gd name="connsiteX460" fmla="*/ 323080 w 333375"/>
                  <a:gd name="connsiteY460" fmla="*/ 304754 h 819150"/>
                  <a:gd name="connsiteX461" fmla="*/ 323080 w 333375"/>
                  <a:gd name="connsiteY461" fmla="*/ 301058 h 819150"/>
                  <a:gd name="connsiteX462" fmla="*/ 326775 w 333375"/>
                  <a:gd name="connsiteY462" fmla="*/ 278912 h 819150"/>
                  <a:gd name="connsiteX463" fmla="*/ 326775 w 333375"/>
                  <a:gd name="connsiteY463" fmla="*/ 267844 h 819150"/>
                  <a:gd name="connsiteX464" fmla="*/ 330462 w 333375"/>
                  <a:gd name="connsiteY464" fmla="*/ 267844 h 819150"/>
                  <a:gd name="connsiteX465" fmla="*/ 326775 w 333375"/>
                  <a:gd name="connsiteY465" fmla="*/ 260462 h 819150"/>
                  <a:gd name="connsiteX466" fmla="*/ 330462 w 333375"/>
                  <a:gd name="connsiteY466" fmla="*/ 256776 h 819150"/>
                  <a:gd name="connsiteX467" fmla="*/ 330462 w 333375"/>
                  <a:gd name="connsiteY467" fmla="*/ 245699 h 819150"/>
                  <a:gd name="connsiteX468" fmla="*/ 326775 w 333375"/>
                  <a:gd name="connsiteY468" fmla="*/ 238317 h 819150"/>
                  <a:gd name="connsiteX469" fmla="*/ 323080 w 333375"/>
                  <a:gd name="connsiteY469" fmla="*/ 230935 h 819150"/>
                  <a:gd name="connsiteX470" fmla="*/ 326775 w 333375"/>
                  <a:gd name="connsiteY470" fmla="*/ 223563 h 819150"/>
                  <a:gd name="connsiteX471" fmla="*/ 323080 w 333375"/>
                  <a:gd name="connsiteY471" fmla="*/ 219867 h 819150"/>
                  <a:gd name="connsiteX472" fmla="*/ 323080 w 333375"/>
                  <a:gd name="connsiteY472" fmla="*/ 212485 h 819150"/>
                  <a:gd name="connsiteX473" fmla="*/ 323080 w 333375"/>
                  <a:gd name="connsiteY473" fmla="*/ 208799 h 819150"/>
                  <a:gd name="connsiteX474" fmla="*/ 319394 w 333375"/>
                  <a:gd name="connsiteY474" fmla="*/ 201417 h 819150"/>
                  <a:gd name="connsiteX475" fmla="*/ 312012 w 333375"/>
                  <a:gd name="connsiteY475" fmla="*/ 197721 h 819150"/>
                  <a:gd name="connsiteX476" fmla="*/ 304639 w 333375"/>
                  <a:gd name="connsiteY476" fmla="*/ 194035 h 819150"/>
                  <a:gd name="connsiteX477" fmla="*/ 297258 w 333375"/>
                  <a:gd name="connsiteY477" fmla="*/ 171890 h 819150"/>
                  <a:gd name="connsiteX478" fmla="*/ 289885 w 333375"/>
                  <a:gd name="connsiteY478" fmla="*/ 168203 h 819150"/>
                  <a:gd name="connsiteX479" fmla="*/ 286189 w 333375"/>
                  <a:gd name="connsiteY479" fmla="*/ 164508 h 819150"/>
                  <a:gd name="connsiteX480" fmla="*/ 282503 w 333375"/>
                  <a:gd name="connsiteY480" fmla="*/ 160821 h 819150"/>
                  <a:gd name="connsiteX481" fmla="*/ 278817 w 333375"/>
                  <a:gd name="connsiteY481" fmla="*/ 153439 h 819150"/>
                  <a:gd name="connsiteX482" fmla="*/ 278817 w 333375"/>
                  <a:gd name="connsiteY482" fmla="*/ 149744 h 819150"/>
                  <a:gd name="connsiteX483" fmla="*/ 275121 w 333375"/>
                  <a:gd name="connsiteY483" fmla="*/ 149744 h 819150"/>
                  <a:gd name="connsiteX484" fmla="*/ 264053 w 333375"/>
                  <a:gd name="connsiteY484" fmla="*/ 142362 h 819150"/>
                  <a:gd name="connsiteX485" fmla="*/ 264053 w 333375"/>
                  <a:gd name="connsiteY485" fmla="*/ 134980 h 819150"/>
                  <a:gd name="connsiteX486" fmla="*/ 264053 w 333375"/>
                  <a:gd name="connsiteY486" fmla="*/ 127608 h 819150"/>
                  <a:gd name="connsiteX487" fmla="*/ 267749 w 333375"/>
                  <a:gd name="connsiteY487" fmla="*/ 127608 h 819150"/>
                  <a:gd name="connsiteX488" fmla="*/ 267749 w 333375"/>
                  <a:gd name="connsiteY488" fmla="*/ 123912 h 819150"/>
                  <a:gd name="connsiteX489" fmla="*/ 271435 w 333375"/>
                  <a:gd name="connsiteY489" fmla="*/ 112844 h 819150"/>
                  <a:gd name="connsiteX490" fmla="*/ 271435 w 333375"/>
                  <a:gd name="connsiteY490" fmla="*/ 109148 h 819150"/>
                  <a:gd name="connsiteX491" fmla="*/ 275121 w 333375"/>
                  <a:gd name="connsiteY491" fmla="*/ 105462 h 819150"/>
                  <a:gd name="connsiteX492" fmla="*/ 275121 w 333375"/>
                  <a:gd name="connsiteY492" fmla="*/ 101766 h 819150"/>
                  <a:gd name="connsiteX493" fmla="*/ 267749 w 333375"/>
                  <a:gd name="connsiteY493" fmla="*/ 98080 h 819150"/>
                  <a:gd name="connsiteX494" fmla="*/ 264053 w 333375"/>
                  <a:gd name="connsiteY494" fmla="*/ 98080 h 819150"/>
                  <a:gd name="connsiteX495" fmla="*/ 260367 w 333375"/>
                  <a:gd name="connsiteY495" fmla="*/ 98080 h 819150"/>
                  <a:gd name="connsiteX496" fmla="*/ 260367 w 333375"/>
                  <a:gd name="connsiteY496" fmla="*/ 94384 h 819150"/>
                  <a:gd name="connsiteX497" fmla="*/ 256681 w 333375"/>
                  <a:gd name="connsiteY497" fmla="*/ 94384 h 819150"/>
                  <a:gd name="connsiteX498" fmla="*/ 252985 w 333375"/>
                  <a:gd name="connsiteY498" fmla="*/ 94384 h 819150"/>
                  <a:gd name="connsiteX499" fmla="*/ 234545 w 333375"/>
                  <a:gd name="connsiteY499" fmla="*/ 87003 h 819150"/>
                  <a:gd name="connsiteX500" fmla="*/ 230859 w 333375"/>
                  <a:gd name="connsiteY500" fmla="*/ 83316 h 819150"/>
                  <a:gd name="connsiteX501" fmla="*/ 230859 w 333375"/>
                  <a:gd name="connsiteY501" fmla="*/ 79630 h 819150"/>
                  <a:gd name="connsiteX502" fmla="*/ 230859 w 333375"/>
                  <a:gd name="connsiteY502" fmla="*/ 75935 h 819150"/>
                  <a:gd name="connsiteX503" fmla="*/ 234545 w 333375"/>
                  <a:gd name="connsiteY503" fmla="*/ 72248 h 819150"/>
                  <a:gd name="connsiteX504" fmla="*/ 230859 w 333375"/>
                  <a:gd name="connsiteY504" fmla="*/ 68553 h 819150"/>
                  <a:gd name="connsiteX505" fmla="*/ 230859 w 333375"/>
                  <a:gd name="connsiteY505" fmla="*/ 64867 h 819150"/>
                  <a:gd name="connsiteX506" fmla="*/ 230859 w 333375"/>
                  <a:gd name="connsiteY506" fmla="*/ 57485 h 819150"/>
                  <a:gd name="connsiteX507" fmla="*/ 234545 w 333375"/>
                  <a:gd name="connsiteY507" fmla="*/ 57485 h 819150"/>
                  <a:gd name="connsiteX508" fmla="*/ 238231 w 333375"/>
                  <a:gd name="connsiteY508" fmla="*/ 57485 h 819150"/>
                  <a:gd name="connsiteX509" fmla="*/ 238231 w 333375"/>
                  <a:gd name="connsiteY509" fmla="*/ 53789 h 819150"/>
                  <a:gd name="connsiteX510" fmla="*/ 234545 w 333375"/>
                  <a:gd name="connsiteY510" fmla="*/ 53789 h 819150"/>
                  <a:gd name="connsiteX511" fmla="*/ 234545 w 333375"/>
                  <a:gd name="connsiteY511" fmla="*/ 50103 h 819150"/>
                  <a:gd name="connsiteX512" fmla="*/ 234545 w 333375"/>
                  <a:gd name="connsiteY512" fmla="*/ 46407 h 819150"/>
                  <a:gd name="connsiteX513" fmla="*/ 230859 w 333375"/>
                  <a:gd name="connsiteY513" fmla="*/ 46407 h 819150"/>
                  <a:gd name="connsiteX514" fmla="*/ 219791 w 333375"/>
                  <a:gd name="connsiteY514" fmla="*/ 39025 h 819150"/>
                  <a:gd name="connsiteX515" fmla="*/ 216095 w 333375"/>
                  <a:gd name="connsiteY515" fmla="*/ 35339 h 819150"/>
                  <a:gd name="connsiteX516" fmla="*/ 208723 w 333375"/>
                  <a:gd name="connsiteY516" fmla="*/ 35339 h 819150"/>
                  <a:gd name="connsiteX517" fmla="*/ 205027 w 333375"/>
                  <a:gd name="connsiteY517" fmla="*/ 35339 h 819150"/>
                  <a:gd name="connsiteX518" fmla="*/ 193959 w 333375"/>
                  <a:gd name="connsiteY518" fmla="*/ 35339 h 819150"/>
                  <a:gd name="connsiteX519" fmla="*/ 193959 w 333375"/>
                  <a:gd name="connsiteY519" fmla="*/ 31653 h 819150"/>
                  <a:gd name="connsiteX520" fmla="*/ 190273 w 333375"/>
                  <a:gd name="connsiteY520" fmla="*/ 35339 h 819150"/>
                  <a:gd name="connsiteX521" fmla="*/ 186587 w 333375"/>
                  <a:gd name="connsiteY521" fmla="*/ 35339 h 819150"/>
                  <a:gd name="connsiteX522" fmla="*/ 182891 w 333375"/>
                  <a:gd name="connsiteY522" fmla="*/ 31653 h 819150"/>
                  <a:gd name="connsiteX523" fmla="*/ 182891 w 333375"/>
                  <a:gd name="connsiteY523" fmla="*/ 27957 h 819150"/>
                  <a:gd name="connsiteX524" fmla="*/ 179205 w 333375"/>
                  <a:gd name="connsiteY524" fmla="*/ 27957 h 819150"/>
                  <a:gd name="connsiteX525" fmla="*/ 175518 w 333375"/>
                  <a:gd name="connsiteY525" fmla="*/ 24271 h 819150"/>
                  <a:gd name="connsiteX526" fmla="*/ 175518 w 333375"/>
                  <a:gd name="connsiteY526" fmla="*/ 20575 h 819150"/>
                  <a:gd name="connsiteX527" fmla="*/ 171823 w 333375"/>
                  <a:gd name="connsiteY527" fmla="*/ 16889 h 819150"/>
                  <a:gd name="connsiteX528" fmla="*/ 171823 w 333375"/>
                  <a:gd name="connsiteY528" fmla="*/ 13193 h 819150"/>
                  <a:gd name="connsiteX529" fmla="*/ 168137 w 333375"/>
                  <a:gd name="connsiteY529" fmla="*/ 9507 h 819150"/>
                  <a:gd name="connsiteX530" fmla="*/ 164450 w 333375"/>
                  <a:gd name="connsiteY530" fmla="*/ 5812 h 819150"/>
                  <a:gd name="connsiteX531" fmla="*/ 160755 w 333375"/>
                  <a:gd name="connsiteY531" fmla="*/ 5812 h 819150"/>
                  <a:gd name="connsiteX532" fmla="*/ 153382 w 333375"/>
                  <a:gd name="connsiteY532" fmla="*/ 5812 h 819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Lst>
                <a:rect l="l" t="t" r="r" b="b"/>
                <a:pathLst>
                  <a:path w="333375" h="819150">
                    <a:moveTo>
                      <a:pt x="153382" y="5812"/>
                    </a:moveTo>
                    <a:lnTo>
                      <a:pt x="149696" y="9507"/>
                    </a:lnTo>
                    <a:lnTo>
                      <a:pt x="153382" y="13193"/>
                    </a:lnTo>
                    <a:lnTo>
                      <a:pt x="153382" y="16889"/>
                    </a:lnTo>
                    <a:lnTo>
                      <a:pt x="153382" y="20575"/>
                    </a:lnTo>
                    <a:lnTo>
                      <a:pt x="149696" y="20575"/>
                    </a:lnTo>
                    <a:lnTo>
                      <a:pt x="153382" y="24271"/>
                    </a:lnTo>
                    <a:lnTo>
                      <a:pt x="157069" y="24271"/>
                    </a:lnTo>
                    <a:lnTo>
                      <a:pt x="157069" y="27957"/>
                    </a:lnTo>
                    <a:lnTo>
                      <a:pt x="157069" y="31653"/>
                    </a:lnTo>
                    <a:lnTo>
                      <a:pt x="160755" y="39025"/>
                    </a:lnTo>
                    <a:lnTo>
                      <a:pt x="160755" y="46407"/>
                    </a:lnTo>
                    <a:lnTo>
                      <a:pt x="164450" y="50103"/>
                    </a:lnTo>
                    <a:lnTo>
                      <a:pt x="171823" y="50103"/>
                    </a:lnTo>
                    <a:lnTo>
                      <a:pt x="179205" y="53789"/>
                    </a:lnTo>
                    <a:lnTo>
                      <a:pt x="186587" y="53789"/>
                    </a:lnTo>
                    <a:lnTo>
                      <a:pt x="190273" y="57485"/>
                    </a:lnTo>
                    <a:lnTo>
                      <a:pt x="193959" y="57485"/>
                    </a:lnTo>
                    <a:lnTo>
                      <a:pt x="197655" y="68553"/>
                    </a:lnTo>
                    <a:lnTo>
                      <a:pt x="197655" y="75935"/>
                    </a:lnTo>
                    <a:lnTo>
                      <a:pt x="197655" y="79630"/>
                    </a:lnTo>
                    <a:lnTo>
                      <a:pt x="201341" y="79630"/>
                    </a:lnTo>
                    <a:lnTo>
                      <a:pt x="201341" y="87003"/>
                    </a:lnTo>
                    <a:lnTo>
                      <a:pt x="201341" y="90698"/>
                    </a:lnTo>
                    <a:lnTo>
                      <a:pt x="201341" y="94384"/>
                    </a:lnTo>
                    <a:lnTo>
                      <a:pt x="201341" y="105462"/>
                    </a:lnTo>
                    <a:lnTo>
                      <a:pt x="205027" y="109148"/>
                    </a:lnTo>
                    <a:lnTo>
                      <a:pt x="205027" y="112844"/>
                    </a:lnTo>
                    <a:lnTo>
                      <a:pt x="216095" y="116530"/>
                    </a:lnTo>
                    <a:lnTo>
                      <a:pt x="219791" y="120226"/>
                    </a:lnTo>
                    <a:lnTo>
                      <a:pt x="223477" y="123912"/>
                    </a:lnTo>
                    <a:lnTo>
                      <a:pt x="227163" y="127608"/>
                    </a:lnTo>
                    <a:lnTo>
                      <a:pt x="227163" y="131294"/>
                    </a:lnTo>
                    <a:lnTo>
                      <a:pt x="230859" y="134980"/>
                    </a:lnTo>
                    <a:lnTo>
                      <a:pt x="230859" y="146058"/>
                    </a:lnTo>
                    <a:lnTo>
                      <a:pt x="230859" y="149744"/>
                    </a:lnTo>
                    <a:lnTo>
                      <a:pt x="234545" y="153439"/>
                    </a:lnTo>
                    <a:lnTo>
                      <a:pt x="238231" y="160821"/>
                    </a:lnTo>
                    <a:lnTo>
                      <a:pt x="238231" y="164508"/>
                    </a:lnTo>
                    <a:lnTo>
                      <a:pt x="238231" y="168203"/>
                    </a:lnTo>
                    <a:lnTo>
                      <a:pt x="238231" y="171890"/>
                    </a:lnTo>
                    <a:lnTo>
                      <a:pt x="238231" y="175585"/>
                    </a:lnTo>
                    <a:lnTo>
                      <a:pt x="241917" y="179271"/>
                    </a:lnTo>
                    <a:lnTo>
                      <a:pt x="238231" y="179271"/>
                    </a:lnTo>
                    <a:lnTo>
                      <a:pt x="234545" y="179271"/>
                    </a:lnTo>
                    <a:lnTo>
                      <a:pt x="234545" y="182957"/>
                    </a:lnTo>
                    <a:lnTo>
                      <a:pt x="227163" y="175585"/>
                    </a:lnTo>
                    <a:lnTo>
                      <a:pt x="223477" y="171890"/>
                    </a:lnTo>
                    <a:lnTo>
                      <a:pt x="219791" y="171890"/>
                    </a:lnTo>
                    <a:lnTo>
                      <a:pt x="219791" y="168203"/>
                    </a:lnTo>
                    <a:lnTo>
                      <a:pt x="212409" y="171890"/>
                    </a:lnTo>
                    <a:lnTo>
                      <a:pt x="205027" y="175585"/>
                    </a:lnTo>
                    <a:lnTo>
                      <a:pt x="193959" y="179271"/>
                    </a:lnTo>
                    <a:lnTo>
                      <a:pt x="186587" y="182957"/>
                    </a:lnTo>
                    <a:lnTo>
                      <a:pt x="179205" y="182957"/>
                    </a:lnTo>
                    <a:lnTo>
                      <a:pt x="171823" y="182957"/>
                    </a:lnTo>
                    <a:lnTo>
                      <a:pt x="164450" y="179271"/>
                    </a:lnTo>
                    <a:lnTo>
                      <a:pt x="153382" y="175585"/>
                    </a:lnTo>
                    <a:lnTo>
                      <a:pt x="138628" y="171890"/>
                    </a:lnTo>
                    <a:lnTo>
                      <a:pt x="142314" y="205103"/>
                    </a:lnTo>
                    <a:lnTo>
                      <a:pt x="146000" y="216181"/>
                    </a:lnTo>
                    <a:lnTo>
                      <a:pt x="146000" y="223563"/>
                    </a:lnTo>
                    <a:lnTo>
                      <a:pt x="149696" y="230935"/>
                    </a:lnTo>
                    <a:lnTo>
                      <a:pt x="157069" y="264158"/>
                    </a:lnTo>
                    <a:lnTo>
                      <a:pt x="157069" y="267844"/>
                    </a:lnTo>
                    <a:lnTo>
                      <a:pt x="171823" y="293676"/>
                    </a:lnTo>
                    <a:lnTo>
                      <a:pt x="179205" y="308440"/>
                    </a:lnTo>
                    <a:lnTo>
                      <a:pt x="186587" y="319517"/>
                    </a:lnTo>
                    <a:lnTo>
                      <a:pt x="179205" y="323204"/>
                    </a:lnTo>
                    <a:lnTo>
                      <a:pt x="168137" y="334272"/>
                    </a:lnTo>
                    <a:lnTo>
                      <a:pt x="160755" y="341654"/>
                    </a:lnTo>
                    <a:lnTo>
                      <a:pt x="157069" y="341654"/>
                    </a:lnTo>
                    <a:lnTo>
                      <a:pt x="153382" y="345349"/>
                    </a:lnTo>
                    <a:lnTo>
                      <a:pt x="149696" y="345349"/>
                    </a:lnTo>
                    <a:lnTo>
                      <a:pt x="138628" y="349035"/>
                    </a:lnTo>
                    <a:lnTo>
                      <a:pt x="109110" y="356417"/>
                    </a:lnTo>
                    <a:lnTo>
                      <a:pt x="105424" y="360113"/>
                    </a:lnTo>
                    <a:lnTo>
                      <a:pt x="101728" y="360113"/>
                    </a:lnTo>
                    <a:lnTo>
                      <a:pt x="94356" y="363799"/>
                    </a:lnTo>
                    <a:lnTo>
                      <a:pt x="75906" y="367495"/>
                    </a:lnTo>
                    <a:lnTo>
                      <a:pt x="72220" y="367495"/>
                    </a:lnTo>
                    <a:lnTo>
                      <a:pt x="57466" y="374867"/>
                    </a:lnTo>
                    <a:lnTo>
                      <a:pt x="46398" y="385945"/>
                    </a:lnTo>
                    <a:lnTo>
                      <a:pt x="42702" y="393327"/>
                    </a:lnTo>
                    <a:lnTo>
                      <a:pt x="35330" y="408090"/>
                    </a:lnTo>
                    <a:lnTo>
                      <a:pt x="31634" y="426540"/>
                    </a:lnTo>
                    <a:lnTo>
                      <a:pt x="31634" y="441304"/>
                    </a:lnTo>
                    <a:lnTo>
                      <a:pt x="20566" y="444990"/>
                    </a:lnTo>
                    <a:lnTo>
                      <a:pt x="16880" y="444990"/>
                    </a:lnTo>
                    <a:lnTo>
                      <a:pt x="5812" y="448686"/>
                    </a:lnTo>
                    <a:lnTo>
                      <a:pt x="13193" y="452372"/>
                    </a:lnTo>
                    <a:lnTo>
                      <a:pt x="42702" y="463450"/>
                    </a:lnTo>
                    <a:lnTo>
                      <a:pt x="46398" y="467136"/>
                    </a:lnTo>
                    <a:lnTo>
                      <a:pt x="46398" y="470822"/>
                    </a:lnTo>
                    <a:lnTo>
                      <a:pt x="50084" y="478204"/>
                    </a:lnTo>
                    <a:lnTo>
                      <a:pt x="53770" y="474518"/>
                    </a:lnTo>
                    <a:lnTo>
                      <a:pt x="57466" y="478204"/>
                    </a:lnTo>
                    <a:lnTo>
                      <a:pt x="61152" y="478204"/>
                    </a:lnTo>
                    <a:lnTo>
                      <a:pt x="64838" y="478204"/>
                    </a:lnTo>
                    <a:lnTo>
                      <a:pt x="72220" y="478204"/>
                    </a:lnTo>
                    <a:lnTo>
                      <a:pt x="75906" y="478204"/>
                    </a:lnTo>
                    <a:lnTo>
                      <a:pt x="79602" y="478204"/>
                    </a:lnTo>
                    <a:lnTo>
                      <a:pt x="86974" y="478204"/>
                    </a:lnTo>
                    <a:lnTo>
                      <a:pt x="90660" y="474518"/>
                    </a:lnTo>
                    <a:lnTo>
                      <a:pt x="94356" y="474518"/>
                    </a:lnTo>
                    <a:lnTo>
                      <a:pt x="98042" y="478204"/>
                    </a:lnTo>
                    <a:lnTo>
                      <a:pt x="105424" y="478204"/>
                    </a:lnTo>
                    <a:lnTo>
                      <a:pt x="109110" y="481900"/>
                    </a:lnTo>
                    <a:lnTo>
                      <a:pt x="109110" y="485586"/>
                    </a:lnTo>
                    <a:lnTo>
                      <a:pt x="112796" y="485586"/>
                    </a:lnTo>
                    <a:lnTo>
                      <a:pt x="109110" y="489281"/>
                    </a:lnTo>
                    <a:lnTo>
                      <a:pt x="105424" y="489281"/>
                    </a:lnTo>
                    <a:lnTo>
                      <a:pt x="105424" y="492968"/>
                    </a:lnTo>
                    <a:lnTo>
                      <a:pt x="109110" y="492968"/>
                    </a:lnTo>
                    <a:lnTo>
                      <a:pt x="109110" y="496663"/>
                    </a:lnTo>
                    <a:lnTo>
                      <a:pt x="109110" y="500350"/>
                    </a:lnTo>
                    <a:lnTo>
                      <a:pt x="109110" y="504045"/>
                    </a:lnTo>
                    <a:lnTo>
                      <a:pt x="112796" y="504045"/>
                    </a:lnTo>
                    <a:lnTo>
                      <a:pt x="112796" y="500350"/>
                    </a:lnTo>
                    <a:lnTo>
                      <a:pt x="116492" y="500350"/>
                    </a:lnTo>
                    <a:lnTo>
                      <a:pt x="120178" y="500350"/>
                    </a:lnTo>
                    <a:lnTo>
                      <a:pt x="120178" y="496663"/>
                    </a:lnTo>
                    <a:lnTo>
                      <a:pt x="123864" y="496663"/>
                    </a:lnTo>
                    <a:lnTo>
                      <a:pt x="127560" y="496663"/>
                    </a:lnTo>
                    <a:lnTo>
                      <a:pt x="127560" y="492968"/>
                    </a:lnTo>
                    <a:lnTo>
                      <a:pt x="134933" y="489281"/>
                    </a:lnTo>
                    <a:lnTo>
                      <a:pt x="134933" y="492968"/>
                    </a:lnTo>
                    <a:lnTo>
                      <a:pt x="138628" y="492968"/>
                    </a:lnTo>
                    <a:lnTo>
                      <a:pt x="138628" y="500350"/>
                    </a:lnTo>
                    <a:lnTo>
                      <a:pt x="149696" y="507731"/>
                    </a:lnTo>
                    <a:lnTo>
                      <a:pt x="146000" y="511427"/>
                    </a:lnTo>
                    <a:lnTo>
                      <a:pt x="142314" y="515113"/>
                    </a:lnTo>
                    <a:lnTo>
                      <a:pt x="142314" y="518799"/>
                    </a:lnTo>
                    <a:lnTo>
                      <a:pt x="134933" y="522495"/>
                    </a:lnTo>
                    <a:lnTo>
                      <a:pt x="131246" y="522495"/>
                    </a:lnTo>
                    <a:lnTo>
                      <a:pt x="131246" y="526181"/>
                    </a:lnTo>
                    <a:lnTo>
                      <a:pt x="127560" y="529877"/>
                    </a:lnTo>
                    <a:lnTo>
                      <a:pt x="123864" y="533563"/>
                    </a:lnTo>
                    <a:lnTo>
                      <a:pt x="127560" y="537259"/>
                    </a:lnTo>
                    <a:lnTo>
                      <a:pt x="134933" y="537259"/>
                    </a:lnTo>
                    <a:lnTo>
                      <a:pt x="138628" y="540945"/>
                    </a:lnTo>
                    <a:lnTo>
                      <a:pt x="138628" y="544641"/>
                    </a:lnTo>
                    <a:lnTo>
                      <a:pt x="134933" y="548327"/>
                    </a:lnTo>
                    <a:lnTo>
                      <a:pt x="134933" y="552023"/>
                    </a:lnTo>
                    <a:lnTo>
                      <a:pt x="131246" y="552023"/>
                    </a:lnTo>
                    <a:lnTo>
                      <a:pt x="127560" y="548327"/>
                    </a:lnTo>
                    <a:lnTo>
                      <a:pt x="123864" y="548327"/>
                    </a:lnTo>
                    <a:lnTo>
                      <a:pt x="120178" y="548327"/>
                    </a:lnTo>
                    <a:lnTo>
                      <a:pt x="120178" y="552023"/>
                    </a:lnTo>
                    <a:lnTo>
                      <a:pt x="120178" y="555709"/>
                    </a:lnTo>
                    <a:lnTo>
                      <a:pt x="123864" y="559395"/>
                    </a:lnTo>
                    <a:lnTo>
                      <a:pt x="123864" y="563091"/>
                    </a:lnTo>
                    <a:lnTo>
                      <a:pt x="120178" y="563091"/>
                    </a:lnTo>
                    <a:lnTo>
                      <a:pt x="120178" y="566777"/>
                    </a:lnTo>
                    <a:lnTo>
                      <a:pt x="123864" y="574159"/>
                    </a:lnTo>
                    <a:lnTo>
                      <a:pt x="120178" y="574159"/>
                    </a:lnTo>
                    <a:lnTo>
                      <a:pt x="120178" y="577854"/>
                    </a:lnTo>
                    <a:lnTo>
                      <a:pt x="116492" y="577854"/>
                    </a:lnTo>
                    <a:lnTo>
                      <a:pt x="109110" y="574159"/>
                    </a:lnTo>
                    <a:lnTo>
                      <a:pt x="105424" y="585236"/>
                    </a:lnTo>
                    <a:lnTo>
                      <a:pt x="105424" y="592618"/>
                    </a:lnTo>
                    <a:lnTo>
                      <a:pt x="101728" y="596304"/>
                    </a:lnTo>
                    <a:lnTo>
                      <a:pt x="101728" y="600000"/>
                    </a:lnTo>
                    <a:lnTo>
                      <a:pt x="105424" y="600000"/>
                    </a:lnTo>
                    <a:lnTo>
                      <a:pt x="109110" y="603686"/>
                    </a:lnTo>
                    <a:lnTo>
                      <a:pt x="109110" y="607373"/>
                    </a:lnTo>
                    <a:lnTo>
                      <a:pt x="105424" y="614754"/>
                    </a:lnTo>
                    <a:lnTo>
                      <a:pt x="105424" y="618450"/>
                    </a:lnTo>
                    <a:lnTo>
                      <a:pt x="105424" y="622136"/>
                    </a:lnTo>
                    <a:lnTo>
                      <a:pt x="105424" y="625832"/>
                    </a:lnTo>
                    <a:lnTo>
                      <a:pt x="101728" y="629518"/>
                    </a:lnTo>
                    <a:lnTo>
                      <a:pt x="98042" y="633214"/>
                    </a:lnTo>
                    <a:lnTo>
                      <a:pt x="94356" y="640596"/>
                    </a:lnTo>
                    <a:lnTo>
                      <a:pt x="90660" y="640596"/>
                    </a:lnTo>
                    <a:lnTo>
                      <a:pt x="86974" y="647977"/>
                    </a:lnTo>
                    <a:lnTo>
                      <a:pt x="83288" y="655350"/>
                    </a:lnTo>
                    <a:lnTo>
                      <a:pt x="83288" y="659046"/>
                    </a:lnTo>
                    <a:lnTo>
                      <a:pt x="86974" y="659046"/>
                    </a:lnTo>
                    <a:lnTo>
                      <a:pt x="90660" y="659046"/>
                    </a:lnTo>
                    <a:lnTo>
                      <a:pt x="94356" y="655350"/>
                    </a:lnTo>
                    <a:lnTo>
                      <a:pt x="98042" y="655350"/>
                    </a:lnTo>
                    <a:lnTo>
                      <a:pt x="101728" y="659046"/>
                    </a:lnTo>
                    <a:lnTo>
                      <a:pt x="101728" y="662732"/>
                    </a:lnTo>
                    <a:lnTo>
                      <a:pt x="94356" y="666428"/>
                    </a:lnTo>
                    <a:lnTo>
                      <a:pt x="94356" y="670114"/>
                    </a:lnTo>
                    <a:lnTo>
                      <a:pt x="94356" y="673809"/>
                    </a:lnTo>
                    <a:lnTo>
                      <a:pt x="86974" y="681191"/>
                    </a:lnTo>
                    <a:lnTo>
                      <a:pt x="86974" y="684877"/>
                    </a:lnTo>
                    <a:lnTo>
                      <a:pt x="83288" y="688573"/>
                    </a:lnTo>
                    <a:lnTo>
                      <a:pt x="86974" y="692259"/>
                    </a:lnTo>
                    <a:lnTo>
                      <a:pt x="83288" y="695955"/>
                    </a:lnTo>
                    <a:lnTo>
                      <a:pt x="79602" y="695955"/>
                    </a:lnTo>
                    <a:lnTo>
                      <a:pt x="75906" y="695955"/>
                    </a:lnTo>
                    <a:lnTo>
                      <a:pt x="72220" y="695955"/>
                    </a:lnTo>
                    <a:lnTo>
                      <a:pt x="68534" y="699641"/>
                    </a:lnTo>
                    <a:lnTo>
                      <a:pt x="68534" y="703327"/>
                    </a:lnTo>
                    <a:lnTo>
                      <a:pt x="68534" y="707023"/>
                    </a:lnTo>
                    <a:lnTo>
                      <a:pt x="61152" y="714405"/>
                    </a:lnTo>
                    <a:lnTo>
                      <a:pt x="61152" y="718091"/>
                    </a:lnTo>
                    <a:lnTo>
                      <a:pt x="57466" y="718091"/>
                    </a:lnTo>
                    <a:lnTo>
                      <a:pt x="53770" y="721787"/>
                    </a:lnTo>
                    <a:lnTo>
                      <a:pt x="50084" y="721787"/>
                    </a:lnTo>
                    <a:lnTo>
                      <a:pt x="50084" y="725473"/>
                    </a:lnTo>
                    <a:lnTo>
                      <a:pt x="46398" y="725473"/>
                    </a:lnTo>
                    <a:lnTo>
                      <a:pt x="42702" y="725473"/>
                    </a:lnTo>
                    <a:lnTo>
                      <a:pt x="46398" y="729169"/>
                    </a:lnTo>
                    <a:lnTo>
                      <a:pt x="42702" y="732855"/>
                    </a:lnTo>
                    <a:lnTo>
                      <a:pt x="42702" y="736551"/>
                    </a:lnTo>
                    <a:lnTo>
                      <a:pt x="42702" y="740237"/>
                    </a:lnTo>
                    <a:lnTo>
                      <a:pt x="42702" y="743932"/>
                    </a:lnTo>
                    <a:lnTo>
                      <a:pt x="42702" y="747619"/>
                    </a:lnTo>
                    <a:lnTo>
                      <a:pt x="42702" y="751305"/>
                    </a:lnTo>
                    <a:lnTo>
                      <a:pt x="42702" y="755000"/>
                    </a:lnTo>
                    <a:lnTo>
                      <a:pt x="46398" y="755000"/>
                    </a:lnTo>
                    <a:lnTo>
                      <a:pt x="46398" y="758687"/>
                    </a:lnTo>
                    <a:lnTo>
                      <a:pt x="46398" y="762382"/>
                    </a:lnTo>
                    <a:lnTo>
                      <a:pt x="50084" y="762382"/>
                    </a:lnTo>
                    <a:lnTo>
                      <a:pt x="50084" y="766069"/>
                    </a:lnTo>
                    <a:lnTo>
                      <a:pt x="53770" y="769764"/>
                    </a:lnTo>
                    <a:lnTo>
                      <a:pt x="57466" y="769764"/>
                    </a:lnTo>
                    <a:lnTo>
                      <a:pt x="61152" y="769764"/>
                    </a:lnTo>
                    <a:lnTo>
                      <a:pt x="61152" y="773450"/>
                    </a:lnTo>
                    <a:lnTo>
                      <a:pt x="68534" y="773450"/>
                    </a:lnTo>
                    <a:lnTo>
                      <a:pt x="72220" y="777146"/>
                    </a:lnTo>
                    <a:lnTo>
                      <a:pt x="72220" y="780832"/>
                    </a:lnTo>
                    <a:lnTo>
                      <a:pt x="68534" y="784528"/>
                    </a:lnTo>
                    <a:lnTo>
                      <a:pt x="72220" y="795596"/>
                    </a:lnTo>
                    <a:lnTo>
                      <a:pt x="72220" y="802978"/>
                    </a:lnTo>
                    <a:lnTo>
                      <a:pt x="64838" y="814046"/>
                    </a:lnTo>
                    <a:lnTo>
                      <a:pt x="64838" y="817742"/>
                    </a:lnTo>
                    <a:lnTo>
                      <a:pt x="68534" y="817742"/>
                    </a:lnTo>
                    <a:lnTo>
                      <a:pt x="72220" y="817742"/>
                    </a:lnTo>
                    <a:lnTo>
                      <a:pt x="75906" y="814046"/>
                    </a:lnTo>
                    <a:lnTo>
                      <a:pt x="79602" y="814046"/>
                    </a:lnTo>
                    <a:lnTo>
                      <a:pt x="83288" y="810360"/>
                    </a:lnTo>
                    <a:lnTo>
                      <a:pt x="83288" y="814046"/>
                    </a:lnTo>
                    <a:lnTo>
                      <a:pt x="86974" y="817742"/>
                    </a:lnTo>
                    <a:lnTo>
                      <a:pt x="90660" y="817742"/>
                    </a:lnTo>
                    <a:lnTo>
                      <a:pt x="94356" y="814046"/>
                    </a:lnTo>
                    <a:lnTo>
                      <a:pt x="94356" y="810360"/>
                    </a:lnTo>
                    <a:lnTo>
                      <a:pt x="98042" y="806664"/>
                    </a:lnTo>
                    <a:lnTo>
                      <a:pt x="105424" y="795596"/>
                    </a:lnTo>
                    <a:lnTo>
                      <a:pt x="112796" y="795596"/>
                    </a:lnTo>
                    <a:lnTo>
                      <a:pt x="112796" y="802978"/>
                    </a:lnTo>
                    <a:lnTo>
                      <a:pt x="116492" y="810360"/>
                    </a:lnTo>
                    <a:lnTo>
                      <a:pt x="120178" y="806664"/>
                    </a:lnTo>
                    <a:lnTo>
                      <a:pt x="127560" y="817742"/>
                    </a:lnTo>
                    <a:lnTo>
                      <a:pt x="131246" y="817742"/>
                    </a:lnTo>
                    <a:lnTo>
                      <a:pt x="134933" y="814046"/>
                    </a:lnTo>
                    <a:lnTo>
                      <a:pt x="138628" y="817742"/>
                    </a:lnTo>
                    <a:lnTo>
                      <a:pt x="142314" y="814046"/>
                    </a:lnTo>
                    <a:lnTo>
                      <a:pt x="146000" y="810360"/>
                    </a:lnTo>
                    <a:lnTo>
                      <a:pt x="146000" y="814046"/>
                    </a:lnTo>
                    <a:lnTo>
                      <a:pt x="146000" y="821428"/>
                    </a:lnTo>
                    <a:lnTo>
                      <a:pt x="149696" y="817742"/>
                    </a:lnTo>
                    <a:lnTo>
                      <a:pt x="153382" y="814046"/>
                    </a:lnTo>
                    <a:lnTo>
                      <a:pt x="153382" y="810360"/>
                    </a:lnTo>
                    <a:lnTo>
                      <a:pt x="157069" y="810360"/>
                    </a:lnTo>
                    <a:lnTo>
                      <a:pt x="160755" y="810360"/>
                    </a:lnTo>
                    <a:lnTo>
                      <a:pt x="168137" y="806664"/>
                    </a:lnTo>
                    <a:lnTo>
                      <a:pt x="168137" y="810360"/>
                    </a:lnTo>
                    <a:lnTo>
                      <a:pt x="168137" y="817742"/>
                    </a:lnTo>
                    <a:lnTo>
                      <a:pt x="175518" y="821428"/>
                    </a:lnTo>
                    <a:lnTo>
                      <a:pt x="175518" y="817742"/>
                    </a:lnTo>
                    <a:lnTo>
                      <a:pt x="179205" y="817742"/>
                    </a:lnTo>
                    <a:lnTo>
                      <a:pt x="182891" y="817742"/>
                    </a:lnTo>
                    <a:lnTo>
                      <a:pt x="182891" y="821428"/>
                    </a:lnTo>
                    <a:lnTo>
                      <a:pt x="190273" y="817742"/>
                    </a:lnTo>
                    <a:lnTo>
                      <a:pt x="193959" y="814046"/>
                    </a:lnTo>
                    <a:lnTo>
                      <a:pt x="197655" y="814046"/>
                    </a:lnTo>
                    <a:lnTo>
                      <a:pt x="201341" y="814046"/>
                    </a:lnTo>
                    <a:lnTo>
                      <a:pt x="205027" y="814046"/>
                    </a:lnTo>
                    <a:lnTo>
                      <a:pt x="208723" y="814046"/>
                    </a:lnTo>
                    <a:lnTo>
                      <a:pt x="212409" y="817742"/>
                    </a:lnTo>
                    <a:lnTo>
                      <a:pt x="219791" y="821428"/>
                    </a:lnTo>
                    <a:lnTo>
                      <a:pt x="223477" y="821428"/>
                    </a:lnTo>
                    <a:lnTo>
                      <a:pt x="223477" y="817742"/>
                    </a:lnTo>
                    <a:lnTo>
                      <a:pt x="230859" y="817742"/>
                    </a:lnTo>
                    <a:lnTo>
                      <a:pt x="234545" y="817742"/>
                    </a:lnTo>
                    <a:lnTo>
                      <a:pt x="234545" y="810360"/>
                    </a:lnTo>
                    <a:lnTo>
                      <a:pt x="238231" y="802978"/>
                    </a:lnTo>
                    <a:lnTo>
                      <a:pt x="227163" y="795596"/>
                    </a:lnTo>
                    <a:lnTo>
                      <a:pt x="223477" y="795596"/>
                    </a:lnTo>
                    <a:lnTo>
                      <a:pt x="219791" y="791910"/>
                    </a:lnTo>
                    <a:lnTo>
                      <a:pt x="219791" y="788214"/>
                    </a:lnTo>
                    <a:lnTo>
                      <a:pt x="216095" y="788214"/>
                    </a:lnTo>
                    <a:lnTo>
                      <a:pt x="212409" y="784528"/>
                    </a:lnTo>
                    <a:lnTo>
                      <a:pt x="212409" y="780832"/>
                    </a:lnTo>
                    <a:lnTo>
                      <a:pt x="212409" y="777146"/>
                    </a:lnTo>
                    <a:lnTo>
                      <a:pt x="216095" y="773450"/>
                    </a:lnTo>
                    <a:lnTo>
                      <a:pt x="219791" y="777146"/>
                    </a:lnTo>
                    <a:lnTo>
                      <a:pt x="227163" y="780832"/>
                    </a:lnTo>
                    <a:lnTo>
                      <a:pt x="230859" y="773450"/>
                    </a:lnTo>
                    <a:lnTo>
                      <a:pt x="234545" y="769764"/>
                    </a:lnTo>
                    <a:lnTo>
                      <a:pt x="234545" y="766069"/>
                    </a:lnTo>
                    <a:lnTo>
                      <a:pt x="238231" y="766069"/>
                    </a:lnTo>
                    <a:lnTo>
                      <a:pt x="234545" y="762382"/>
                    </a:lnTo>
                    <a:lnTo>
                      <a:pt x="234545" y="758687"/>
                    </a:lnTo>
                    <a:lnTo>
                      <a:pt x="230859" y="755000"/>
                    </a:lnTo>
                    <a:lnTo>
                      <a:pt x="230859" y="751305"/>
                    </a:lnTo>
                    <a:lnTo>
                      <a:pt x="230859" y="747619"/>
                    </a:lnTo>
                    <a:lnTo>
                      <a:pt x="234545" y="743932"/>
                    </a:lnTo>
                    <a:lnTo>
                      <a:pt x="241917" y="743932"/>
                    </a:lnTo>
                    <a:lnTo>
                      <a:pt x="245613" y="740237"/>
                    </a:lnTo>
                    <a:lnTo>
                      <a:pt x="249299" y="740237"/>
                    </a:lnTo>
                    <a:lnTo>
                      <a:pt x="249299" y="736551"/>
                    </a:lnTo>
                    <a:lnTo>
                      <a:pt x="252985" y="736551"/>
                    </a:lnTo>
                    <a:lnTo>
                      <a:pt x="252985" y="740237"/>
                    </a:lnTo>
                    <a:lnTo>
                      <a:pt x="260367" y="743932"/>
                    </a:lnTo>
                    <a:lnTo>
                      <a:pt x="260367" y="736551"/>
                    </a:lnTo>
                    <a:lnTo>
                      <a:pt x="260367" y="732855"/>
                    </a:lnTo>
                    <a:lnTo>
                      <a:pt x="264053" y="732855"/>
                    </a:lnTo>
                    <a:lnTo>
                      <a:pt x="264053" y="729169"/>
                    </a:lnTo>
                    <a:lnTo>
                      <a:pt x="267749" y="725473"/>
                    </a:lnTo>
                    <a:lnTo>
                      <a:pt x="267749" y="718091"/>
                    </a:lnTo>
                    <a:lnTo>
                      <a:pt x="264053" y="714405"/>
                    </a:lnTo>
                    <a:lnTo>
                      <a:pt x="264053" y="718091"/>
                    </a:lnTo>
                    <a:lnTo>
                      <a:pt x="260367" y="710709"/>
                    </a:lnTo>
                    <a:lnTo>
                      <a:pt x="260367" y="707023"/>
                    </a:lnTo>
                    <a:lnTo>
                      <a:pt x="260367" y="703327"/>
                    </a:lnTo>
                    <a:lnTo>
                      <a:pt x="264053" y="699641"/>
                    </a:lnTo>
                    <a:lnTo>
                      <a:pt x="264053" y="695955"/>
                    </a:lnTo>
                    <a:lnTo>
                      <a:pt x="267749" y="692259"/>
                    </a:lnTo>
                    <a:lnTo>
                      <a:pt x="267749" y="688573"/>
                    </a:lnTo>
                    <a:lnTo>
                      <a:pt x="264053" y="684877"/>
                    </a:lnTo>
                    <a:lnTo>
                      <a:pt x="260367" y="684877"/>
                    </a:lnTo>
                    <a:lnTo>
                      <a:pt x="256681" y="684877"/>
                    </a:lnTo>
                    <a:lnTo>
                      <a:pt x="249299" y="684877"/>
                    </a:lnTo>
                    <a:lnTo>
                      <a:pt x="249299" y="681191"/>
                    </a:lnTo>
                    <a:lnTo>
                      <a:pt x="249299" y="677496"/>
                    </a:lnTo>
                    <a:lnTo>
                      <a:pt x="245613" y="681191"/>
                    </a:lnTo>
                    <a:lnTo>
                      <a:pt x="241917" y="677496"/>
                    </a:lnTo>
                    <a:lnTo>
                      <a:pt x="230859" y="673809"/>
                    </a:lnTo>
                    <a:lnTo>
                      <a:pt x="230859" y="666428"/>
                    </a:lnTo>
                    <a:lnTo>
                      <a:pt x="230859" y="662732"/>
                    </a:lnTo>
                    <a:lnTo>
                      <a:pt x="223477" y="659046"/>
                    </a:lnTo>
                    <a:lnTo>
                      <a:pt x="227163" y="655350"/>
                    </a:lnTo>
                    <a:lnTo>
                      <a:pt x="230859" y="655350"/>
                    </a:lnTo>
                    <a:lnTo>
                      <a:pt x="230859" y="651664"/>
                    </a:lnTo>
                    <a:lnTo>
                      <a:pt x="234545" y="636900"/>
                    </a:lnTo>
                    <a:lnTo>
                      <a:pt x="230859" y="636900"/>
                    </a:lnTo>
                    <a:lnTo>
                      <a:pt x="216095" y="636900"/>
                    </a:lnTo>
                    <a:lnTo>
                      <a:pt x="212409" y="636900"/>
                    </a:lnTo>
                    <a:lnTo>
                      <a:pt x="208723" y="640596"/>
                    </a:lnTo>
                    <a:lnTo>
                      <a:pt x="205027" y="640596"/>
                    </a:lnTo>
                    <a:lnTo>
                      <a:pt x="201341" y="636900"/>
                    </a:lnTo>
                    <a:lnTo>
                      <a:pt x="201341" y="633214"/>
                    </a:lnTo>
                    <a:lnTo>
                      <a:pt x="197655" y="633214"/>
                    </a:lnTo>
                    <a:lnTo>
                      <a:pt x="190273" y="636900"/>
                    </a:lnTo>
                    <a:lnTo>
                      <a:pt x="186587" y="636900"/>
                    </a:lnTo>
                    <a:lnTo>
                      <a:pt x="182891" y="640596"/>
                    </a:lnTo>
                    <a:lnTo>
                      <a:pt x="179205" y="640596"/>
                    </a:lnTo>
                    <a:lnTo>
                      <a:pt x="175518" y="644282"/>
                    </a:lnTo>
                    <a:lnTo>
                      <a:pt x="171823" y="644282"/>
                    </a:lnTo>
                    <a:lnTo>
                      <a:pt x="168137" y="640596"/>
                    </a:lnTo>
                    <a:lnTo>
                      <a:pt x="175518" y="633214"/>
                    </a:lnTo>
                    <a:lnTo>
                      <a:pt x="175518" y="622136"/>
                    </a:lnTo>
                    <a:lnTo>
                      <a:pt x="171823" y="622136"/>
                    </a:lnTo>
                    <a:lnTo>
                      <a:pt x="168137" y="618450"/>
                    </a:lnTo>
                    <a:lnTo>
                      <a:pt x="168137" y="614754"/>
                    </a:lnTo>
                    <a:lnTo>
                      <a:pt x="164450" y="614754"/>
                    </a:lnTo>
                    <a:lnTo>
                      <a:pt x="164450" y="611068"/>
                    </a:lnTo>
                    <a:lnTo>
                      <a:pt x="160755" y="611068"/>
                    </a:lnTo>
                    <a:lnTo>
                      <a:pt x="160755" y="607373"/>
                    </a:lnTo>
                    <a:lnTo>
                      <a:pt x="160755" y="603686"/>
                    </a:lnTo>
                    <a:lnTo>
                      <a:pt x="160755" y="600000"/>
                    </a:lnTo>
                    <a:lnTo>
                      <a:pt x="160755" y="592618"/>
                    </a:lnTo>
                    <a:lnTo>
                      <a:pt x="157069" y="588923"/>
                    </a:lnTo>
                    <a:lnTo>
                      <a:pt x="153382" y="581541"/>
                    </a:lnTo>
                    <a:lnTo>
                      <a:pt x="157069" y="581541"/>
                    </a:lnTo>
                    <a:lnTo>
                      <a:pt x="164450" y="581541"/>
                    </a:lnTo>
                    <a:lnTo>
                      <a:pt x="168137" y="581541"/>
                    </a:lnTo>
                    <a:lnTo>
                      <a:pt x="168137" y="577854"/>
                    </a:lnTo>
                    <a:lnTo>
                      <a:pt x="175518" y="574159"/>
                    </a:lnTo>
                    <a:lnTo>
                      <a:pt x="179205" y="570473"/>
                    </a:lnTo>
                    <a:lnTo>
                      <a:pt x="179205" y="574159"/>
                    </a:lnTo>
                    <a:lnTo>
                      <a:pt x="186587" y="585236"/>
                    </a:lnTo>
                    <a:lnTo>
                      <a:pt x="190273" y="592618"/>
                    </a:lnTo>
                    <a:lnTo>
                      <a:pt x="190273" y="596304"/>
                    </a:lnTo>
                    <a:lnTo>
                      <a:pt x="193959" y="592618"/>
                    </a:lnTo>
                    <a:lnTo>
                      <a:pt x="197655" y="592618"/>
                    </a:lnTo>
                    <a:lnTo>
                      <a:pt x="197655" y="596304"/>
                    </a:lnTo>
                    <a:lnTo>
                      <a:pt x="201341" y="596304"/>
                    </a:lnTo>
                    <a:lnTo>
                      <a:pt x="201341" y="592618"/>
                    </a:lnTo>
                    <a:lnTo>
                      <a:pt x="205027" y="588923"/>
                    </a:lnTo>
                    <a:lnTo>
                      <a:pt x="205027" y="585236"/>
                    </a:lnTo>
                    <a:lnTo>
                      <a:pt x="208723" y="581541"/>
                    </a:lnTo>
                    <a:lnTo>
                      <a:pt x="208723" y="577854"/>
                    </a:lnTo>
                    <a:lnTo>
                      <a:pt x="208723" y="574159"/>
                    </a:lnTo>
                    <a:lnTo>
                      <a:pt x="212409" y="570473"/>
                    </a:lnTo>
                    <a:lnTo>
                      <a:pt x="212409" y="566777"/>
                    </a:lnTo>
                    <a:lnTo>
                      <a:pt x="216095" y="563091"/>
                    </a:lnTo>
                    <a:lnTo>
                      <a:pt x="216095" y="559395"/>
                    </a:lnTo>
                    <a:lnTo>
                      <a:pt x="219791" y="555709"/>
                    </a:lnTo>
                    <a:lnTo>
                      <a:pt x="227163" y="552023"/>
                    </a:lnTo>
                    <a:lnTo>
                      <a:pt x="230859" y="548327"/>
                    </a:lnTo>
                    <a:lnTo>
                      <a:pt x="238231" y="544641"/>
                    </a:lnTo>
                    <a:lnTo>
                      <a:pt x="241917" y="544641"/>
                    </a:lnTo>
                    <a:lnTo>
                      <a:pt x="245613" y="540945"/>
                    </a:lnTo>
                    <a:lnTo>
                      <a:pt x="249299" y="537259"/>
                    </a:lnTo>
                    <a:lnTo>
                      <a:pt x="249299" y="533563"/>
                    </a:lnTo>
                    <a:lnTo>
                      <a:pt x="252985" y="529877"/>
                    </a:lnTo>
                    <a:lnTo>
                      <a:pt x="256681" y="529877"/>
                    </a:lnTo>
                    <a:lnTo>
                      <a:pt x="260367" y="529877"/>
                    </a:lnTo>
                    <a:lnTo>
                      <a:pt x="264053" y="526181"/>
                    </a:lnTo>
                    <a:lnTo>
                      <a:pt x="264053" y="522495"/>
                    </a:lnTo>
                    <a:lnTo>
                      <a:pt x="264053" y="518799"/>
                    </a:lnTo>
                    <a:lnTo>
                      <a:pt x="267749" y="515113"/>
                    </a:lnTo>
                    <a:lnTo>
                      <a:pt x="271435" y="515113"/>
                    </a:lnTo>
                    <a:lnTo>
                      <a:pt x="275121" y="515113"/>
                    </a:lnTo>
                    <a:lnTo>
                      <a:pt x="278817" y="511427"/>
                    </a:lnTo>
                    <a:lnTo>
                      <a:pt x="282503" y="511427"/>
                    </a:lnTo>
                    <a:lnTo>
                      <a:pt x="282503" y="507731"/>
                    </a:lnTo>
                    <a:lnTo>
                      <a:pt x="289885" y="507731"/>
                    </a:lnTo>
                    <a:lnTo>
                      <a:pt x="293571" y="504045"/>
                    </a:lnTo>
                    <a:lnTo>
                      <a:pt x="297258" y="504045"/>
                    </a:lnTo>
                    <a:lnTo>
                      <a:pt x="304639" y="504045"/>
                    </a:lnTo>
                    <a:lnTo>
                      <a:pt x="300944" y="500350"/>
                    </a:lnTo>
                    <a:lnTo>
                      <a:pt x="304639" y="500350"/>
                    </a:lnTo>
                    <a:lnTo>
                      <a:pt x="308326" y="496663"/>
                    </a:lnTo>
                    <a:lnTo>
                      <a:pt x="293571" y="485586"/>
                    </a:lnTo>
                    <a:lnTo>
                      <a:pt x="289885" y="485586"/>
                    </a:lnTo>
                    <a:lnTo>
                      <a:pt x="312012" y="474518"/>
                    </a:lnTo>
                    <a:lnTo>
                      <a:pt x="304639" y="467136"/>
                    </a:lnTo>
                    <a:lnTo>
                      <a:pt x="282503" y="478204"/>
                    </a:lnTo>
                    <a:lnTo>
                      <a:pt x="278817" y="481900"/>
                    </a:lnTo>
                    <a:lnTo>
                      <a:pt x="275121" y="485586"/>
                    </a:lnTo>
                    <a:lnTo>
                      <a:pt x="271435" y="485586"/>
                    </a:lnTo>
                    <a:lnTo>
                      <a:pt x="267749" y="485586"/>
                    </a:lnTo>
                    <a:lnTo>
                      <a:pt x="260367" y="485586"/>
                    </a:lnTo>
                    <a:lnTo>
                      <a:pt x="260367" y="481900"/>
                    </a:lnTo>
                    <a:lnTo>
                      <a:pt x="256681" y="478204"/>
                    </a:lnTo>
                    <a:lnTo>
                      <a:pt x="256681" y="452372"/>
                    </a:lnTo>
                    <a:lnTo>
                      <a:pt x="252985" y="448686"/>
                    </a:lnTo>
                    <a:lnTo>
                      <a:pt x="256681" y="444990"/>
                    </a:lnTo>
                    <a:lnTo>
                      <a:pt x="264053" y="444990"/>
                    </a:lnTo>
                    <a:lnTo>
                      <a:pt x="256681" y="430227"/>
                    </a:lnTo>
                    <a:lnTo>
                      <a:pt x="264053" y="426540"/>
                    </a:lnTo>
                    <a:lnTo>
                      <a:pt x="267749" y="419158"/>
                    </a:lnTo>
                    <a:lnTo>
                      <a:pt x="282503" y="404395"/>
                    </a:lnTo>
                    <a:lnTo>
                      <a:pt x="282503" y="400709"/>
                    </a:lnTo>
                    <a:lnTo>
                      <a:pt x="286189" y="397013"/>
                    </a:lnTo>
                    <a:lnTo>
                      <a:pt x="293571" y="385945"/>
                    </a:lnTo>
                    <a:lnTo>
                      <a:pt x="297258" y="378563"/>
                    </a:lnTo>
                    <a:lnTo>
                      <a:pt x="297258" y="374867"/>
                    </a:lnTo>
                    <a:lnTo>
                      <a:pt x="300944" y="371181"/>
                    </a:lnTo>
                    <a:lnTo>
                      <a:pt x="300944" y="367495"/>
                    </a:lnTo>
                    <a:lnTo>
                      <a:pt x="300944" y="363799"/>
                    </a:lnTo>
                    <a:lnTo>
                      <a:pt x="304639" y="360113"/>
                    </a:lnTo>
                    <a:lnTo>
                      <a:pt x="304639" y="356417"/>
                    </a:lnTo>
                    <a:lnTo>
                      <a:pt x="308326" y="356417"/>
                    </a:lnTo>
                    <a:lnTo>
                      <a:pt x="312012" y="356417"/>
                    </a:lnTo>
                    <a:lnTo>
                      <a:pt x="315707" y="356417"/>
                    </a:lnTo>
                    <a:lnTo>
                      <a:pt x="315707" y="352731"/>
                    </a:lnTo>
                    <a:lnTo>
                      <a:pt x="334148" y="334272"/>
                    </a:lnTo>
                    <a:lnTo>
                      <a:pt x="330462" y="323204"/>
                    </a:lnTo>
                    <a:lnTo>
                      <a:pt x="326775" y="315822"/>
                    </a:lnTo>
                    <a:lnTo>
                      <a:pt x="326775" y="312136"/>
                    </a:lnTo>
                    <a:lnTo>
                      <a:pt x="330462" y="308440"/>
                    </a:lnTo>
                    <a:lnTo>
                      <a:pt x="334148" y="304754"/>
                    </a:lnTo>
                    <a:lnTo>
                      <a:pt x="323080" y="304754"/>
                    </a:lnTo>
                    <a:lnTo>
                      <a:pt x="323080" y="301058"/>
                    </a:lnTo>
                    <a:lnTo>
                      <a:pt x="326775" y="278912"/>
                    </a:lnTo>
                    <a:lnTo>
                      <a:pt x="326775" y="267844"/>
                    </a:lnTo>
                    <a:lnTo>
                      <a:pt x="330462" y="267844"/>
                    </a:lnTo>
                    <a:lnTo>
                      <a:pt x="326775" y="260462"/>
                    </a:lnTo>
                    <a:lnTo>
                      <a:pt x="330462" y="256776"/>
                    </a:lnTo>
                    <a:lnTo>
                      <a:pt x="330462" y="245699"/>
                    </a:lnTo>
                    <a:lnTo>
                      <a:pt x="326775" y="238317"/>
                    </a:lnTo>
                    <a:lnTo>
                      <a:pt x="323080" y="230935"/>
                    </a:lnTo>
                    <a:lnTo>
                      <a:pt x="326775" y="223563"/>
                    </a:lnTo>
                    <a:lnTo>
                      <a:pt x="323080" y="219867"/>
                    </a:lnTo>
                    <a:lnTo>
                      <a:pt x="323080" y="212485"/>
                    </a:lnTo>
                    <a:lnTo>
                      <a:pt x="323080" y="208799"/>
                    </a:lnTo>
                    <a:lnTo>
                      <a:pt x="319394" y="201417"/>
                    </a:lnTo>
                    <a:lnTo>
                      <a:pt x="312012" y="197721"/>
                    </a:lnTo>
                    <a:lnTo>
                      <a:pt x="304639" y="194035"/>
                    </a:lnTo>
                    <a:lnTo>
                      <a:pt x="297258" y="171890"/>
                    </a:lnTo>
                    <a:lnTo>
                      <a:pt x="289885" y="168203"/>
                    </a:lnTo>
                    <a:lnTo>
                      <a:pt x="286189" y="164508"/>
                    </a:lnTo>
                    <a:lnTo>
                      <a:pt x="282503" y="160821"/>
                    </a:lnTo>
                    <a:lnTo>
                      <a:pt x="278817" y="153439"/>
                    </a:lnTo>
                    <a:lnTo>
                      <a:pt x="278817" y="149744"/>
                    </a:lnTo>
                    <a:lnTo>
                      <a:pt x="275121" y="149744"/>
                    </a:lnTo>
                    <a:lnTo>
                      <a:pt x="264053" y="142362"/>
                    </a:lnTo>
                    <a:lnTo>
                      <a:pt x="264053" y="134980"/>
                    </a:lnTo>
                    <a:lnTo>
                      <a:pt x="264053" y="127608"/>
                    </a:lnTo>
                    <a:lnTo>
                      <a:pt x="267749" y="127608"/>
                    </a:lnTo>
                    <a:lnTo>
                      <a:pt x="267749" y="123912"/>
                    </a:lnTo>
                    <a:lnTo>
                      <a:pt x="271435" y="112844"/>
                    </a:lnTo>
                    <a:lnTo>
                      <a:pt x="271435" y="109148"/>
                    </a:lnTo>
                    <a:lnTo>
                      <a:pt x="275121" y="105462"/>
                    </a:lnTo>
                    <a:lnTo>
                      <a:pt x="275121" y="101766"/>
                    </a:lnTo>
                    <a:lnTo>
                      <a:pt x="267749" y="98080"/>
                    </a:lnTo>
                    <a:lnTo>
                      <a:pt x="264053" y="98080"/>
                    </a:lnTo>
                    <a:lnTo>
                      <a:pt x="260367" y="98080"/>
                    </a:lnTo>
                    <a:lnTo>
                      <a:pt x="260367" y="94384"/>
                    </a:lnTo>
                    <a:lnTo>
                      <a:pt x="256681" y="94384"/>
                    </a:lnTo>
                    <a:lnTo>
                      <a:pt x="252985" y="94384"/>
                    </a:lnTo>
                    <a:lnTo>
                      <a:pt x="234545" y="87003"/>
                    </a:lnTo>
                    <a:lnTo>
                      <a:pt x="230859" y="83316"/>
                    </a:lnTo>
                    <a:lnTo>
                      <a:pt x="230859" y="79630"/>
                    </a:lnTo>
                    <a:lnTo>
                      <a:pt x="230859" y="75935"/>
                    </a:lnTo>
                    <a:lnTo>
                      <a:pt x="234545" y="72248"/>
                    </a:lnTo>
                    <a:lnTo>
                      <a:pt x="230859" y="68553"/>
                    </a:lnTo>
                    <a:lnTo>
                      <a:pt x="230859" y="64867"/>
                    </a:lnTo>
                    <a:lnTo>
                      <a:pt x="230859" y="57485"/>
                    </a:lnTo>
                    <a:lnTo>
                      <a:pt x="234545" y="57485"/>
                    </a:lnTo>
                    <a:lnTo>
                      <a:pt x="238231" y="57485"/>
                    </a:lnTo>
                    <a:lnTo>
                      <a:pt x="238231" y="53789"/>
                    </a:lnTo>
                    <a:lnTo>
                      <a:pt x="234545" y="53789"/>
                    </a:lnTo>
                    <a:lnTo>
                      <a:pt x="234545" y="50103"/>
                    </a:lnTo>
                    <a:lnTo>
                      <a:pt x="234545" y="46407"/>
                    </a:lnTo>
                    <a:lnTo>
                      <a:pt x="230859" y="46407"/>
                    </a:lnTo>
                    <a:lnTo>
                      <a:pt x="219791" y="39025"/>
                    </a:lnTo>
                    <a:lnTo>
                      <a:pt x="216095" y="35339"/>
                    </a:lnTo>
                    <a:lnTo>
                      <a:pt x="208723" y="35339"/>
                    </a:lnTo>
                    <a:lnTo>
                      <a:pt x="205027" y="35339"/>
                    </a:lnTo>
                    <a:lnTo>
                      <a:pt x="193959" y="35339"/>
                    </a:lnTo>
                    <a:lnTo>
                      <a:pt x="193959" y="31653"/>
                    </a:lnTo>
                    <a:lnTo>
                      <a:pt x="190273" y="35339"/>
                    </a:lnTo>
                    <a:lnTo>
                      <a:pt x="186587" y="35339"/>
                    </a:lnTo>
                    <a:lnTo>
                      <a:pt x="182891" y="31653"/>
                    </a:lnTo>
                    <a:lnTo>
                      <a:pt x="182891" y="27957"/>
                    </a:lnTo>
                    <a:lnTo>
                      <a:pt x="179205" y="27957"/>
                    </a:lnTo>
                    <a:lnTo>
                      <a:pt x="175518" y="24271"/>
                    </a:lnTo>
                    <a:lnTo>
                      <a:pt x="175518" y="20575"/>
                    </a:lnTo>
                    <a:lnTo>
                      <a:pt x="171823" y="16889"/>
                    </a:lnTo>
                    <a:lnTo>
                      <a:pt x="171823" y="13193"/>
                    </a:lnTo>
                    <a:lnTo>
                      <a:pt x="168137" y="9507"/>
                    </a:lnTo>
                    <a:lnTo>
                      <a:pt x="164450" y="5812"/>
                    </a:lnTo>
                    <a:lnTo>
                      <a:pt x="160755" y="5812"/>
                    </a:lnTo>
                    <a:lnTo>
                      <a:pt x="153382"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C0EAE50A-B538-4309-8CEA-7C82D5589137}"/>
                  </a:ext>
                </a:extLst>
              </p:cNvPr>
              <p:cNvSpPr/>
              <p:nvPr/>
            </p:nvSpPr>
            <p:spPr>
              <a:xfrm>
                <a:off x="5541727" y="2887300"/>
                <a:ext cx="808670" cy="659707"/>
              </a:xfrm>
              <a:custGeom>
                <a:avLst/>
                <a:gdLst>
                  <a:gd name="connsiteX0" fmla="*/ 256678 w 361950"/>
                  <a:gd name="connsiteY0" fmla="*/ 5812 h 295275"/>
                  <a:gd name="connsiteX1" fmla="*/ 252982 w 361950"/>
                  <a:gd name="connsiteY1" fmla="*/ 9502 h 295275"/>
                  <a:gd name="connsiteX2" fmla="*/ 227160 w 361950"/>
                  <a:gd name="connsiteY2" fmla="*/ 16882 h 295275"/>
                  <a:gd name="connsiteX3" fmla="*/ 223474 w 361950"/>
                  <a:gd name="connsiteY3" fmla="*/ 16882 h 295275"/>
                  <a:gd name="connsiteX4" fmla="*/ 219788 w 361950"/>
                  <a:gd name="connsiteY4" fmla="*/ 20573 h 295275"/>
                  <a:gd name="connsiteX5" fmla="*/ 190270 w 361950"/>
                  <a:gd name="connsiteY5" fmla="*/ 46407 h 295275"/>
                  <a:gd name="connsiteX6" fmla="*/ 190270 w 361950"/>
                  <a:gd name="connsiteY6" fmla="*/ 50098 h 295275"/>
                  <a:gd name="connsiteX7" fmla="*/ 186584 w 361950"/>
                  <a:gd name="connsiteY7" fmla="*/ 50098 h 295275"/>
                  <a:gd name="connsiteX8" fmla="*/ 171820 w 361950"/>
                  <a:gd name="connsiteY8" fmla="*/ 50098 h 295275"/>
                  <a:gd name="connsiteX9" fmla="*/ 168134 w 361950"/>
                  <a:gd name="connsiteY9" fmla="*/ 50098 h 295275"/>
                  <a:gd name="connsiteX10" fmla="*/ 168134 w 361950"/>
                  <a:gd name="connsiteY10" fmla="*/ 53788 h 295275"/>
                  <a:gd name="connsiteX11" fmla="*/ 164448 w 361950"/>
                  <a:gd name="connsiteY11" fmla="*/ 64860 h 295275"/>
                  <a:gd name="connsiteX12" fmla="*/ 164448 w 361950"/>
                  <a:gd name="connsiteY12" fmla="*/ 61170 h 295275"/>
                  <a:gd name="connsiteX13" fmla="*/ 160761 w 361950"/>
                  <a:gd name="connsiteY13" fmla="*/ 68551 h 295275"/>
                  <a:gd name="connsiteX14" fmla="*/ 160761 w 361950"/>
                  <a:gd name="connsiteY14" fmla="*/ 72242 h 295275"/>
                  <a:gd name="connsiteX15" fmla="*/ 160761 w 361950"/>
                  <a:gd name="connsiteY15" fmla="*/ 75932 h 295275"/>
                  <a:gd name="connsiteX16" fmla="*/ 160761 w 361950"/>
                  <a:gd name="connsiteY16" fmla="*/ 79623 h 295275"/>
                  <a:gd name="connsiteX17" fmla="*/ 160761 w 361950"/>
                  <a:gd name="connsiteY17" fmla="*/ 83313 h 295275"/>
                  <a:gd name="connsiteX18" fmla="*/ 153380 w 361950"/>
                  <a:gd name="connsiteY18" fmla="*/ 87004 h 295275"/>
                  <a:gd name="connsiteX19" fmla="*/ 149693 w 361950"/>
                  <a:gd name="connsiteY19" fmla="*/ 87004 h 295275"/>
                  <a:gd name="connsiteX20" fmla="*/ 145998 w 361950"/>
                  <a:gd name="connsiteY20" fmla="*/ 90695 h 295275"/>
                  <a:gd name="connsiteX21" fmla="*/ 142312 w 361950"/>
                  <a:gd name="connsiteY21" fmla="*/ 98075 h 295275"/>
                  <a:gd name="connsiteX22" fmla="*/ 138625 w 361950"/>
                  <a:gd name="connsiteY22" fmla="*/ 98075 h 295275"/>
                  <a:gd name="connsiteX23" fmla="*/ 134930 w 361950"/>
                  <a:gd name="connsiteY23" fmla="*/ 98075 h 295275"/>
                  <a:gd name="connsiteX24" fmla="*/ 134930 w 361950"/>
                  <a:gd name="connsiteY24" fmla="*/ 101765 h 295275"/>
                  <a:gd name="connsiteX25" fmla="*/ 72217 w 361950"/>
                  <a:gd name="connsiteY25" fmla="*/ 142362 h 295275"/>
                  <a:gd name="connsiteX26" fmla="*/ 61149 w 361950"/>
                  <a:gd name="connsiteY26" fmla="*/ 149743 h 295275"/>
                  <a:gd name="connsiteX27" fmla="*/ 61149 w 361950"/>
                  <a:gd name="connsiteY27" fmla="*/ 153434 h 295275"/>
                  <a:gd name="connsiteX28" fmla="*/ 57460 w 361950"/>
                  <a:gd name="connsiteY28" fmla="*/ 153434 h 295275"/>
                  <a:gd name="connsiteX29" fmla="*/ 57460 w 361950"/>
                  <a:gd name="connsiteY29" fmla="*/ 157125 h 295275"/>
                  <a:gd name="connsiteX30" fmla="*/ 53771 w 361950"/>
                  <a:gd name="connsiteY30" fmla="*/ 157125 h 295275"/>
                  <a:gd name="connsiteX31" fmla="*/ 51580 w 361950"/>
                  <a:gd name="connsiteY31" fmla="*/ 157125 h 295275"/>
                  <a:gd name="connsiteX32" fmla="*/ 27947 w 361950"/>
                  <a:gd name="connsiteY32" fmla="*/ 171887 h 295275"/>
                  <a:gd name="connsiteX33" fmla="*/ 24257 w 361950"/>
                  <a:gd name="connsiteY33" fmla="*/ 175578 h 295275"/>
                  <a:gd name="connsiteX34" fmla="*/ 9501 w 361950"/>
                  <a:gd name="connsiteY34" fmla="*/ 186648 h 295275"/>
                  <a:gd name="connsiteX35" fmla="*/ 5812 w 361950"/>
                  <a:gd name="connsiteY35" fmla="*/ 186648 h 295275"/>
                  <a:gd name="connsiteX36" fmla="*/ 5812 w 361950"/>
                  <a:gd name="connsiteY36" fmla="*/ 190339 h 295275"/>
                  <a:gd name="connsiteX37" fmla="*/ 13190 w 361950"/>
                  <a:gd name="connsiteY37" fmla="*/ 197723 h 295275"/>
                  <a:gd name="connsiteX38" fmla="*/ 13190 w 361950"/>
                  <a:gd name="connsiteY38" fmla="*/ 205105 h 295275"/>
                  <a:gd name="connsiteX39" fmla="*/ 13190 w 361950"/>
                  <a:gd name="connsiteY39" fmla="*/ 216173 h 295275"/>
                  <a:gd name="connsiteX40" fmla="*/ 9501 w 361950"/>
                  <a:gd name="connsiteY40" fmla="*/ 219869 h 295275"/>
                  <a:gd name="connsiteX41" fmla="*/ 13190 w 361950"/>
                  <a:gd name="connsiteY41" fmla="*/ 219869 h 295275"/>
                  <a:gd name="connsiteX42" fmla="*/ 16879 w 361950"/>
                  <a:gd name="connsiteY42" fmla="*/ 227241 h 295275"/>
                  <a:gd name="connsiteX43" fmla="*/ 13190 w 361950"/>
                  <a:gd name="connsiteY43" fmla="*/ 227241 h 295275"/>
                  <a:gd name="connsiteX44" fmla="*/ 16879 w 361950"/>
                  <a:gd name="connsiteY44" fmla="*/ 230937 h 295275"/>
                  <a:gd name="connsiteX45" fmla="*/ 20568 w 361950"/>
                  <a:gd name="connsiteY45" fmla="*/ 227241 h 295275"/>
                  <a:gd name="connsiteX46" fmla="*/ 24257 w 361950"/>
                  <a:gd name="connsiteY46" fmla="*/ 227241 h 295275"/>
                  <a:gd name="connsiteX47" fmla="*/ 39014 w 361950"/>
                  <a:gd name="connsiteY47" fmla="*/ 223555 h 295275"/>
                  <a:gd name="connsiteX48" fmla="*/ 42703 w 361950"/>
                  <a:gd name="connsiteY48" fmla="*/ 223555 h 295275"/>
                  <a:gd name="connsiteX49" fmla="*/ 46392 w 361950"/>
                  <a:gd name="connsiteY49" fmla="*/ 223555 h 295275"/>
                  <a:gd name="connsiteX50" fmla="*/ 50082 w 361950"/>
                  <a:gd name="connsiteY50" fmla="*/ 227241 h 295275"/>
                  <a:gd name="connsiteX51" fmla="*/ 53771 w 361950"/>
                  <a:gd name="connsiteY51" fmla="*/ 227241 h 295275"/>
                  <a:gd name="connsiteX52" fmla="*/ 57460 w 361950"/>
                  <a:gd name="connsiteY52" fmla="*/ 227241 h 295275"/>
                  <a:gd name="connsiteX53" fmla="*/ 64838 w 361950"/>
                  <a:gd name="connsiteY53" fmla="*/ 227241 h 295275"/>
                  <a:gd name="connsiteX54" fmla="*/ 75903 w 361950"/>
                  <a:gd name="connsiteY54" fmla="*/ 230937 h 295275"/>
                  <a:gd name="connsiteX55" fmla="*/ 83285 w 361950"/>
                  <a:gd name="connsiteY55" fmla="*/ 238319 h 295275"/>
                  <a:gd name="connsiteX56" fmla="*/ 94353 w 361950"/>
                  <a:gd name="connsiteY56" fmla="*/ 242005 h 295275"/>
                  <a:gd name="connsiteX57" fmla="*/ 101725 w 361950"/>
                  <a:gd name="connsiteY57" fmla="*/ 249387 h 295275"/>
                  <a:gd name="connsiteX58" fmla="*/ 134930 w 361950"/>
                  <a:gd name="connsiteY58" fmla="*/ 278914 h 295275"/>
                  <a:gd name="connsiteX59" fmla="*/ 138625 w 361950"/>
                  <a:gd name="connsiteY59" fmla="*/ 286296 h 295275"/>
                  <a:gd name="connsiteX60" fmla="*/ 142312 w 361950"/>
                  <a:gd name="connsiteY60" fmla="*/ 286296 h 295275"/>
                  <a:gd name="connsiteX61" fmla="*/ 149693 w 361950"/>
                  <a:gd name="connsiteY61" fmla="*/ 289982 h 295275"/>
                  <a:gd name="connsiteX62" fmla="*/ 157066 w 361950"/>
                  <a:gd name="connsiteY62" fmla="*/ 286296 h 295275"/>
                  <a:gd name="connsiteX63" fmla="*/ 175516 w 361950"/>
                  <a:gd name="connsiteY63" fmla="*/ 278914 h 295275"/>
                  <a:gd name="connsiteX64" fmla="*/ 179202 w 361950"/>
                  <a:gd name="connsiteY64" fmla="*/ 278914 h 295275"/>
                  <a:gd name="connsiteX65" fmla="*/ 186584 w 361950"/>
                  <a:gd name="connsiteY65" fmla="*/ 278914 h 295275"/>
                  <a:gd name="connsiteX66" fmla="*/ 190270 w 361950"/>
                  <a:gd name="connsiteY66" fmla="*/ 275219 h 295275"/>
                  <a:gd name="connsiteX67" fmla="*/ 201338 w 361950"/>
                  <a:gd name="connsiteY67" fmla="*/ 271532 h 295275"/>
                  <a:gd name="connsiteX68" fmla="*/ 205024 w 361950"/>
                  <a:gd name="connsiteY68" fmla="*/ 271532 h 295275"/>
                  <a:gd name="connsiteX69" fmla="*/ 208720 w 361950"/>
                  <a:gd name="connsiteY69" fmla="*/ 256769 h 295275"/>
                  <a:gd name="connsiteX70" fmla="*/ 212406 w 361950"/>
                  <a:gd name="connsiteY70" fmla="*/ 253082 h 295275"/>
                  <a:gd name="connsiteX71" fmla="*/ 212406 w 361950"/>
                  <a:gd name="connsiteY71" fmla="*/ 242005 h 295275"/>
                  <a:gd name="connsiteX72" fmla="*/ 216092 w 361950"/>
                  <a:gd name="connsiteY72" fmla="*/ 242005 h 295275"/>
                  <a:gd name="connsiteX73" fmla="*/ 216092 w 361950"/>
                  <a:gd name="connsiteY73" fmla="*/ 234623 h 295275"/>
                  <a:gd name="connsiteX74" fmla="*/ 216092 w 361950"/>
                  <a:gd name="connsiteY74" fmla="*/ 230937 h 295275"/>
                  <a:gd name="connsiteX75" fmla="*/ 216092 w 361950"/>
                  <a:gd name="connsiteY75" fmla="*/ 227241 h 295275"/>
                  <a:gd name="connsiteX76" fmla="*/ 216092 w 361950"/>
                  <a:gd name="connsiteY76" fmla="*/ 223555 h 295275"/>
                  <a:gd name="connsiteX77" fmla="*/ 212406 w 361950"/>
                  <a:gd name="connsiteY77" fmla="*/ 223555 h 295275"/>
                  <a:gd name="connsiteX78" fmla="*/ 212406 w 361950"/>
                  <a:gd name="connsiteY78" fmla="*/ 219869 h 295275"/>
                  <a:gd name="connsiteX79" fmla="*/ 208720 w 361950"/>
                  <a:gd name="connsiteY79" fmla="*/ 212487 h 295275"/>
                  <a:gd name="connsiteX80" fmla="*/ 212406 w 361950"/>
                  <a:gd name="connsiteY80" fmla="*/ 208791 h 295275"/>
                  <a:gd name="connsiteX81" fmla="*/ 223474 w 361950"/>
                  <a:gd name="connsiteY81" fmla="*/ 197723 h 295275"/>
                  <a:gd name="connsiteX82" fmla="*/ 230856 w 361950"/>
                  <a:gd name="connsiteY82" fmla="*/ 201409 h 295275"/>
                  <a:gd name="connsiteX83" fmla="*/ 241914 w 361950"/>
                  <a:gd name="connsiteY83" fmla="*/ 197723 h 295275"/>
                  <a:gd name="connsiteX84" fmla="*/ 245610 w 361950"/>
                  <a:gd name="connsiteY84" fmla="*/ 197723 h 295275"/>
                  <a:gd name="connsiteX85" fmla="*/ 249296 w 361950"/>
                  <a:gd name="connsiteY85" fmla="*/ 194027 h 295275"/>
                  <a:gd name="connsiteX86" fmla="*/ 245610 w 361950"/>
                  <a:gd name="connsiteY86" fmla="*/ 194027 h 295275"/>
                  <a:gd name="connsiteX87" fmla="*/ 249296 w 361950"/>
                  <a:gd name="connsiteY87" fmla="*/ 190339 h 295275"/>
                  <a:gd name="connsiteX88" fmla="*/ 252982 w 361950"/>
                  <a:gd name="connsiteY88" fmla="*/ 186648 h 295275"/>
                  <a:gd name="connsiteX89" fmla="*/ 256678 w 361950"/>
                  <a:gd name="connsiteY89" fmla="*/ 182958 h 295275"/>
                  <a:gd name="connsiteX90" fmla="*/ 267746 w 361950"/>
                  <a:gd name="connsiteY90" fmla="*/ 171887 h 295275"/>
                  <a:gd name="connsiteX91" fmla="*/ 297255 w 361950"/>
                  <a:gd name="connsiteY91" fmla="*/ 157125 h 295275"/>
                  <a:gd name="connsiteX92" fmla="*/ 300950 w 361950"/>
                  <a:gd name="connsiteY92" fmla="*/ 157125 h 295275"/>
                  <a:gd name="connsiteX93" fmla="*/ 304637 w 361950"/>
                  <a:gd name="connsiteY93" fmla="*/ 157125 h 295275"/>
                  <a:gd name="connsiteX94" fmla="*/ 308323 w 361950"/>
                  <a:gd name="connsiteY94" fmla="*/ 160815 h 295275"/>
                  <a:gd name="connsiteX95" fmla="*/ 312009 w 361950"/>
                  <a:gd name="connsiteY95" fmla="*/ 160815 h 295275"/>
                  <a:gd name="connsiteX96" fmla="*/ 326773 w 361950"/>
                  <a:gd name="connsiteY96" fmla="*/ 149743 h 295275"/>
                  <a:gd name="connsiteX97" fmla="*/ 330459 w 361950"/>
                  <a:gd name="connsiteY97" fmla="*/ 142362 h 295275"/>
                  <a:gd name="connsiteX98" fmla="*/ 337841 w 361950"/>
                  <a:gd name="connsiteY98" fmla="*/ 134981 h 295275"/>
                  <a:gd name="connsiteX99" fmla="*/ 341527 w 361950"/>
                  <a:gd name="connsiteY99" fmla="*/ 127600 h 295275"/>
                  <a:gd name="connsiteX100" fmla="*/ 345213 w 361950"/>
                  <a:gd name="connsiteY100" fmla="*/ 123909 h 295275"/>
                  <a:gd name="connsiteX101" fmla="*/ 348909 w 361950"/>
                  <a:gd name="connsiteY101" fmla="*/ 116528 h 295275"/>
                  <a:gd name="connsiteX102" fmla="*/ 359977 w 361950"/>
                  <a:gd name="connsiteY102" fmla="*/ 94385 h 295275"/>
                  <a:gd name="connsiteX103" fmla="*/ 363663 w 361950"/>
                  <a:gd name="connsiteY103" fmla="*/ 87004 h 295275"/>
                  <a:gd name="connsiteX104" fmla="*/ 363663 w 361950"/>
                  <a:gd name="connsiteY104" fmla="*/ 83313 h 295275"/>
                  <a:gd name="connsiteX105" fmla="*/ 363663 w 361950"/>
                  <a:gd name="connsiteY105" fmla="*/ 75932 h 295275"/>
                  <a:gd name="connsiteX106" fmla="*/ 363663 w 361950"/>
                  <a:gd name="connsiteY106" fmla="*/ 57479 h 295275"/>
                  <a:gd name="connsiteX107" fmla="*/ 359977 w 361950"/>
                  <a:gd name="connsiteY107" fmla="*/ 50098 h 295275"/>
                  <a:gd name="connsiteX108" fmla="*/ 341527 w 361950"/>
                  <a:gd name="connsiteY108" fmla="*/ 31645 h 295275"/>
                  <a:gd name="connsiteX109" fmla="*/ 341527 w 361950"/>
                  <a:gd name="connsiteY109" fmla="*/ 27954 h 295275"/>
                  <a:gd name="connsiteX110" fmla="*/ 337841 w 361950"/>
                  <a:gd name="connsiteY110" fmla="*/ 27954 h 295275"/>
                  <a:gd name="connsiteX111" fmla="*/ 319391 w 361950"/>
                  <a:gd name="connsiteY111" fmla="*/ 27954 h 295275"/>
                  <a:gd name="connsiteX112" fmla="*/ 315705 w 361950"/>
                  <a:gd name="connsiteY112" fmla="*/ 27954 h 295275"/>
                  <a:gd name="connsiteX113" fmla="*/ 300950 w 361950"/>
                  <a:gd name="connsiteY113" fmla="*/ 24264 h 295275"/>
                  <a:gd name="connsiteX114" fmla="*/ 267746 w 361950"/>
                  <a:gd name="connsiteY114" fmla="*/ 13193 h 295275"/>
                  <a:gd name="connsiteX115" fmla="*/ 264051 w 361950"/>
                  <a:gd name="connsiteY115" fmla="*/ 13193 h 295275"/>
                  <a:gd name="connsiteX116" fmla="*/ 260364 w 361950"/>
                  <a:gd name="connsiteY116" fmla="*/ 5812 h 295275"/>
                  <a:gd name="connsiteX117" fmla="*/ 256678 w 361950"/>
                  <a:gd name="connsiteY117" fmla="*/ 5812 h 295275"/>
                  <a:gd name="connsiteX118" fmla="*/ 51580 w 361950"/>
                  <a:gd name="connsiteY118" fmla="*/ 157125 h 295275"/>
                  <a:gd name="connsiteX119" fmla="*/ 57460 w 361950"/>
                  <a:gd name="connsiteY119" fmla="*/ 153434 h 295275"/>
                  <a:gd name="connsiteX120" fmla="*/ 50082 w 361950"/>
                  <a:gd name="connsiteY120" fmla="*/ 157125 h 295275"/>
                  <a:gd name="connsiteX121" fmla="*/ 51580 w 361950"/>
                  <a:gd name="connsiteY121" fmla="*/ 157125 h 2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61950" h="295275">
                    <a:moveTo>
                      <a:pt x="256678" y="5812"/>
                    </a:moveTo>
                    <a:lnTo>
                      <a:pt x="252982" y="9502"/>
                    </a:lnTo>
                    <a:lnTo>
                      <a:pt x="227160" y="16882"/>
                    </a:lnTo>
                    <a:lnTo>
                      <a:pt x="223474" y="16882"/>
                    </a:lnTo>
                    <a:lnTo>
                      <a:pt x="219788" y="20573"/>
                    </a:lnTo>
                    <a:lnTo>
                      <a:pt x="190270" y="46407"/>
                    </a:lnTo>
                    <a:lnTo>
                      <a:pt x="190270" y="50098"/>
                    </a:lnTo>
                    <a:lnTo>
                      <a:pt x="186584" y="50098"/>
                    </a:lnTo>
                    <a:lnTo>
                      <a:pt x="171820" y="50098"/>
                    </a:lnTo>
                    <a:lnTo>
                      <a:pt x="168134" y="50098"/>
                    </a:lnTo>
                    <a:lnTo>
                      <a:pt x="168134" y="53788"/>
                    </a:lnTo>
                    <a:lnTo>
                      <a:pt x="164448" y="64860"/>
                    </a:lnTo>
                    <a:lnTo>
                      <a:pt x="164448" y="61170"/>
                    </a:lnTo>
                    <a:lnTo>
                      <a:pt x="160761" y="68551"/>
                    </a:lnTo>
                    <a:lnTo>
                      <a:pt x="160761" y="72242"/>
                    </a:lnTo>
                    <a:lnTo>
                      <a:pt x="160761" y="75932"/>
                    </a:lnTo>
                    <a:lnTo>
                      <a:pt x="160761" y="79623"/>
                    </a:lnTo>
                    <a:lnTo>
                      <a:pt x="160761" y="83313"/>
                    </a:lnTo>
                    <a:lnTo>
                      <a:pt x="153380" y="87004"/>
                    </a:lnTo>
                    <a:lnTo>
                      <a:pt x="149693" y="87004"/>
                    </a:lnTo>
                    <a:lnTo>
                      <a:pt x="145998" y="90695"/>
                    </a:lnTo>
                    <a:lnTo>
                      <a:pt x="142312" y="98075"/>
                    </a:lnTo>
                    <a:lnTo>
                      <a:pt x="138625" y="98075"/>
                    </a:lnTo>
                    <a:lnTo>
                      <a:pt x="134930" y="98075"/>
                    </a:lnTo>
                    <a:lnTo>
                      <a:pt x="134930" y="101765"/>
                    </a:lnTo>
                    <a:lnTo>
                      <a:pt x="72217" y="142362"/>
                    </a:lnTo>
                    <a:lnTo>
                      <a:pt x="61149" y="149743"/>
                    </a:lnTo>
                    <a:lnTo>
                      <a:pt x="61149" y="153434"/>
                    </a:lnTo>
                    <a:lnTo>
                      <a:pt x="57460" y="153434"/>
                    </a:lnTo>
                    <a:lnTo>
                      <a:pt x="57460" y="157125"/>
                    </a:lnTo>
                    <a:lnTo>
                      <a:pt x="53771" y="157125"/>
                    </a:lnTo>
                    <a:lnTo>
                      <a:pt x="51580" y="157125"/>
                    </a:lnTo>
                    <a:lnTo>
                      <a:pt x="27947" y="171887"/>
                    </a:lnTo>
                    <a:lnTo>
                      <a:pt x="24257" y="175578"/>
                    </a:lnTo>
                    <a:lnTo>
                      <a:pt x="9501" y="186648"/>
                    </a:lnTo>
                    <a:lnTo>
                      <a:pt x="5812" y="186648"/>
                    </a:lnTo>
                    <a:lnTo>
                      <a:pt x="5812" y="190339"/>
                    </a:lnTo>
                    <a:lnTo>
                      <a:pt x="13190" y="197723"/>
                    </a:lnTo>
                    <a:lnTo>
                      <a:pt x="13190" y="205105"/>
                    </a:lnTo>
                    <a:lnTo>
                      <a:pt x="13190" y="216173"/>
                    </a:lnTo>
                    <a:lnTo>
                      <a:pt x="9501" y="219869"/>
                    </a:lnTo>
                    <a:lnTo>
                      <a:pt x="13190" y="219869"/>
                    </a:lnTo>
                    <a:lnTo>
                      <a:pt x="16879" y="227241"/>
                    </a:lnTo>
                    <a:lnTo>
                      <a:pt x="13190" y="227241"/>
                    </a:lnTo>
                    <a:lnTo>
                      <a:pt x="16879" y="230937"/>
                    </a:lnTo>
                    <a:lnTo>
                      <a:pt x="20568" y="227241"/>
                    </a:lnTo>
                    <a:lnTo>
                      <a:pt x="24257" y="227241"/>
                    </a:lnTo>
                    <a:lnTo>
                      <a:pt x="39014" y="223555"/>
                    </a:lnTo>
                    <a:lnTo>
                      <a:pt x="42703" y="223555"/>
                    </a:lnTo>
                    <a:lnTo>
                      <a:pt x="46392" y="223555"/>
                    </a:lnTo>
                    <a:lnTo>
                      <a:pt x="50082" y="227241"/>
                    </a:lnTo>
                    <a:lnTo>
                      <a:pt x="53771" y="227241"/>
                    </a:lnTo>
                    <a:lnTo>
                      <a:pt x="57460" y="227241"/>
                    </a:lnTo>
                    <a:lnTo>
                      <a:pt x="64838" y="227241"/>
                    </a:lnTo>
                    <a:lnTo>
                      <a:pt x="75903" y="230937"/>
                    </a:lnTo>
                    <a:lnTo>
                      <a:pt x="83285" y="238319"/>
                    </a:lnTo>
                    <a:lnTo>
                      <a:pt x="94353" y="242005"/>
                    </a:lnTo>
                    <a:lnTo>
                      <a:pt x="101725" y="249387"/>
                    </a:lnTo>
                    <a:lnTo>
                      <a:pt x="134930" y="278914"/>
                    </a:lnTo>
                    <a:lnTo>
                      <a:pt x="138625" y="286296"/>
                    </a:lnTo>
                    <a:lnTo>
                      <a:pt x="142312" y="286296"/>
                    </a:lnTo>
                    <a:lnTo>
                      <a:pt x="149693" y="289982"/>
                    </a:lnTo>
                    <a:lnTo>
                      <a:pt x="157066" y="286296"/>
                    </a:lnTo>
                    <a:lnTo>
                      <a:pt x="175516" y="278914"/>
                    </a:lnTo>
                    <a:lnTo>
                      <a:pt x="179202" y="278914"/>
                    </a:lnTo>
                    <a:lnTo>
                      <a:pt x="186584" y="278914"/>
                    </a:lnTo>
                    <a:lnTo>
                      <a:pt x="190270" y="275219"/>
                    </a:lnTo>
                    <a:lnTo>
                      <a:pt x="201338" y="271532"/>
                    </a:lnTo>
                    <a:lnTo>
                      <a:pt x="205024" y="271532"/>
                    </a:lnTo>
                    <a:lnTo>
                      <a:pt x="208720" y="256769"/>
                    </a:lnTo>
                    <a:lnTo>
                      <a:pt x="212406" y="253082"/>
                    </a:lnTo>
                    <a:lnTo>
                      <a:pt x="212406" y="242005"/>
                    </a:lnTo>
                    <a:lnTo>
                      <a:pt x="216092" y="242005"/>
                    </a:lnTo>
                    <a:lnTo>
                      <a:pt x="216092" y="234623"/>
                    </a:lnTo>
                    <a:lnTo>
                      <a:pt x="216092" y="230937"/>
                    </a:lnTo>
                    <a:lnTo>
                      <a:pt x="216092" y="227241"/>
                    </a:lnTo>
                    <a:lnTo>
                      <a:pt x="216092" y="223555"/>
                    </a:lnTo>
                    <a:lnTo>
                      <a:pt x="212406" y="223555"/>
                    </a:lnTo>
                    <a:lnTo>
                      <a:pt x="212406" y="219869"/>
                    </a:lnTo>
                    <a:lnTo>
                      <a:pt x="208720" y="212487"/>
                    </a:lnTo>
                    <a:lnTo>
                      <a:pt x="212406" y="208791"/>
                    </a:lnTo>
                    <a:lnTo>
                      <a:pt x="223474" y="197723"/>
                    </a:lnTo>
                    <a:lnTo>
                      <a:pt x="230856" y="201409"/>
                    </a:lnTo>
                    <a:lnTo>
                      <a:pt x="241914" y="197723"/>
                    </a:lnTo>
                    <a:lnTo>
                      <a:pt x="245610" y="197723"/>
                    </a:lnTo>
                    <a:lnTo>
                      <a:pt x="249296" y="194027"/>
                    </a:lnTo>
                    <a:lnTo>
                      <a:pt x="245610" y="194027"/>
                    </a:lnTo>
                    <a:lnTo>
                      <a:pt x="249296" y="190339"/>
                    </a:lnTo>
                    <a:lnTo>
                      <a:pt x="252982" y="186648"/>
                    </a:lnTo>
                    <a:lnTo>
                      <a:pt x="256678" y="182958"/>
                    </a:lnTo>
                    <a:lnTo>
                      <a:pt x="267746" y="171887"/>
                    </a:lnTo>
                    <a:lnTo>
                      <a:pt x="297255" y="157125"/>
                    </a:lnTo>
                    <a:lnTo>
                      <a:pt x="300950" y="157125"/>
                    </a:lnTo>
                    <a:lnTo>
                      <a:pt x="304637" y="157125"/>
                    </a:lnTo>
                    <a:lnTo>
                      <a:pt x="308323" y="160815"/>
                    </a:lnTo>
                    <a:lnTo>
                      <a:pt x="312009" y="160815"/>
                    </a:lnTo>
                    <a:lnTo>
                      <a:pt x="326773" y="149743"/>
                    </a:lnTo>
                    <a:lnTo>
                      <a:pt x="330459" y="142362"/>
                    </a:lnTo>
                    <a:lnTo>
                      <a:pt x="337841" y="134981"/>
                    </a:lnTo>
                    <a:lnTo>
                      <a:pt x="341527" y="127600"/>
                    </a:lnTo>
                    <a:lnTo>
                      <a:pt x="345213" y="123909"/>
                    </a:lnTo>
                    <a:lnTo>
                      <a:pt x="348909" y="116528"/>
                    </a:lnTo>
                    <a:lnTo>
                      <a:pt x="359977" y="94385"/>
                    </a:lnTo>
                    <a:lnTo>
                      <a:pt x="363663" y="87004"/>
                    </a:lnTo>
                    <a:lnTo>
                      <a:pt x="363663" y="83313"/>
                    </a:lnTo>
                    <a:lnTo>
                      <a:pt x="363663" y="75932"/>
                    </a:lnTo>
                    <a:lnTo>
                      <a:pt x="363663" y="57479"/>
                    </a:lnTo>
                    <a:lnTo>
                      <a:pt x="359977" y="50098"/>
                    </a:lnTo>
                    <a:lnTo>
                      <a:pt x="341527" y="31645"/>
                    </a:lnTo>
                    <a:lnTo>
                      <a:pt x="341527" y="27954"/>
                    </a:lnTo>
                    <a:lnTo>
                      <a:pt x="337841" y="27954"/>
                    </a:lnTo>
                    <a:lnTo>
                      <a:pt x="319391" y="27954"/>
                    </a:lnTo>
                    <a:lnTo>
                      <a:pt x="315705" y="27954"/>
                    </a:lnTo>
                    <a:lnTo>
                      <a:pt x="300950" y="24264"/>
                    </a:lnTo>
                    <a:lnTo>
                      <a:pt x="267746" y="13193"/>
                    </a:lnTo>
                    <a:lnTo>
                      <a:pt x="264051" y="13193"/>
                    </a:lnTo>
                    <a:lnTo>
                      <a:pt x="260364" y="5812"/>
                    </a:lnTo>
                    <a:lnTo>
                      <a:pt x="256678" y="5812"/>
                    </a:lnTo>
                    <a:close/>
                    <a:moveTo>
                      <a:pt x="51580" y="157125"/>
                    </a:moveTo>
                    <a:lnTo>
                      <a:pt x="57460" y="153434"/>
                    </a:lnTo>
                    <a:lnTo>
                      <a:pt x="50082" y="157125"/>
                    </a:lnTo>
                    <a:lnTo>
                      <a:pt x="51580" y="157125"/>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B57B9CEB-7655-4F77-834C-50A55995D0A3}"/>
                  </a:ext>
                </a:extLst>
              </p:cNvPr>
              <p:cNvSpPr/>
              <p:nvPr/>
            </p:nvSpPr>
            <p:spPr>
              <a:xfrm>
                <a:off x="6052755" y="2466779"/>
                <a:ext cx="468179" cy="425617"/>
              </a:xfrm>
              <a:custGeom>
                <a:avLst/>
                <a:gdLst>
                  <a:gd name="connsiteX0" fmla="*/ 68524 w 209550"/>
                  <a:gd name="connsiteY0" fmla="*/ 5812 h 190500"/>
                  <a:gd name="connsiteX1" fmla="*/ 72220 w 209550"/>
                  <a:gd name="connsiteY1" fmla="*/ 13193 h 190500"/>
                  <a:gd name="connsiteX2" fmla="*/ 64838 w 209550"/>
                  <a:gd name="connsiteY2" fmla="*/ 9503 h 190500"/>
                  <a:gd name="connsiteX3" fmla="*/ 64838 w 209550"/>
                  <a:gd name="connsiteY3" fmla="*/ 13193 h 190500"/>
                  <a:gd name="connsiteX4" fmla="*/ 61152 w 209550"/>
                  <a:gd name="connsiteY4" fmla="*/ 13193 h 190500"/>
                  <a:gd name="connsiteX5" fmla="*/ 42702 w 209550"/>
                  <a:gd name="connsiteY5" fmla="*/ 16883 h 190500"/>
                  <a:gd name="connsiteX6" fmla="*/ 39016 w 209550"/>
                  <a:gd name="connsiteY6" fmla="*/ 16883 h 190500"/>
                  <a:gd name="connsiteX7" fmla="*/ 39016 w 209550"/>
                  <a:gd name="connsiteY7" fmla="*/ 20574 h 190500"/>
                  <a:gd name="connsiteX8" fmla="*/ 27948 w 209550"/>
                  <a:gd name="connsiteY8" fmla="*/ 39027 h 190500"/>
                  <a:gd name="connsiteX9" fmla="*/ 9498 w 209550"/>
                  <a:gd name="connsiteY9" fmla="*/ 68552 h 190500"/>
                  <a:gd name="connsiteX10" fmla="*/ 9498 w 209550"/>
                  <a:gd name="connsiteY10" fmla="*/ 72242 h 190500"/>
                  <a:gd name="connsiteX11" fmla="*/ 5812 w 209550"/>
                  <a:gd name="connsiteY11" fmla="*/ 83314 h 190500"/>
                  <a:gd name="connsiteX12" fmla="*/ 5812 w 209550"/>
                  <a:gd name="connsiteY12" fmla="*/ 120219 h 190500"/>
                  <a:gd name="connsiteX13" fmla="*/ 5812 w 209550"/>
                  <a:gd name="connsiteY13" fmla="*/ 138672 h 190500"/>
                  <a:gd name="connsiteX14" fmla="*/ 5812 w 209550"/>
                  <a:gd name="connsiteY14" fmla="*/ 146054 h 190500"/>
                  <a:gd name="connsiteX15" fmla="*/ 5812 w 209550"/>
                  <a:gd name="connsiteY15" fmla="*/ 149744 h 190500"/>
                  <a:gd name="connsiteX16" fmla="*/ 5812 w 209550"/>
                  <a:gd name="connsiteY16" fmla="*/ 153435 h 190500"/>
                  <a:gd name="connsiteX17" fmla="*/ 9498 w 209550"/>
                  <a:gd name="connsiteY17" fmla="*/ 153435 h 190500"/>
                  <a:gd name="connsiteX18" fmla="*/ 13184 w 209550"/>
                  <a:gd name="connsiteY18" fmla="*/ 157125 h 190500"/>
                  <a:gd name="connsiteX19" fmla="*/ 16880 w 209550"/>
                  <a:gd name="connsiteY19" fmla="*/ 160816 h 190500"/>
                  <a:gd name="connsiteX20" fmla="*/ 24252 w 209550"/>
                  <a:gd name="connsiteY20" fmla="*/ 171888 h 190500"/>
                  <a:gd name="connsiteX21" fmla="*/ 35320 w 209550"/>
                  <a:gd name="connsiteY21" fmla="*/ 186649 h 190500"/>
                  <a:gd name="connsiteX22" fmla="*/ 39016 w 209550"/>
                  <a:gd name="connsiteY22" fmla="*/ 190340 h 190500"/>
                  <a:gd name="connsiteX23" fmla="*/ 42702 w 209550"/>
                  <a:gd name="connsiteY23" fmla="*/ 190340 h 190500"/>
                  <a:gd name="connsiteX24" fmla="*/ 79592 w 209550"/>
                  <a:gd name="connsiteY24" fmla="*/ 190340 h 190500"/>
                  <a:gd name="connsiteX25" fmla="*/ 83278 w 209550"/>
                  <a:gd name="connsiteY25" fmla="*/ 190340 h 190500"/>
                  <a:gd name="connsiteX26" fmla="*/ 94346 w 209550"/>
                  <a:gd name="connsiteY26" fmla="*/ 190340 h 190500"/>
                  <a:gd name="connsiteX27" fmla="*/ 123864 w 209550"/>
                  <a:gd name="connsiteY27" fmla="*/ 190340 h 190500"/>
                  <a:gd name="connsiteX28" fmla="*/ 127551 w 209550"/>
                  <a:gd name="connsiteY28" fmla="*/ 190340 h 190500"/>
                  <a:gd name="connsiteX29" fmla="*/ 157069 w 209550"/>
                  <a:gd name="connsiteY29" fmla="*/ 182959 h 190500"/>
                  <a:gd name="connsiteX30" fmla="*/ 160755 w 209550"/>
                  <a:gd name="connsiteY30" fmla="*/ 186649 h 190500"/>
                  <a:gd name="connsiteX31" fmla="*/ 164441 w 209550"/>
                  <a:gd name="connsiteY31" fmla="*/ 190340 h 190500"/>
                  <a:gd name="connsiteX32" fmla="*/ 171823 w 209550"/>
                  <a:gd name="connsiteY32" fmla="*/ 186649 h 190500"/>
                  <a:gd name="connsiteX33" fmla="*/ 175509 w 209550"/>
                  <a:gd name="connsiteY33" fmla="*/ 186649 h 190500"/>
                  <a:gd name="connsiteX34" fmla="*/ 182891 w 209550"/>
                  <a:gd name="connsiteY34" fmla="*/ 182959 h 190500"/>
                  <a:gd name="connsiteX35" fmla="*/ 182891 w 209550"/>
                  <a:gd name="connsiteY35" fmla="*/ 179269 h 190500"/>
                  <a:gd name="connsiteX36" fmla="*/ 193959 w 209550"/>
                  <a:gd name="connsiteY36" fmla="*/ 175578 h 190500"/>
                  <a:gd name="connsiteX37" fmla="*/ 197645 w 209550"/>
                  <a:gd name="connsiteY37" fmla="*/ 175578 h 190500"/>
                  <a:gd name="connsiteX38" fmla="*/ 208713 w 209550"/>
                  <a:gd name="connsiteY38" fmla="*/ 168197 h 190500"/>
                  <a:gd name="connsiteX39" fmla="*/ 212409 w 209550"/>
                  <a:gd name="connsiteY39" fmla="*/ 164507 h 190500"/>
                  <a:gd name="connsiteX40" fmla="*/ 208713 w 209550"/>
                  <a:gd name="connsiteY40" fmla="*/ 157125 h 190500"/>
                  <a:gd name="connsiteX41" fmla="*/ 201341 w 209550"/>
                  <a:gd name="connsiteY41" fmla="*/ 157125 h 190500"/>
                  <a:gd name="connsiteX42" fmla="*/ 197645 w 209550"/>
                  <a:gd name="connsiteY42" fmla="*/ 153435 h 190500"/>
                  <a:gd name="connsiteX43" fmla="*/ 193959 w 209550"/>
                  <a:gd name="connsiteY43" fmla="*/ 149744 h 190500"/>
                  <a:gd name="connsiteX44" fmla="*/ 186577 w 209550"/>
                  <a:gd name="connsiteY44" fmla="*/ 146054 h 190500"/>
                  <a:gd name="connsiteX45" fmla="*/ 182891 w 209550"/>
                  <a:gd name="connsiteY45" fmla="*/ 146054 h 190500"/>
                  <a:gd name="connsiteX46" fmla="*/ 175509 w 209550"/>
                  <a:gd name="connsiteY46" fmla="*/ 142363 h 190500"/>
                  <a:gd name="connsiteX47" fmla="*/ 175509 w 209550"/>
                  <a:gd name="connsiteY47" fmla="*/ 146054 h 190500"/>
                  <a:gd name="connsiteX48" fmla="*/ 171823 w 209550"/>
                  <a:gd name="connsiteY48" fmla="*/ 146054 h 190500"/>
                  <a:gd name="connsiteX49" fmla="*/ 171823 w 209550"/>
                  <a:gd name="connsiteY49" fmla="*/ 142363 h 190500"/>
                  <a:gd name="connsiteX50" fmla="*/ 171823 w 209550"/>
                  <a:gd name="connsiteY50" fmla="*/ 138672 h 190500"/>
                  <a:gd name="connsiteX51" fmla="*/ 175509 w 209550"/>
                  <a:gd name="connsiteY51" fmla="*/ 134982 h 190500"/>
                  <a:gd name="connsiteX52" fmla="*/ 179205 w 209550"/>
                  <a:gd name="connsiteY52" fmla="*/ 131291 h 190500"/>
                  <a:gd name="connsiteX53" fmla="*/ 186577 w 209550"/>
                  <a:gd name="connsiteY53" fmla="*/ 127600 h 190500"/>
                  <a:gd name="connsiteX54" fmla="*/ 186577 w 209550"/>
                  <a:gd name="connsiteY54" fmla="*/ 123910 h 190500"/>
                  <a:gd name="connsiteX55" fmla="*/ 186577 w 209550"/>
                  <a:gd name="connsiteY55" fmla="*/ 120219 h 190500"/>
                  <a:gd name="connsiteX56" fmla="*/ 182891 w 209550"/>
                  <a:gd name="connsiteY56" fmla="*/ 116529 h 190500"/>
                  <a:gd name="connsiteX57" fmla="*/ 182891 w 209550"/>
                  <a:gd name="connsiteY57" fmla="*/ 112838 h 190500"/>
                  <a:gd name="connsiteX58" fmla="*/ 179205 w 209550"/>
                  <a:gd name="connsiteY58" fmla="*/ 109147 h 190500"/>
                  <a:gd name="connsiteX59" fmla="*/ 175509 w 209550"/>
                  <a:gd name="connsiteY59" fmla="*/ 109147 h 190500"/>
                  <a:gd name="connsiteX60" fmla="*/ 175509 w 209550"/>
                  <a:gd name="connsiteY60" fmla="*/ 105457 h 190500"/>
                  <a:gd name="connsiteX61" fmla="*/ 168137 w 209550"/>
                  <a:gd name="connsiteY61" fmla="*/ 90695 h 190500"/>
                  <a:gd name="connsiteX62" fmla="*/ 164441 w 209550"/>
                  <a:gd name="connsiteY62" fmla="*/ 79623 h 190500"/>
                  <a:gd name="connsiteX63" fmla="*/ 157069 w 209550"/>
                  <a:gd name="connsiteY63" fmla="*/ 72242 h 190500"/>
                  <a:gd name="connsiteX64" fmla="*/ 153373 w 209550"/>
                  <a:gd name="connsiteY64" fmla="*/ 72242 h 190500"/>
                  <a:gd name="connsiteX65" fmla="*/ 149687 w 209550"/>
                  <a:gd name="connsiteY65" fmla="*/ 68552 h 190500"/>
                  <a:gd name="connsiteX66" fmla="*/ 146001 w 209550"/>
                  <a:gd name="connsiteY66" fmla="*/ 61171 h 190500"/>
                  <a:gd name="connsiteX67" fmla="*/ 134932 w 209550"/>
                  <a:gd name="connsiteY67" fmla="*/ 57480 h 190500"/>
                  <a:gd name="connsiteX68" fmla="*/ 131246 w 209550"/>
                  <a:gd name="connsiteY68" fmla="*/ 53789 h 190500"/>
                  <a:gd name="connsiteX69" fmla="*/ 123864 w 209550"/>
                  <a:gd name="connsiteY69" fmla="*/ 53789 h 190500"/>
                  <a:gd name="connsiteX70" fmla="*/ 116483 w 209550"/>
                  <a:gd name="connsiteY70" fmla="*/ 53789 h 190500"/>
                  <a:gd name="connsiteX71" fmla="*/ 116483 w 209550"/>
                  <a:gd name="connsiteY71" fmla="*/ 50099 h 190500"/>
                  <a:gd name="connsiteX72" fmla="*/ 112796 w 209550"/>
                  <a:gd name="connsiteY72" fmla="*/ 46408 h 190500"/>
                  <a:gd name="connsiteX73" fmla="*/ 109110 w 209550"/>
                  <a:gd name="connsiteY73" fmla="*/ 42717 h 190500"/>
                  <a:gd name="connsiteX74" fmla="*/ 105414 w 209550"/>
                  <a:gd name="connsiteY74" fmla="*/ 35336 h 190500"/>
                  <a:gd name="connsiteX75" fmla="*/ 101728 w 209550"/>
                  <a:gd name="connsiteY75" fmla="*/ 39027 h 190500"/>
                  <a:gd name="connsiteX76" fmla="*/ 101728 w 209550"/>
                  <a:gd name="connsiteY76" fmla="*/ 35336 h 190500"/>
                  <a:gd name="connsiteX77" fmla="*/ 98042 w 209550"/>
                  <a:gd name="connsiteY77" fmla="*/ 27955 h 190500"/>
                  <a:gd name="connsiteX78" fmla="*/ 83278 w 209550"/>
                  <a:gd name="connsiteY78" fmla="*/ 9503 h 190500"/>
                  <a:gd name="connsiteX79" fmla="*/ 79592 w 209550"/>
                  <a:gd name="connsiteY79" fmla="*/ 9503 h 190500"/>
                  <a:gd name="connsiteX80" fmla="*/ 68524 w 209550"/>
                  <a:gd name="connsiteY80" fmla="*/ 5812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09550" h="190500">
                    <a:moveTo>
                      <a:pt x="68524" y="5812"/>
                    </a:moveTo>
                    <a:lnTo>
                      <a:pt x="72220" y="13193"/>
                    </a:lnTo>
                    <a:lnTo>
                      <a:pt x="64838" y="9503"/>
                    </a:lnTo>
                    <a:lnTo>
                      <a:pt x="64838" y="13193"/>
                    </a:lnTo>
                    <a:lnTo>
                      <a:pt x="61152" y="13193"/>
                    </a:lnTo>
                    <a:lnTo>
                      <a:pt x="42702" y="16883"/>
                    </a:lnTo>
                    <a:lnTo>
                      <a:pt x="39016" y="16883"/>
                    </a:lnTo>
                    <a:lnTo>
                      <a:pt x="39016" y="20574"/>
                    </a:lnTo>
                    <a:lnTo>
                      <a:pt x="27948" y="39027"/>
                    </a:lnTo>
                    <a:lnTo>
                      <a:pt x="9498" y="68552"/>
                    </a:lnTo>
                    <a:lnTo>
                      <a:pt x="9498" y="72242"/>
                    </a:lnTo>
                    <a:lnTo>
                      <a:pt x="5812" y="83314"/>
                    </a:lnTo>
                    <a:lnTo>
                      <a:pt x="5812" y="120219"/>
                    </a:lnTo>
                    <a:lnTo>
                      <a:pt x="5812" y="138672"/>
                    </a:lnTo>
                    <a:lnTo>
                      <a:pt x="5812" y="146054"/>
                    </a:lnTo>
                    <a:lnTo>
                      <a:pt x="5812" y="149744"/>
                    </a:lnTo>
                    <a:lnTo>
                      <a:pt x="5812" y="153435"/>
                    </a:lnTo>
                    <a:lnTo>
                      <a:pt x="9498" y="153435"/>
                    </a:lnTo>
                    <a:lnTo>
                      <a:pt x="13184" y="157125"/>
                    </a:lnTo>
                    <a:lnTo>
                      <a:pt x="16880" y="160816"/>
                    </a:lnTo>
                    <a:lnTo>
                      <a:pt x="24252" y="171888"/>
                    </a:lnTo>
                    <a:lnTo>
                      <a:pt x="35320" y="186649"/>
                    </a:lnTo>
                    <a:lnTo>
                      <a:pt x="39016" y="190340"/>
                    </a:lnTo>
                    <a:lnTo>
                      <a:pt x="42702" y="190340"/>
                    </a:lnTo>
                    <a:lnTo>
                      <a:pt x="79592" y="190340"/>
                    </a:lnTo>
                    <a:lnTo>
                      <a:pt x="83278" y="190340"/>
                    </a:lnTo>
                    <a:lnTo>
                      <a:pt x="94346" y="190340"/>
                    </a:lnTo>
                    <a:lnTo>
                      <a:pt x="123864" y="190340"/>
                    </a:lnTo>
                    <a:lnTo>
                      <a:pt x="127551" y="190340"/>
                    </a:lnTo>
                    <a:lnTo>
                      <a:pt x="157069" y="182959"/>
                    </a:lnTo>
                    <a:lnTo>
                      <a:pt x="160755" y="186649"/>
                    </a:lnTo>
                    <a:lnTo>
                      <a:pt x="164441" y="190340"/>
                    </a:lnTo>
                    <a:lnTo>
                      <a:pt x="171823" y="186649"/>
                    </a:lnTo>
                    <a:lnTo>
                      <a:pt x="175509" y="186649"/>
                    </a:lnTo>
                    <a:lnTo>
                      <a:pt x="182891" y="182959"/>
                    </a:lnTo>
                    <a:lnTo>
                      <a:pt x="182891" y="179269"/>
                    </a:lnTo>
                    <a:lnTo>
                      <a:pt x="193959" y="175578"/>
                    </a:lnTo>
                    <a:lnTo>
                      <a:pt x="197645" y="175578"/>
                    </a:lnTo>
                    <a:lnTo>
                      <a:pt x="208713" y="168197"/>
                    </a:lnTo>
                    <a:lnTo>
                      <a:pt x="212409" y="164507"/>
                    </a:lnTo>
                    <a:lnTo>
                      <a:pt x="208713" y="157125"/>
                    </a:lnTo>
                    <a:lnTo>
                      <a:pt x="201341" y="157125"/>
                    </a:lnTo>
                    <a:lnTo>
                      <a:pt x="197645" y="153435"/>
                    </a:lnTo>
                    <a:lnTo>
                      <a:pt x="193959" y="149744"/>
                    </a:lnTo>
                    <a:lnTo>
                      <a:pt x="186577" y="146054"/>
                    </a:lnTo>
                    <a:lnTo>
                      <a:pt x="182891" y="146054"/>
                    </a:lnTo>
                    <a:lnTo>
                      <a:pt x="175509" y="142363"/>
                    </a:lnTo>
                    <a:lnTo>
                      <a:pt x="175509" y="146054"/>
                    </a:lnTo>
                    <a:lnTo>
                      <a:pt x="171823" y="146054"/>
                    </a:lnTo>
                    <a:lnTo>
                      <a:pt x="171823" y="142363"/>
                    </a:lnTo>
                    <a:lnTo>
                      <a:pt x="171823" y="138672"/>
                    </a:lnTo>
                    <a:lnTo>
                      <a:pt x="175509" y="134982"/>
                    </a:lnTo>
                    <a:lnTo>
                      <a:pt x="179205" y="131291"/>
                    </a:lnTo>
                    <a:lnTo>
                      <a:pt x="186577" y="127600"/>
                    </a:lnTo>
                    <a:lnTo>
                      <a:pt x="186577" y="123910"/>
                    </a:lnTo>
                    <a:lnTo>
                      <a:pt x="186577" y="120219"/>
                    </a:lnTo>
                    <a:lnTo>
                      <a:pt x="182891" y="116529"/>
                    </a:lnTo>
                    <a:lnTo>
                      <a:pt x="182891" y="112838"/>
                    </a:lnTo>
                    <a:lnTo>
                      <a:pt x="179205" y="109147"/>
                    </a:lnTo>
                    <a:lnTo>
                      <a:pt x="175509" y="109147"/>
                    </a:lnTo>
                    <a:lnTo>
                      <a:pt x="175509" y="105457"/>
                    </a:lnTo>
                    <a:lnTo>
                      <a:pt x="168137" y="90695"/>
                    </a:lnTo>
                    <a:lnTo>
                      <a:pt x="164441" y="79623"/>
                    </a:lnTo>
                    <a:lnTo>
                      <a:pt x="157069" y="72242"/>
                    </a:lnTo>
                    <a:lnTo>
                      <a:pt x="153373" y="72242"/>
                    </a:lnTo>
                    <a:lnTo>
                      <a:pt x="149687" y="68552"/>
                    </a:lnTo>
                    <a:lnTo>
                      <a:pt x="146001" y="61171"/>
                    </a:lnTo>
                    <a:lnTo>
                      <a:pt x="134932" y="57480"/>
                    </a:lnTo>
                    <a:lnTo>
                      <a:pt x="131246" y="53789"/>
                    </a:lnTo>
                    <a:lnTo>
                      <a:pt x="123864" y="53789"/>
                    </a:lnTo>
                    <a:lnTo>
                      <a:pt x="116483" y="53789"/>
                    </a:lnTo>
                    <a:lnTo>
                      <a:pt x="116483" y="50099"/>
                    </a:lnTo>
                    <a:lnTo>
                      <a:pt x="112796" y="46408"/>
                    </a:lnTo>
                    <a:lnTo>
                      <a:pt x="109110" y="42717"/>
                    </a:lnTo>
                    <a:lnTo>
                      <a:pt x="105414" y="35336"/>
                    </a:lnTo>
                    <a:lnTo>
                      <a:pt x="101728" y="39027"/>
                    </a:lnTo>
                    <a:lnTo>
                      <a:pt x="101728" y="35336"/>
                    </a:lnTo>
                    <a:lnTo>
                      <a:pt x="98042" y="27955"/>
                    </a:lnTo>
                    <a:lnTo>
                      <a:pt x="83278" y="9503"/>
                    </a:lnTo>
                    <a:lnTo>
                      <a:pt x="79592" y="9503"/>
                    </a:lnTo>
                    <a:lnTo>
                      <a:pt x="68524"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6CE135A7-C1AC-4F61-B49A-C3B43AC23A54}"/>
                  </a:ext>
                </a:extLst>
              </p:cNvPr>
              <p:cNvSpPr/>
              <p:nvPr/>
            </p:nvSpPr>
            <p:spPr>
              <a:xfrm>
                <a:off x="6201125" y="2895544"/>
                <a:ext cx="42562" cy="42562"/>
              </a:xfrm>
              <a:custGeom>
                <a:avLst/>
                <a:gdLst>
                  <a:gd name="connsiteX0" fmla="*/ 9498 w 19050"/>
                  <a:gd name="connsiteY0" fmla="*/ 5812 h 19050"/>
                  <a:gd name="connsiteX1" fmla="*/ 13184 w 19050"/>
                  <a:gd name="connsiteY1" fmla="*/ 5812 h 19050"/>
                  <a:gd name="connsiteX2" fmla="*/ 16870 w 19050"/>
                  <a:gd name="connsiteY2" fmla="*/ 5812 h 19050"/>
                  <a:gd name="connsiteX3" fmla="*/ 16870 w 19050"/>
                  <a:gd name="connsiteY3" fmla="*/ 5812 h 19050"/>
                  <a:gd name="connsiteX4" fmla="*/ 20566 w 19050"/>
                  <a:gd name="connsiteY4" fmla="*/ 9503 h 19050"/>
                  <a:gd name="connsiteX5" fmla="*/ 16870 w 19050"/>
                  <a:gd name="connsiteY5" fmla="*/ 13193 h 19050"/>
                  <a:gd name="connsiteX6" fmla="*/ 16870 w 19050"/>
                  <a:gd name="connsiteY6" fmla="*/ 13193 h 19050"/>
                  <a:gd name="connsiteX7" fmla="*/ 13184 w 19050"/>
                  <a:gd name="connsiteY7" fmla="*/ 13193 h 19050"/>
                  <a:gd name="connsiteX8" fmla="*/ 13184 w 19050"/>
                  <a:gd name="connsiteY8" fmla="*/ 13193 h 19050"/>
                  <a:gd name="connsiteX9" fmla="*/ 13184 w 19050"/>
                  <a:gd name="connsiteY9" fmla="*/ 13193 h 19050"/>
                  <a:gd name="connsiteX10" fmla="*/ 13184 w 19050"/>
                  <a:gd name="connsiteY10" fmla="*/ 16883 h 19050"/>
                  <a:gd name="connsiteX11" fmla="*/ 13184 w 19050"/>
                  <a:gd name="connsiteY11" fmla="*/ 16883 h 19050"/>
                  <a:gd name="connsiteX12" fmla="*/ 13184 w 19050"/>
                  <a:gd name="connsiteY12" fmla="*/ 16883 h 19050"/>
                  <a:gd name="connsiteX13" fmla="*/ 9498 w 19050"/>
                  <a:gd name="connsiteY13" fmla="*/ 13193 h 19050"/>
                  <a:gd name="connsiteX14" fmla="*/ 9498 w 19050"/>
                  <a:gd name="connsiteY14" fmla="*/ 13193 h 19050"/>
                  <a:gd name="connsiteX15" fmla="*/ 9498 w 19050"/>
                  <a:gd name="connsiteY15" fmla="*/ 9503 h 19050"/>
                  <a:gd name="connsiteX16" fmla="*/ 5812 w 19050"/>
                  <a:gd name="connsiteY16" fmla="*/ 9503 h 19050"/>
                  <a:gd name="connsiteX17" fmla="*/ 5812 w 19050"/>
                  <a:gd name="connsiteY17" fmla="*/ 5812 h 19050"/>
                  <a:gd name="connsiteX18" fmla="*/ 9498 w 19050"/>
                  <a:gd name="connsiteY18" fmla="*/ 5812 h 19050"/>
                  <a:gd name="connsiteX19" fmla="*/ 9498 w 19050"/>
                  <a:gd name="connsiteY19"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9050" h="19050">
                    <a:moveTo>
                      <a:pt x="9498" y="5812"/>
                    </a:moveTo>
                    <a:lnTo>
                      <a:pt x="13184" y="5812"/>
                    </a:lnTo>
                    <a:lnTo>
                      <a:pt x="16870" y="5812"/>
                    </a:lnTo>
                    <a:lnTo>
                      <a:pt x="16870" y="5812"/>
                    </a:lnTo>
                    <a:lnTo>
                      <a:pt x="20566" y="9503"/>
                    </a:lnTo>
                    <a:lnTo>
                      <a:pt x="16870" y="13193"/>
                    </a:lnTo>
                    <a:lnTo>
                      <a:pt x="16870" y="13193"/>
                    </a:lnTo>
                    <a:lnTo>
                      <a:pt x="13184" y="13193"/>
                    </a:lnTo>
                    <a:lnTo>
                      <a:pt x="13184" y="13193"/>
                    </a:lnTo>
                    <a:lnTo>
                      <a:pt x="13184" y="13193"/>
                    </a:lnTo>
                    <a:lnTo>
                      <a:pt x="13184" y="16883"/>
                    </a:lnTo>
                    <a:lnTo>
                      <a:pt x="13184" y="16883"/>
                    </a:lnTo>
                    <a:lnTo>
                      <a:pt x="13184" y="16883"/>
                    </a:lnTo>
                    <a:lnTo>
                      <a:pt x="9498" y="13193"/>
                    </a:lnTo>
                    <a:lnTo>
                      <a:pt x="9498" y="13193"/>
                    </a:lnTo>
                    <a:lnTo>
                      <a:pt x="9498" y="9503"/>
                    </a:lnTo>
                    <a:lnTo>
                      <a:pt x="5812" y="9503"/>
                    </a:lnTo>
                    <a:lnTo>
                      <a:pt x="5812" y="5812"/>
                    </a:lnTo>
                    <a:lnTo>
                      <a:pt x="9498" y="5812"/>
                    </a:lnTo>
                    <a:lnTo>
                      <a:pt x="9498"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1777E43-73B1-4DE6-9DD4-6E03E5FB5C4B}"/>
                  </a:ext>
                </a:extLst>
              </p:cNvPr>
              <p:cNvSpPr/>
              <p:nvPr/>
            </p:nvSpPr>
            <p:spPr>
              <a:xfrm>
                <a:off x="5714815" y="2738879"/>
                <a:ext cx="212808" cy="319213"/>
              </a:xfrm>
              <a:custGeom>
                <a:avLst/>
                <a:gdLst>
                  <a:gd name="connsiteX0" fmla="*/ 9498 w 95250"/>
                  <a:gd name="connsiteY0" fmla="*/ 5812 h 142875"/>
                  <a:gd name="connsiteX1" fmla="*/ 9498 w 95250"/>
                  <a:gd name="connsiteY1" fmla="*/ 5812 h 142875"/>
                  <a:gd name="connsiteX2" fmla="*/ 16880 w 95250"/>
                  <a:gd name="connsiteY2" fmla="*/ 5812 h 142875"/>
                  <a:gd name="connsiteX3" fmla="*/ 42702 w 95250"/>
                  <a:gd name="connsiteY3" fmla="*/ 16883 h 142875"/>
                  <a:gd name="connsiteX4" fmla="*/ 46388 w 95250"/>
                  <a:gd name="connsiteY4" fmla="*/ 20574 h 142875"/>
                  <a:gd name="connsiteX5" fmla="*/ 64838 w 95250"/>
                  <a:gd name="connsiteY5" fmla="*/ 39027 h 142875"/>
                  <a:gd name="connsiteX6" fmla="*/ 72220 w 95250"/>
                  <a:gd name="connsiteY6" fmla="*/ 50099 h 142875"/>
                  <a:gd name="connsiteX7" fmla="*/ 72220 w 95250"/>
                  <a:gd name="connsiteY7" fmla="*/ 53789 h 142875"/>
                  <a:gd name="connsiteX8" fmla="*/ 90660 w 95250"/>
                  <a:gd name="connsiteY8" fmla="*/ 83314 h 142875"/>
                  <a:gd name="connsiteX9" fmla="*/ 98042 w 95250"/>
                  <a:gd name="connsiteY9" fmla="*/ 101766 h 142875"/>
                  <a:gd name="connsiteX10" fmla="*/ 98042 w 95250"/>
                  <a:gd name="connsiteY10" fmla="*/ 105457 h 142875"/>
                  <a:gd name="connsiteX11" fmla="*/ 94346 w 95250"/>
                  <a:gd name="connsiteY11" fmla="*/ 105457 h 142875"/>
                  <a:gd name="connsiteX12" fmla="*/ 90660 w 95250"/>
                  <a:gd name="connsiteY12" fmla="*/ 109148 h 142875"/>
                  <a:gd name="connsiteX13" fmla="*/ 83288 w 95250"/>
                  <a:gd name="connsiteY13" fmla="*/ 112838 h 142875"/>
                  <a:gd name="connsiteX14" fmla="*/ 79592 w 95250"/>
                  <a:gd name="connsiteY14" fmla="*/ 127601 h 142875"/>
                  <a:gd name="connsiteX15" fmla="*/ 75906 w 95250"/>
                  <a:gd name="connsiteY15" fmla="*/ 134982 h 142875"/>
                  <a:gd name="connsiteX16" fmla="*/ 79592 w 95250"/>
                  <a:gd name="connsiteY16" fmla="*/ 134982 h 142875"/>
                  <a:gd name="connsiteX17" fmla="*/ 79592 w 95250"/>
                  <a:gd name="connsiteY17" fmla="*/ 134982 h 142875"/>
                  <a:gd name="connsiteX18" fmla="*/ 75906 w 95250"/>
                  <a:gd name="connsiteY18" fmla="*/ 142363 h 142875"/>
                  <a:gd name="connsiteX19" fmla="*/ 75906 w 95250"/>
                  <a:gd name="connsiteY19" fmla="*/ 134982 h 142875"/>
                  <a:gd name="connsiteX20" fmla="*/ 75906 w 95250"/>
                  <a:gd name="connsiteY20" fmla="*/ 134982 h 142875"/>
                  <a:gd name="connsiteX21" fmla="*/ 79592 w 95250"/>
                  <a:gd name="connsiteY21" fmla="*/ 127601 h 142875"/>
                  <a:gd name="connsiteX22" fmla="*/ 83288 w 95250"/>
                  <a:gd name="connsiteY22" fmla="*/ 112838 h 142875"/>
                  <a:gd name="connsiteX23" fmla="*/ 86974 w 95250"/>
                  <a:gd name="connsiteY23" fmla="*/ 109148 h 142875"/>
                  <a:gd name="connsiteX24" fmla="*/ 94346 w 95250"/>
                  <a:gd name="connsiteY24" fmla="*/ 105457 h 142875"/>
                  <a:gd name="connsiteX25" fmla="*/ 98042 w 95250"/>
                  <a:gd name="connsiteY25" fmla="*/ 105457 h 142875"/>
                  <a:gd name="connsiteX26" fmla="*/ 98042 w 95250"/>
                  <a:gd name="connsiteY26" fmla="*/ 101766 h 142875"/>
                  <a:gd name="connsiteX27" fmla="*/ 90660 w 95250"/>
                  <a:gd name="connsiteY27" fmla="*/ 83314 h 142875"/>
                  <a:gd name="connsiteX28" fmla="*/ 64838 w 95250"/>
                  <a:gd name="connsiteY28" fmla="*/ 39027 h 142875"/>
                  <a:gd name="connsiteX29" fmla="*/ 46388 w 95250"/>
                  <a:gd name="connsiteY29" fmla="*/ 20574 h 142875"/>
                  <a:gd name="connsiteX30" fmla="*/ 42702 w 95250"/>
                  <a:gd name="connsiteY30" fmla="*/ 16883 h 142875"/>
                  <a:gd name="connsiteX31" fmla="*/ 20566 w 95250"/>
                  <a:gd name="connsiteY31" fmla="*/ 5812 h 142875"/>
                  <a:gd name="connsiteX32" fmla="*/ 16880 w 95250"/>
                  <a:gd name="connsiteY32" fmla="*/ 13193 h 142875"/>
                  <a:gd name="connsiteX33" fmla="*/ 16880 w 95250"/>
                  <a:gd name="connsiteY33" fmla="*/ 13193 h 142875"/>
                  <a:gd name="connsiteX34" fmla="*/ 13193 w 95250"/>
                  <a:gd name="connsiteY34" fmla="*/ 13193 h 142875"/>
                  <a:gd name="connsiteX35" fmla="*/ 9498 w 95250"/>
                  <a:gd name="connsiteY35" fmla="*/ 13193 h 142875"/>
                  <a:gd name="connsiteX36" fmla="*/ 5812 w 95250"/>
                  <a:gd name="connsiteY36" fmla="*/ 13193 h 142875"/>
                  <a:gd name="connsiteX37" fmla="*/ 9498 w 95250"/>
                  <a:gd name="connsiteY37" fmla="*/ 13193 h 142875"/>
                  <a:gd name="connsiteX38" fmla="*/ 13193 w 95250"/>
                  <a:gd name="connsiteY38" fmla="*/ 9503 h 142875"/>
                  <a:gd name="connsiteX39" fmla="*/ 16880 w 95250"/>
                  <a:gd name="connsiteY39" fmla="*/ 5812 h 142875"/>
                  <a:gd name="connsiteX40" fmla="*/ 13193 w 95250"/>
                  <a:gd name="connsiteY40" fmla="*/ 5812 h 142875"/>
                  <a:gd name="connsiteX41" fmla="*/ 13193 w 95250"/>
                  <a:gd name="connsiteY41" fmla="*/ 5812 h 142875"/>
                  <a:gd name="connsiteX42" fmla="*/ 9498 w 95250"/>
                  <a:gd name="connsiteY42" fmla="*/ 5812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95250" h="142875">
                    <a:moveTo>
                      <a:pt x="9498" y="5812"/>
                    </a:moveTo>
                    <a:lnTo>
                      <a:pt x="9498" y="5812"/>
                    </a:lnTo>
                    <a:lnTo>
                      <a:pt x="16880" y="5812"/>
                    </a:lnTo>
                    <a:lnTo>
                      <a:pt x="42702" y="16883"/>
                    </a:lnTo>
                    <a:lnTo>
                      <a:pt x="46388" y="20574"/>
                    </a:lnTo>
                    <a:lnTo>
                      <a:pt x="64838" y="39027"/>
                    </a:lnTo>
                    <a:lnTo>
                      <a:pt x="72220" y="50099"/>
                    </a:lnTo>
                    <a:lnTo>
                      <a:pt x="72220" y="53789"/>
                    </a:lnTo>
                    <a:lnTo>
                      <a:pt x="90660" y="83314"/>
                    </a:lnTo>
                    <a:lnTo>
                      <a:pt x="98042" y="101766"/>
                    </a:lnTo>
                    <a:lnTo>
                      <a:pt x="98042" y="105457"/>
                    </a:lnTo>
                    <a:lnTo>
                      <a:pt x="94346" y="105457"/>
                    </a:lnTo>
                    <a:lnTo>
                      <a:pt x="90660" y="109148"/>
                    </a:lnTo>
                    <a:lnTo>
                      <a:pt x="83288" y="112838"/>
                    </a:lnTo>
                    <a:lnTo>
                      <a:pt x="79592" y="127601"/>
                    </a:lnTo>
                    <a:lnTo>
                      <a:pt x="75906" y="134982"/>
                    </a:lnTo>
                    <a:lnTo>
                      <a:pt x="79592" y="134982"/>
                    </a:lnTo>
                    <a:lnTo>
                      <a:pt x="79592" y="134982"/>
                    </a:lnTo>
                    <a:lnTo>
                      <a:pt x="75906" y="142363"/>
                    </a:lnTo>
                    <a:lnTo>
                      <a:pt x="75906" y="134982"/>
                    </a:lnTo>
                    <a:lnTo>
                      <a:pt x="75906" y="134982"/>
                    </a:lnTo>
                    <a:lnTo>
                      <a:pt x="79592" y="127601"/>
                    </a:lnTo>
                    <a:lnTo>
                      <a:pt x="83288" y="112838"/>
                    </a:lnTo>
                    <a:lnTo>
                      <a:pt x="86974" y="109148"/>
                    </a:lnTo>
                    <a:lnTo>
                      <a:pt x="94346" y="105457"/>
                    </a:lnTo>
                    <a:lnTo>
                      <a:pt x="98042" y="105457"/>
                    </a:lnTo>
                    <a:lnTo>
                      <a:pt x="98042" y="101766"/>
                    </a:lnTo>
                    <a:lnTo>
                      <a:pt x="90660" y="83314"/>
                    </a:lnTo>
                    <a:lnTo>
                      <a:pt x="64838" y="39027"/>
                    </a:lnTo>
                    <a:lnTo>
                      <a:pt x="46388" y="20574"/>
                    </a:lnTo>
                    <a:lnTo>
                      <a:pt x="42702" y="16883"/>
                    </a:lnTo>
                    <a:lnTo>
                      <a:pt x="20566" y="5812"/>
                    </a:lnTo>
                    <a:lnTo>
                      <a:pt x="16880" y="13193"/>
                    </a:lnTo>
                    <a:lnTo>
                      <a:pt x="16880" y="13193"/>
                    </a:lnTo>
                    <a:lnTo>
                      <a:pt x="13193" y="13193"/>
                    </a:lnTo>
                    <a:lnTo>
                      <a:pt x="9498" y="13193"/>
                    </a:lnTo>
                    <a:lnTo>
                      <a:pt x="5812" y="13193"/>
                    </a:lnTo>
                    <a:lnTo>
                      <a:pt x="9498" y="13193"/>
                    </a:lnTo>
                    <a:lnTo>
                      <a:pt x="13193" y="9503"/>
                    </a:lnTo>
                    <a:lnTo>
                      <a:pt x="16880" y="5812"/>
                    </a:lnTo>
                    <a:lnTo>
                      <a:pt x="13193" y="5812"/>
                    </a:lnTo>
                    <a:lnTo>
                      <a:pt x="13193" y="5812"/>
                    </a:lnTo>
                    <a:lnTo>
                      <a:pt x="9498"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AD83468-7FB8-4AF3-AE0E-34FE519279F8}"/>
                  </a:ext>
                </a:extLst>
              </p:cNvPr>
              <p:cNvSpPr/>
              <p:nvPr/>
            </p:nvSpPr>
            <p:spPr>
              <a:xfrm>
                <a:off x="5599423" y="2054505"/>
                <a:ext cx="191528" cy="148966"/>
              </a:xfrm>
              <a:custGeom>
                <a:avLst/>
                <a:gdLst>
                  <a:gd name="connsiteX0" fmla="*/ 5812 w 85725"/>
                  <a:gd name="connsiteY0" fmla="*/ 68551 h 66675"/>
                  <a:gd name="connsiteX1" fmla="*/ 20568 w 85725"/>
                  <a:gd name="connsiteY1" fmla="*/ 53789 h 66675"/>
                  <a:gd name="connsiteX2" fmla="*/ 24258 w 85725"/>
                  <a:gd name="connsiteY2" fmla="*/ 50098 h 66675"/>
                  <a:gd name="connsiteX3" fmla="*/ 64843 w 85725"/>
                  <a:gd name="connsiteY3" fmla="*/ 13192 h 66675"/>
                  <a:gd name="connsiteX4" fmla="*/ 68529 w 85725"/>
                  <a:gd name="connsiteY4" fmla="*/ 13192 h 66675"/>
                  <a:gd name="connsiteX5" fmla="*/ 79597 w 85725"/>
                  <a:gd name="connsiteY5" fmla="*/ 9502 h 66675"/>
                  <a:gd name="connsiteX6" fmla="*/ 83283 w 85725"/>
                  <a:gd name="connsiteY6" fmla="*/ 9502 h 66675"/>
                  <a:gd name="connsiteX7" fmla="*/ 83283 w 85725"/>
                  <a:gd name="connsiteY7" fmla="*/ 9502 h 66675"/>
                  <a:gd name="connsiteX8" fmla="*/ 83283 w 85725"/>
                  <a:gd name="connsiteY8" fmla="*/ 9502 h 66675"/>
                  <a:gd name="connsiteX9" fmla="*/ 83283 w 85725"/>
                  <a:gd name="connsiteY9" fmla="*/ 5812 h 66675"/>
                  <a:gd name="connsiteX10" fmla="*/ 83283 w 85725"/>
                  <a:gd name="connsiteY10" fmla="*/ 9502 h 66675"/>
                  <a:gd name="connsiteX11" fmla="*/ 86969 w 85725"/>
                  <a:gd name="connsiteY11" fmla="*/ 13192 h 66675"/>
                  <a:gd name="connsiteX12" fmla="*/ 83283 w 85725"/>
                  <a:gd name="connsiteY12" fmla="*/ 9502 h 66675"/>
                  <a:gd name="connsiteX13" fmla="*/ 79597 w 85725"/>
                  <a:gd name="connsiteY13" fmla="*/ 9502 h 66675"/>
                  <a:gd name="connsiteX14" fmla="*/ 79597 w 85725"/>
                  <a:gd name="connsiteY14" fmla="*/ 9502 h 66675"/>
                  <a:gd name="connsiteX15" fmla="*/ 72215 w 85725"/>
                  <a:gd name="connsiteY15" fmla="*/ 13192 h 66675"/>
                  <a:gd name="connsiteX16" fmla="*/ 64843 w 85725"/>
                  <a:gd name="connsiteY16" fmla="*/ 13192 h 66675"/>
                  <a:gd name="connsiteX17" fmla="*/ 31636 w 85725"/>
                  <a:gd name="connsiteY17" fmla="*/ 46407 h 66675"/>
                  <a:gd name="connsiteX18" fmla="*/ 27947 w 85725"/>
                  <a:gd name="connsiteY18" fmla="*/ 50098 h 66675"/>
                  <a:gd name="connsiteX19" fmla="*/ 27947 w 85725"/>
                  <a:gd name="connsiteY19" fmla="*/ 50098 h 66675"/>
                  <a:gd name="connsiteX20" fmla="*/ 24258 w 85725"/>
                  <a:gd name="connsiteY20" fmla="*/ 50098 h 66675"/>
                  <a:gd name="connsiteX21" fmla="*/ 20568 w 85725"/>
                  <a:gd name="connsiteY21" fmla="*/ 53789 h 66675"/>
                  <a:gd name="connsiteX22" fmla="*/ 5812 w 85725"/>
                  <a:gd name="connsiteY22" fmla="*/ 68551 h 66675"/>
                  <a:gd name="connsiteX23" fmla="*/ 5812 w 85725"/>
                  <a:gd name="connsiteY23" fmla="*/ 68551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85725" h="66675">
                    <a:moveTo>
                      <a:pt x="5812" y="68551"/>
                    </a:moveTo>
                    <a:lnTo>
                      <a:pt x="20568" y="53789"/>
                    </a:lnTo>
                    <a:lnTo>
                      <a:pt x="24258" y="50098"/>
                    </a:lnTo>
                    <a:lnTo>
                      <a:pt x="64843" y="13192"/>
                    </a:lnTo>
                    <a:lnTo>
                      <a:pt x="68529" y="13192"/>
                    </a:lnTo>
                    <a:lnTo>
                      <a:pt x="79597" y="9502"/>
                    </a:lnTo>
                    <a:lnTo>
                      <a:pt x="83283" y="9502"/>
                    </a:lnTo>
                    <a:lnTo>
                      <a:pt x="83283" y="9502"/>
                    </a:lnTo>
                    <a:lnTo>
                      <a:pt x="83283" y="9502"/>
                    </a:lnTo>
                    <a:lnTo>
                      <a:pt x="83283" y="5812"/>
                    </a:lnTo>
                    <a:lnTo>
                      <a:pt x="83283" y="9502"/>
                    </a:lnTo>
                    <a:lnTo>
                      <a:pt x="86969" y="13192"/>
                    </a:lnTo>
                    <a:lnTo>
                      <a:pt x="83283" y="9502"/>
                    </a:lnTo>
                    <a:lnTo>
                      <a:pt x="79597" y="9502"/>
                    </a:lnTo>
                    <a:lnTo>
                      <a:pt x="79597" y="9502"/>
                    </a:lnTo>
                    <a:lnTo>
                      <a:pt x="72215" y="13192"/>
                    </a:lnTo>
                    <a:lnTo>
                      <a:pt x="64843" y="13192"/>
                    </a:lnTo>
                    <a:lnTo>
                      <a:pt x="31636" y="46407"/>
                    </a:lnTo>
                    <a:lnTo>
                      <a:pt x="27947" y="50098"/>
                    </a:lnTo>
                    <a:lnTo>
                      <a:pt x="27947" y="50098"/>
                    </a:lnTo>
                    <a:lnTo>
                      <a:pt x="24258" y="50098"/>
                    </a:lnTo>
                    <a:lnTo>
                      <a:pt x="20568" y="53789"/>
                    </a:lnTo>
                    <a:lnTo>
                      <a:pt x="5812" y="68551"/>
                    </a:lnTo>
                    <a:lnTo>
                      <a:pt x="5812" y="68551"/>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014EE885-1489-46CF-92B9-9E5B95D47118}"/>
                  </a:ext>
                </a:extLst>
              </p:cNvPr>
              <p:cNvSpPr/>
              <p:nvPr/>
            </p:nvSpPr>
            <p:spPr>
              <a:xfrm>
                <a:off x="5805473" y="2054505"/>
                <a:ext cx="42562" cy="63843"/>
              </a:xfrm>
              <a:custGeom>
                <a:avLst/>
                <a:gdLst>
                  <a:gd name="connsiteX0" fmla="*/ 9507 w 19050"/>
                  <a:gd name="connsiteY0" fmla="*/ 16883 h 28575"/>
                  <a:gd name="connsiteX1" fmla="*/ 9507 w 19050"/>
                  <a:gd name="connsiteY1" fmla="*/ 13192 h 28575"/>
                  <a:gd name="connsiteX2" fmla="*/ 5812 w 19050"/>
                  <a:gd name="connsiteY2" fmla="*/ 5812 h 28575"/>
                  <a:gd name="connsiteX3" fmla="*/ 5812 w 19050"/>
                  <a:gd name="connsiteY3" fmla="*/ 5812 h 28575"/>
                  <a:gd name="connsiteX4" fmla="*/ 9507 w 19050"/>
                  <a:gd name="connsiteY4" fmla="*/ 5812 h 28575"/>
                  <a:gd name="connsiteX5" fmla="*/ 9507 w 19050"/>
                  <a:gd name="connsiteY5" fmla="*/ 9502 h 28575"/>
                  <a:gd name="connsiteX6" fmla="*/ 13193 w 19050"/>
                  <a:gd name="connsiteY6" fmla="*/ 9502 h 28575"/>
                  <a:gd name="connsiteX7" fmla="*/ 16880 w 19050"/>
                  <a:gd name="connsiteY7" fmla="*/ 9502 h 28575"/>
                  <a:gd name="connsiteX8" fmla="*/ 16880 w 19050"/>
                  <a:gd name="connsiteY8" fmla="*/ 13192 h 28575"/>
                  <a:gd name="connsiteX9" fmla="*/ 16880 w 19050"/>
                  <a:gd name="connsiteY9" fmla="*/ 16883 h 28575"/>
                  <a:gd name="connsiteX10" fmla="*/ 20575 w 19050"/>
                  <a:gd name="connsiteY10" fmla="*/ 16883 h 28575"/>
                  <a:gd name="connsiteX11" fmla="*/ 20575 w 19050"/>
                  <a:gd name="connsiteY11" fmla="*/ 20573 h 28575"/>
                  <a:gd name="connsiteX12" fmla="*/ 20575 w 19050"/>
                  <a:gd name="connsiteY12" fmla="*/ 20573 h 28575"/>
                  <a:gd name="connsiteX13" fmla="*/ 20575 w 19050"/>
                  <a:gd name="connsiteY13" fmla="*/ 24264 h 28575"/>
                  <a:gd name="connsiteX14" fmla="*/ 16880 w 19050"/>
                  <a:gd name="connsiteY14" fmla="*/ 24264 h 28575"/>
                  <a:gd name="connsiteX15" fmla="*/ 13193 w 19050"/>
                  <a:gd name="connsiteY15" fmla="*/ 20573 h 28575"/>
                  <a:gd name="connsiteX16" fmla="*/ 9507 w 19050"/>
                  <a:gd name="connsiteY16" fmla="*/ 16883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9050" h="28575">
                    <a:moveTo>
                      <a:pt x="9507" y="16883"/>
                    </a:moveTo>
                    <a:lnTo>
                      <a:pt x="9507" y="13192"/>
                    </a:lnTo>
                    <a:lnTo>
                      <a:pt x="5812" y="5812"/>
                    </a:lnTo>
                    <a:lnTo>
                      <a:pt x="5812" y="5812"/>
                    </a:lnTo>
                    <a:lnTo>
                      <a:pt x="9507" y="5812"/>
                    </a:lnTo>
                    <a:lnTo>
                      <a:pt x="9507" y="9502"/>
                    </a:lnTo>
                    <a:lnTo>
                      <a:pt x="13193" y="9502"/>
                    </a:lnTo>
                    <a:lnTo>
                      <a:pt x="16880" y="9502"/>
                    </a:lnTo>
                    <a:lnTo>
                      <a:pt x="16880" y="13192"/>
                    </a:lnTo>
                    <a:lnTo>
                      <a:pt x="16880" y="16883"/>
                    </a:lnTo>
                    <a:lnTo>
                      <a:pt x="20575" y="16883"/>
                    </a:lnTo>
                    <a:lnTo>
                      <a:pt x="20575" y="20573"/>
                    </a:lnTo>
                    <a:lnTo>
                      <a:pt x="20575" y="20573"/>
                    </a:lnTo>
                    <a:lnTo>
                      <a:pt x="20575" y="24264"/>
                    </a:lnTo>
                    <a:lnTo>
                      <a:pt x="16880" y="24264"/>
                    </a:lnTo>
                    <a:lnTo>
                      <a:pt x="13193" y="20573"/>
                    </a:lnTo>
                    <a:lnTo>
                      <a:pt x="9507" y="1688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99D6946A-8B24-4E60-A552-603403AF09CD}"/>
                  </a:ext>
                </a:extLst>
              </p:cNvPr>
              <p:cNvSpPr/>
              <p:nvPr/>
            </p:nvSpPr>
            <p:spPr>
              <a:xfrm>
                <a:off x="6670943" y="1345394"/>
                <a:ext cx="1149164" cy="1127882"/>
              </a:xfrm>
              <a:custGeom>
                <a:avLst/>
                <a:gdLst>
                  <a:gd name="connsiteX0" fmla="*/ 275121 w 514350"/>
                  <a:gd name="connsiteY0" fmla="*/ 5812 h 504825"/>
                  <a:gd name="connsiteX1" fmla="*/ 267740 w 514350"/>
                  <a:gd name="connsiteY1" fmla="*/ 9502 h 504825"/>
                  <a:gd name="connsiteX2" fmla="*/ 238222 w 514350"/>
                  <a:gd name="connsiteY2" fmla="*/ 13193 h 504825"/>
                  <a:gd name="connsiteX3" fmla="*/ 234535 w 514350"/>
                  <a:gd name="connsiteY3" fmla="*/ 16883 h 504825"/>
                  <a:gd name="connsiteX4" fmla="*/ 223467 w 514350"/>
                  <a:gd name="connsiteY4" fmla="*/ 20574 h 504825"/>
                  <a:gd name="connsiteX5" fmla="*/ 219781 w 514350"/>
                  <a:gd name="connsiteY5" fmla="*/ 20574 h 504825"/>
                  <a:gd name="connsiteX6" fmla="*/ 216095 w 514350"/>
                  <a:gd name="connsiteY6" fmla="*/ 24264 h 504825"/>
                  <a:gd name="connsiteX7" fmla="*/ 208713 w 514350"/>
                  <a:gd name="connsiteY7" fmla="*/ 24264 h 504825"/>
                  <a:gd name="connsiteX8" fmla="*/ 201331 w 514350"/>
                  <a:gd name="connsiteY8" fmla="*/ 31645 h 504825"/>
                  <a:gd name="connsiteX9" fmla="*/ 197645 w 514350"/>
                  <a:gd name="connsiteY9" fmla="*/ 31645 h 504825"/>
                  <a:gd name="connsiteX10" fmla="*/ 193959 w 514350"/>
                  <a:gd name="connsiteY10" fmla="*/ 31645 h 504825"/>
                  <a:gd name="connsiteX11" fmla="*/ 190263 w 514350"/>
                  <a:gd name="connsiteY11" fmla="*/ 31645 h 504825"/>
                  <a:gd name="connsiteX12" fmla="*/ 182891 w 514350"/>
                  <a:gd name="connsiteY12" fmla="*/ 35336 h 504825"/>
                  <a:gd name="connsiteX13" fmla="*/ 175509 w 514350"/>
                  <a:gd name="connsiteY13" fmla="*/ 39027 h 504825"/>
                  <a:gd name="connsiteX14" fmla="*/ 171823 w 514350"/>
                  <a:gd name="connsiteY14" fmla="*/ 35336 h 504825"/>
                  <a:gd name="connsiteX15" fmla="*/ 168127 w 514350"/>
                  <a:gd name="connsiteY15" fmla="*/ 39027 h 504825"/>
                  <a:gd name="connsiteX16" fmla="*/ 149687 w 514350"/>
                  <a:gd name="connsiteY16" fmla="*/ 39027 h 504825"/>
                  <a:gd name="connsiteX17" fmla="*/ 138619 w 514350"/>
                  <a:gd name="connsiteY17" fmla="*/ 42717 h 504825"/>
                  <a:gd name="connsiteX18" fmla="*/ 123864 w 514350"/>
                  <a:gd name="connsiteY18" fmla="*/ 46408 h 504825"/>
                  <a:gd name="connsiteX19" fmla="*/ 116483 w 514350"/>
                  <a:gd name="connsiteY19" fmla="*/ 46408 h 504825"/>
                  <a:gd name="connsiteX20" fmla="*/ 109101 w 514350"/>
                  <a:gd name="connsiteY20" fmla="*/ 50098 h 504825"/>
                  <a:gd name="connsiteX21" fmla="*/ 101728 w 514350"/>
                  <a:gd name="connsiteY21" fmla="*/ 50098 h 504825"/>
                  <a:gd name="connsiteX22" fmla="*/ 90660 w 514350"/>
                  <a:gd name="connsiteY22" fmla="*/ 53789 h 504825"/>
                  <a:gd name="connsiteX23" fmla="*/ 79592 w 514350"/>
                  <a:gd name="connsiteY23" fmla="*/ 57480 h 504825"/>
                  <a:gd name="connsiteX24" fmla="*/ 75906 w 514350"/>
                  <a:gd name="connsiteY24" fmla="*/ 61170 h 504825"/>
                  <a:gd name="connsiteX25" fmla="*/ 75906 w 514350"/>
                  <a:gd name="connsiteY25" fmla="*/ 64861 h 504825"/>
                  <a:gd name="connsiteX26" fmla="*/ 68524 w 514350"/>
                  <a:gd name="connsiteY26" fmla="*/ 68551 h 504825"/>
                  <a:gd name="connsiteX27" fmla="*/ 64838 w 514350"/>
                  <a:gd name="connsiteY27" fmla="*/ 64861 h 504825"/>
                  <a:gd name="connsiteX28" fmla="*/ 61142 w 514350"/>
                  <a:gd name="connsiteY28" fmla="*/ 61170 h 504825"/>
                  <a:gd name="connsiteX29" fmla="*/ 42702 w 514350"/>
                  <a:gd name="connsiteY29" fmla="*/ 50098 h 504825"/>
                  <a:gd name="connsiteX30" fmla="*/ 39006 w 514350"/>
                  <a:gd name="connsiteY30" fmla="*/ 50098 h 504825"/>
                  <a:gd name="connsiteX31" fmla="*/ 24252 w 514350"/>
                  <a:gd name="connsiteY31" fmla="*/ 57480 h 504825"/>
                  <a:gd name="connsiteX32" fmla="*/ 24252 w 514350"/>
                  <a:gd name="connsiteY32" fmla="*/ 53789 h 504825"/>
                  <a:gd name="connsiteX33" fmla="*/ 20566 w 514350"/>
                  <a:gd name="connsiteY33" fmla="*/ 53789 h 504825"/>
                  <a:gd name="connsiteX34" fmla="*/ 20566 w 514350"/>
                  <a:gd name="connsiteY34" fmla="*/ 57480 h 504825"/>
                  <a:gd name="connsiteX35" fmla="*/ 16870 w 514350"/>
                  <a:gd name="connsiteY35" fmla="*/ 57480 h 504825"/>
                  <a:gd name="connsiteX36" fmla="*/ 16870 w 514350"/>
                  <a:gd name="connsiteY36" fmla="*/ 53789 h 504825"/>
                  <a:gd name="connsiteX37" fmla="*/ 13184 w 514350"/>
                  <a:gd name="connsiteY37" fmla="*/ 57480 h 504825"/>
                  <a:gd name="connsiteX38" fmla="*/ 16870 w 514350"/>
                  <a:gd name="connsiteY38" fmla="*/ 61170 h 504825"/>
                  <a:gd name="connsiteX39" fmla="*/ 20566 w 514350"/>
                  <a:gd name="connsiteY39" fmla="*/ 61170 h 504825"/>
                  <a:gd name="connsiteX40" fmla="*/ 24252 w 514350"/>
                  <a:gd name="connsiteY40" fmla="*/ 64861 h 504825"/>
                  <a:gd name="connsiteX41" fmla="*/ 27938 w 514350"/>
                  <a:gd name="connsiteY41" fmla="*/ 64861 h 504825"/>
                  <a:gd name="connsiteX42" fmla="*/ 31634 w 514350"/>
                  <a:gd name="connsiteY42" fmla="*/ 68551 h 504825"/>
                  <a:gd name="connsiteX43" fmla="*/ 35320 w 514350"/>
                  <a:gd name="connsiteY43" fmla="*/ 68551 h 504825"/>
                  <a:gd name="connsiteX44" fmla="*/ 35320 w 514350"/>
                  <a:gd name="connsiteY44" fmla="*/ 72242 h 504825"/>
                  <a:gd name="connsiteX45" fmla="*/ 31634 w 514350"/>
                  <a:gd name="connsiteY45" fmla="*/ 72242 h 504825"/>
                  <a:gd name="connsiteX46" fmla="*/ 27938 w 514350"/>
                  <a:gd name="connsiteY46" fmla="*/ 72242 h 504825"/>
                  <a:gd name="connsiteX47" fmla="*/ 24252 w 514350"/>
                  <a:gd name="connsiteY47" fmla="*/ 72242 h 504825"/>
                  <a:gd name="connsiteX48" fmla="*/ 24252 w 514350"/>
                  <a:gd name="connsiteY48" fmla="*/ 68551 h 504825"/>
                  <a:gd name="connsiteX49" fmla="*/ 16870 w 514350"/>
                  <a:gd name="connsiteY49" fmla="*/ 64861 h 504825"/>
                  <a:gd name="connsiteX50" fmla="*/ 16870 w 514350"/>
                  <a:gd name="connsiteY50" fmla="*/ 61170 h 504825"/>
                  <a:gd name="connsiteX51" fmla="*/ 9498 w 514350"/>
                  <a:gd name="connsiteY51" fmla="*/ 61170 h 504825"/>
                  <a:gd name="connsiteX52" fmla="*/ 5812 w 514350"/>
                  <a:gd name="connsiteY52" fmla="*/ 68551 h 504825"/>
                  <a:gd name="connsiteX53" fmla="*/ 9498 w 514350"/>
                  <a:gd name="connsiteY53" fmla="*/ 68551 h 504825"/>
                  <a:gd name="connsiteX54" fmla="*/ 13184 w 514350"/>
                  <a:gd name="connsiteY54" fmla="*/ 72242 h 504825"/>
                  <a:gd name="connsiteX55" fmla="*/ 16870 w 514350"/>
                  <a:gd name="connsiteY55" fmla="*/ 72242 h 504825"/>
                  <a:gd name="connsiteX56" fmla="*/ 16870 w 514350"/>
                  <a:gd name="connsiteY56" fmla="*/ 75933 h 504825"/>
                  <a:gd name="connsiteX57" fmla="*/ 13184 w 514350"/>
                  <a:gd name="connsiteY57" fmla="*/ 79623 h 504825"/>
                  <a:gd name="connsiteX58" fmla="*/ 9498 w 514350"/>
                  <a:gd name="connsiteY58" fmla="*/ 75933 h 504825"/>
                  <a:gd name="connsiteX59" fmla="*/ 9498 w 514350"/>
                  <a:gd name="connsiteY59" fmla="*/ 79623 h 504825"/>
                  <a:gd name="connsiteX60" fmla="*/ 13184 w 514350"/>
                  <a:gd name="connsiteY60" fmla="*/ 83314 h 504825"/>
                  <a:gd name="connsiteX61" fmla="*/ 16870 w 514350"/>
                  <a:gd name="connsiteY61" fmla="*/ 83314 h 504825"/>
                  <a:gd name="connsiteX62" fmla="*/ 20566 w 514350"/>
                  <a:gd name="connsiteY62" fmla="*/ 83314 h 504825"/>
                  <a:gd name="connsiteX63" fmla="*/ 24252 w 514350"/>
                  <a:gd name="connsiteY63" fmla="*/ 83314 h 504825"/>
                  <a:gd name="connsiteX64" fmla="*/ 27938 w 514350"/>
                  <a:gd name="connsiteY64" fmla="*/ 83314 h 504825"/>
                  <a:gd name="connsiteX65" fmla="*/ 31634 w 514350"/>
                  <a:gd name="connsiteY65" fmla="*/ 83314 h 504825"/>
                  <a:gd name="connsiteX66" fmla="*/ 31634 w 514350"/>
                  <a:gd name="connsiteY66" fmla="*/ 87005 h 504825"/>
                  <a:gd name="connsiteX67" fmla="*/ 24252 w 514350"/>
                  <a:gd name="connsiteY67" fmla="*/ 87005 h 504825"/>
                  <a:gd name="connsiteX68" fmla="*/ 20566 w 514350"/>
                  <a:gd name="connsiteY68" fmla="*/ 87005 h 504825"/>
                  <a:gd name="connsiteX69" fmla="*/ 20566 w 514350"/>
                  <a:gd name="connsiteY69" fmla="*/ 90695 h 504825"/>
                  <a:gd name="connsiteX70" fmla="*/ 24252 w 514350"/>
                  <a:gd name="connsiteY70" fmla="*/ 90695 h 504825"/>
                  <a:gd name="connsiteX71" fmla="*/ 27938 w 514350"/>
                  <a:gd name="connsiteY71" fmla="*/ 90695 h 504825"/>
                  <a:gd name="connsiteX72" fmla="*/ 31634 w 514350"/>
                  <a:gd name="connsiteY72" fmla="*/ 90695 h 504825"/>
                  <a:gd name="connsiteX73" fmla="*/ 35320 w 514350"/>
                  <a:gd name="connsiteY73" fmla="*/ 87005 h 504825"/>
                  <a:gd name="connsiteX74" fmla="*/ 35320 w 514350"/>
                  <a:gd name="connsiteY74" fmla="*/ 90695 h 504825"/>
                  <a:gd name="connsiteX75" fmla="*/ 35320 w 514350"/>
                  <a:gd name="connsiteY75" fmla="*/ 94385 h 504825"/>
                  <a:gd name="connsiteX76" fmla="*/ 31634 w 514350"/>
                  <a:gd name="connsiteY76" fmla="*/ 94385 h 504825"/>
                  <a:gd name="connsiteX77" fmla="*/ 35320 w 514350"/>
                  <a:gd name="connsiteY77" fmla="*/ 98075 h 504825"/>
                  <a:gd name="connsiteX78" fmla="*/ 39006 w 514350"/>
                  <a:gd name="connsiteY78" fmla="*/ 94385 h 504825"/>
                  <a:gd name="connsiteX79" fmla="*/ 42702 w 514350"/>
                  <a:gd name="connsiteY79" fmla="*/ 94385 h 504825"/>
                  <a:gd name="connsiteX80" fmla="*/ 42702 w 514350"/>
                  <a:gd name="connsiteY80" fmla="*/ 98075 h 504825"/>
                  <a:gd name="connsiteX81" fmla="*/ 39006 w 514350"/>
                  <a:gd name="connsiteY81" fmla="*/ 101766 h 504825"/>
                  <a:gd name="connsiteX82" fmla="*/ 31634 w 514350"/>
                  <a:gd name="connsiteY82" fmla="*/ 101766 h 504825"/>
                  <a:gd name="connsiteX83" fmla="*/ 31634 w 514350"/>
                  <a:gd name="connsiteY83" fmla="*/ 105457 h 504825"/>
                  <a:gd name="connsiteX84" fmla="*/ 35320 w 514350"/>
                  <a:gd name="connsiteY84" fmla="*/ 109147 h 504825"/>
                  <a:gd name="connsiteX85" fmla="*/ 39006 w 514350"/>
                  <a:gd name="connsiteY85" fmla="*/ 105457 h 504825"/>
                  <a:gd name="connsiteX86" fmla="*/ 42702 w 514350"/>
                  <a:gd name="connsiteY86" fmla="*/ 105457 h 504825"/>
                  <a:gd name="connsiteX87" fmla="*/ 46388 w 514350"/>
                  <a:gd name="connsiteY87" fmla="*/ 105457 h 504825"/>
                  <a:gd name="connsiteX88" fmla="*/ 50074 w 514350"/>
                  <a:gd name="connsiteY88" fmla="*/ 105457 h 504825"/>
                  <a:gd name="connsiteX89" fmla="*/ 53770 w 514350"/>
                  <a:gd name="connsiteY89" fmla="*/ 109147 h 504825"/>
                  <a:gd name="connsiteX90" fmla="*/ 57456 w 514350"/>
                  <a:gd name="connsiteY90" fmla="*/ 109147 h 504825"/>
                  <a:gd name="connsiteX91" fmla="*/ 57456 w 514350"/>
                  <a:gd name="connsiteY91" fmla="*/ 131291 h 504825"/>
                  <a:gd name="connsiteX92" fmla="*/ 57456 w 514350"/>
                  <a:gd name="connsiteY92" fmla="*/ 134981 h 504825"/>
                  <a:gd name="connsiteX93" fmla="*/ 61142 w 514350"/>
                  <a:gd name="connsiteY93" fmla="*/ 134981 h 504825"/>
                  <a:gd name="connsiteX94" fmla="*/ 61142 w 514350"/>
                  <a:gd name="connsiteY94" fmla="*/ 138672 h 504825"/>
                  <a:gd name="connsiteX95" fmla="*/ 57456 w 514350"/>
                  <a:gd name="connsiteY95" fmla="*/ 138672 h 504825"/>
                  <a:gd name="connsiteX96" fmla="*/ 53770 w 514350"/>
                  <a:gd name="connsiteY96" fmla="*/ 142363 h 504825"/>
                  <a:gd name="connsiteX97" fmla="*/ 53770 w 514350"/>
                  <a:gd name="connsiteY97" fmla="*/ 146053 h 504825"/>
                  <a:gd name="connsiteX98" fmla="*/ 50074 w 514350"/>
                  <a:gd name="connsiteY98" fmla="*/ 149744 h 504825"/>
                  <a:gd name="connsiteX99" fmla="*/ 46388 w 514350"/>
                  <a:gd name="connsiteY99" fmla="*/ 149744 h 504825"/>
                  <a:gd name="connsiteX100" fmla="*/ 42702 w 514350"/>
                  <a:gd name="connsiteY100" fmla="*/ 153435 h 504825"/>
                  <a:gd name="connsiteX101" fmla="*/ 42702 w 514350"/>
                  <a:gd name="connsiteY101" fmla="*/ 157125 h 504825"/>
                  <a:gd name="connsiteX102" fmla="*/ 42702 w 514350"/>
                  <a:gd name="connsiteY102" fmla="*/ 160816 h 504825"/>
                  <a:gd name="connsiteX103" fmla="*/ 42702 w 514350"/>
                  <a:gd name="connsiteY103" fmla="*/ 164506 h 504825"/>
                  <a:gd name="connsiteX104" fmla="*/ 46388 w 514350"/>
                  <a:gd name="connsiteY104" fmla="*/ 164506 h 504825"/>
                  <a:gd name="connsiteX105" fmla="*/ 42702 w 514350"/>
                  <a:gd name="connsiteY105" fmla="*/ 168197 h 504825"/>
                  <a:gd name="connsiteX106" fmla="*/ 39006 w 514350"/>
                  <a:gd name="connsiteY106" fmla="*/ 168197 h 504825"/>
                  <a:gd name="connsiteX107" fmla="*/ 39006 w 514350"/>
                  <a:gd name="connsiteY107" fmla="*/ 171888 h 504825"/>
                  <a:gd name="connsiteX108" fmla="*/ 35320 w 514350"/>
                  <a:gd name="connsiteY108" fmla="*/ 175578 h 504825"/>
                  <a:gd name="connsiteX109" fmla="*/ 35320 w 514350"/>
                  <a:gd name="connsiteY109" fmla="*/ 179268 h 504825"/>
                  <a:gd name="connsiteX110" fmla="*/ 35320 w 514350"/>
                  <a:gd name="connsiteY110" fmla="*/ 182958 h 504825"/>
                  <a:gd name="connsiteX111" fmla="*/ 31634 w 514350"/>
                  <a:gd name="connsiteY111" fmla="*/ 186649 h 504825"/>
                  <a:gd name="connsiteX112" fmla="*/ 27938 w 514350"/>
                  <a:gd name="connsiteY112" fmla="*/ 190340 h 504825"/>
                  <a:gd name="connsiteX113" fmla="*/ 24252 w 514350"/>
                  <a:gd name="connsiteY113" fmla="*/ 194030 h 504825"/>
                  <a:gd name="connsiteX114" fmla="*/ 24252 w 514350"/>
                  <a:gd name="connsiteY114" fmla="*/ 197721 h 504825"/>
                  <a:gd name="connsiteX115" fmla="*/ 27938 w 514350"/>
                  <a:gd name="connsiteY115" fmla="*/ 197721 h 504825"/>
                  <a:gd name="connsiteX116" fmla="*/ 31634 w 514350"/>
                  <a:gd name="connsiteY116" fmla="*/ 197721 h 504825"/>
                  <a:gd name="connsiteX117" fmla="*/ 31634 w 514350"/>
                  <a:gd name="connsiteY117" fmla="*/ 205102 h 504825"/>
                  <a:gd name="connsiteX118" fmla="*/ 31634 w 514350"/>
                  <a:gd name="connsiteY118" fmla="*/ 208793 h 504825"/>
                  <a:gd name="connsiteX119" fmla="*/ 31634 w 514350"/>
                  <a:gd name="connsiteY119" fmla="*/ 212483 h 504825"/>
                  <a:gd name="connsiteX120" fmla="*/ 27938 w 514350"/>
                  <a:gd name="connsiteY120" fmla="*/ 219865 h 504825"/>
                  <a:gd name="connsiteX121" fmla="*/ 24252 w 514350"/>
                  <a:gd name="connsiteY121" fmla="*/ 223555 h 504825"/>
                  <a:gd name="connsiteX122" fmla="*/ 20566 w 514350"/>
                  <a:gd name="connsiteY122" fmla="*/ 223555 h 504825"/>
                  <a:gd name="connsiteX123" fmla="*/ 16870 w 514350"/>
                  <a:gd name="connsiteY123" fmla="*/ 227246 h 504825"/>
                  <a:gd name="connsiteX124" fmla="*/ 16870 w 514350"/>
                  <a:gd name="connsiteY124" fmla="*/ 230936 h 504825"/>
                  <a:gd name="connsiteX125" fmla="*/ 13184 w 514350"/>
                  <a:gd name="connsiteY125" fmla="*/ 238318 h 504825"/>
                  <a:gd name="connsiteX126" fmla="*/ 9498 w 514350"/>
                  <a:gd name="connsiteY126" fmla="*/ 242008 h 504825"/>
                  <a:gd name="connsiteX127" fmla="*/ 9498 w 514350"/>
                  <a:gd name="connsiteY127" fmla="*/ 249389 h 504825"/>
                  <a:gd name="connsiteX128" fmla="*/ 9498 w 514350"/>
                  <a:gd name="connsiteY128" fmla="*/ 256771 h 504825"/>
                  <a:gd name="connsiteX129" fmla="*/ 9498 w 514350"/>
                  <a:gd name="connsiteY129" fmla="*/ 260461 h 504825"/>
                  <a:gd name="connsiteX130" fmla="*/ 9498 w 514350"/>
                  <a:gd name="connsiteY130" fmla="*/ 275223 h 504825"/>
                  <a:gd name="connsiteX131" fmla="*/ 13184 w 514350"/>
                  <a:gd name="connsiteY131" fmla="*/ 278913 h 504825"/>
                  <a:gd name="connsiteX132" fmla="*/ 16870 w 514350"/>
                  <a:gd name="connsiteY132" fmla="*/ 282604 h 504825"/>
                  <a:gd name="connsiteX133" fmla="*/ 20566 w 514350"/>
                  <a:gd name="connsiteY133" fmla="*/ 289985 h 504825"/>
                  <a:gd name="connsiteX134" fmla="*/ 24252 w 514350"/>
                  <a:gd name="connsiteY134" fmla="*/ 289985 h 504825"/>
                  <a:gd name="connsiteX135" fmla="*/ 31634 w 514350"/>
                  <a:gd name="connsiteY135" fmla="*/ 289985 h 504825"/>
                  <a:gd name="connsiteX136" fmla="*/ 39006 w 514350"/>
                  <a:gd name="connsiteY136" fmla="*/ 289985 h 504825"/>
                  <a:gd name="connsiteX137" fmla="*/ 46388 w 514350"/>
                  <a:gd name="connsiteY137" fmla="*/ 289985 h 504825"/>
                  <a:gd name="connsiteX138" fmla="*/ 50074 w 514350"/>
                  <a:gd name="connsiteY138" fmla="*/ 289985 h 504825"/>
                  <a:gd name="connsiteX139" fmla="*/ 53770 w 514350"/>
                  <a:gd name="connsiteY139" fmla="*/ 293676 h 504825"/>
                  <a:gd name="connsiteX140" fmla="*/ 61142 w 514350"/>
                  <a:gd name="connsiteY140" fmla="*/ 297366 h 504825"/>
                  <a:gd name="connsiteX141" fmla="*/ 64838 w 514350"/>
                  <a:gd name="connsiteY141" fmla="*/ 301057 h 504825"/>
                  <a:gd name="connsiteX142" fmla="*/ 64838 w 514350"/>
                  <a:gd name="connsiteY142" fmla="*/ 304748 h 504825"/>
                  <a:gd name="connsiteX143" fmla="*/ 75906 w 514350"/>
                  <a:gd name="connsiteY143" fmla="*/ 308438 h 504825"/>
                  <a:gd name="connsiteX144" fmla="*/ 86974 w 514350"/>
                  <a:gd name="connsiteY144" fmla="*/ 312129 h 504825"/>
                  <a:gd name="connsiteX145" fmla="*/ 90660 w 514350"/>
                  <a:gd name="connsiteY145" fmla="*/ 312129 h 504825"/>
                  <a:gd name="connsiteX146" fmla="*/ 94346 w 514350"/>
                  <a:gd name="connsiteY146" fmla="*/ 297366 h 504825"/>
                  <a:gd name="connsiteX147" fmla="*/ 98033 w 514350"/>
                  <a:gd name="connsiteY147" fmla="*/ 297366 h 504825"/>
                  <a:gd name="connsiteX148" fmla="*/ 98033 w 514350"/>
                  <a:gd name="connsiteY148" fmla="*/ 286295 h 504825"/>
                  <a:gd name="connsiteX149" fmla="*/ 98033 w 514350"/>
                  <a:gd name="connsiteY149" fmla="*/ 282604 h 504825"/>
                  <a:gd name="connsiteX150" fmla="*/ 105414 w 514350"/>
                  <a:gd name="connsiteY150" fmla="*/ 264151 h 504825"/>
                  <a:gd name="connsiteX151" fmla="*/ 105414 w 514350"/>
                  <a:gd name="connsiteY151" fmla="*/ 260461 h 504825"/>
                  <a:gd name="connsiteX152" fmla="*/ 109101 w 514350"/>
                  <a:gd name="connsiteY152" fmla="*/ 256771 h 504825"/>
                  <a:gd name="connsiteX153" fmla="*/ 112796 w 514350"/>
                  <a:gd name="connsiteY153" fmla="*/ 249389 h 504825"/>
                  <a:gd name="connsiteX154" fmla="*/ 116483 w 514350"/>
                  <a:gd name="connsiteY154" fmla="*/ 245699 h 504825"/>
                  <a:gd name="connsiteX155" fmla="*/ 116483 w 514350"/>
                  <a:gd name="connsiteY155" fmla="*/ 242008 h 504825"/>
                  <a:gd name="connsiteX156" fmla="*/ 120169 w 514350"/>
                  <a:gd name="connsiteY156" fmla="*/ 238318 h 504825"/>
                  <a:gd name="connsiteX157" fmla="*/ 127551 w 514350"/>
                  <a:gd name="connsiteY157" fmla="*/ 234627 h 504825"/>
                  <a:gd name="connsiteX158" fmla="*/ 134932 w 514350"/>
                  <a:gd name="connsiteY158" fmla="*/ 230936 h 504825"/>
                  <a:gd name="connsiteX159" fmla="*/ 134932 w 514350"/>
                  <a:gd name="connsiteY159" fmla="*/ 227246 h 504825"/>
                  <a:gd name="connsiteX160" fmla="*/ 138619 w 514350"/>
                  <a:gd name="connsiteY160" fmla="*/ 223555 h 504825"/>
                  <a:gd name="connsiteX161" fmla="*/ 146001 w 514350"/>
                  <a:gd name="connsiteY161" fmla="*/ 219865 h 504825"/>
                  <a:gd name="connsiteX162" fmla="*/ 153373 w 514350"/>
                  <a:gd name="connsiteY162" fmla="*/ 219865 h 504825"/>
                  <a:gd name="connsiteX163" fmla="*/ 157069 w 514350"/>
                  <a:gd name="connsiteY163" fmla="*/ 219865 h 504825"/>
                  <a:gd name="connsiteX164" fmla="*/ 160755 w 514350"/>
                  <a:gd name="connsiteY164" fmla="*/ 223555 h 504825"/>
                  <a:gd name="connsiteX165" fmla="*/ 164441 w 514350"/>
                  <a:gd name="connsiteY165" fmla="*/ 219865 h 504825"/>
                  <a:gd name="connsiteX166" fmla="*/ 168127 w 514350"/>
                  <a:gd name="connsiteY166" fmla="*/ 223555 h 504825"/>
                  <a:gd name="connsiteX167" fmla="*/ 175509 w 514350"/>
                  <a:gd name="connsiteY167" fmla="*/ 223555 h 504825"/>
                  <a:gd name="connsiteX168" fmla="*/ 179195 w 514350"/>
                  <a:gd name="connsiteY168" fmla="*/ 234627 h 504825"/>
                  <a:gd name="connsiteX169" fmla="*/ 182891 w 514350"/>
                  <a:gd name="connsiteY169" fmla="*/ 238318 h 504825"/>
                  <a:gd name="connsiteX170" fmla="*/ 186577 w 514350"/>
                  <a:gd name="connsiteY170" fmla="*/ 234627 h 504825"/>
                  <a:gd name="connsiteX171" fmla="*/ 190263 w 514350"/>
                  <a:gd name="connsiteY171" fmla="*/ 245699 h 504825"/>
                  <a:gd name="connsiteX172" fmla="*/ 190263 w 514350"/>
                  <a:gd name="connsiteY172" fmla="*/ 249389 h 504825"/>
                  <a:gd name="connsiteX173" fmla="*/ 193959 w 514350"/>
                  <a:gd name="connsiteY173" fmla="*/ 253080 h 504825"/>
                  <a:gd name="connsiteX174" fmla="*/ 201331 w 514350"/>
                  <a:gd name="connsiteY174" fmla="*/ 249389 h 504825"/>
                  <a:gd name="connsiteX175" fmla="*/ 201331 w 514350"/>
                  <a:gd name="connsiteY175" fmla="*/ 253080 h 504825"/>
                  <a:gd name="connsiteX176" fmla="*/ 201331 w 514350"/>
                  <a:gd name="connsiteY176" fmla="*/ 256771 h 504825"/>
                  <a:gd name="connsiteX177" fmla="*/ 205027 w 514350"/>
                  <a:gd name="connsiteY177" fmla="*/ 260461 h 504825"/>
                  <a:gd name="connsiteX178" fmla="*/ 205027 w 514350"/>
                  <a:gd name="connsiteY178" fmla="*/ 264151 h 504825"/>
                  <a:gd name="connsiteX179" fmla="*/ 212399 w 514350"/>
                  <a:gd name="connsiteY179" fmla="*/ 264151 h 504825"/>
                  <a:gd name="connsiteX180" fmla="*/ 212399 w 514350"/>
                  <a:gd name="connsiteY180" fmla="*/ 267842 h 504825"/>
                  <a:gd name="connsiteX181" fmla="*/ 216095 w 514350"/>
                  <a:gd name="connsiteY181" fmla="*/ 271532 h 504825"/>
                  <a:gd name="connsiteX182" fmla="*/ 219781 w 514350"/>
                  <a:gd name="connsiteY182" fmla="*/ 275223 h 504825"/>
                  <a:gd name="connsiteX183" fmla="*/ 223467 w 514350"/>
                  <a:gd name="connsiteY183" fmla="*/ 278913 h 504825"/>
                  <a:gd name="connsiteX184" fmla="*/ 223467 w 514350"/>
                  <a:gd name="connsiteY184" fmla="*/ 282604 h 504825"/>
                  <a:gd name="connsiteX185" fmla="*/ 227163 w 514350"/>
                  <a:gd name="connsiteY185" fmla="*/ 282604 h 504825"/>
                  <a:gd name="connsiteX186" fmla="*/ 223467 w 514350"/>
                  <a:gd name="connsiteY186" fmla="*/ 286295 h 504825"/>
                  <a:gd name="connsiteX187" fmla="*/ 227163 w 514350"/>
                  <a:gd name="connsiteY187" fmla="*/ 289985 h 504825"/>
                  <a:gd name="connsiteX188" fmla="*/ 227163 w 514350"/>
                  <a:gd name="connsiteY188" fmla="*/ 293676 h 504825"/>
                  <a:gd name="connsiteX189" fmla="*/ 245603 w 514350"/>
                  <a:gd name="connsiteY189" fmla="*/ 286295 h 504825"/>
                  <a:gd name="connsiteX190" fmla="*/ 249290 w 514350"/>
                  <a:gd name="connsiteY190" fmla="*/ 286295 h 504825"/>
                  <a:gd name="connsiteX191" fmla="*/ 256672 w 514350"/>
                  <a:gd name="connsiteY191" fmla="*/ 282604 h 504825"/>
                  <a:gd name="connsiteX192" fmla="*/ 267740 w 514350"/>
                  <a:gd name="connsiteY192" fmla="*/ 282604 h 504825"/>
                  <a:gd name="connsiteX193" fmla="*/ 271426 w 514350"/>
                  <a:gd name="connsiteY193" fmla="*/ 282604 h 504825"/>
                  <a:gd name="connsiteX194" fmla="*/ 275121 w 514350"/>
                  <a:gd name="connsiteY194" fmla="*/ 282604 h 504825"/>
                  <a:gd name="connsiteX195" fmla="*/ 278808 w 514350"/>
                  <a:gd name="connsiteY195" fmla="*/ 286295 h 504825"/>
                  <a:gd name="connsiteX196" fmla="*/ 282494 w 514350"/>
                  <a:gd name="connsiteY196" fmla="*/ 286295 h 504825"/>
                  <a:gd name="connsiteX197" fmla="*/ 282494 w 514350"/>
                  <a:gd name="connsiteY197" fmla="*/ 289985 h 504825"/>
                  <a:gd name="connsiteX198" fmla="*/ 297258 w 514350"/>
                  <a:gd name="connsiteY198" fmla="*/ 301057 h 504825"/>
                  <a:gd name="connsiteX199" fmla="*/ 300944 w 514350"/>
                  <a:gd name="connsiteY199" fmla="*/ 308438 h 504825"/>
                  <a:gd name="connsiteX200" fmla="*/ 315698 w 514350"/>
                  <a:gd name="connsiteY200" fmla="*/ 319510 h 504825"/>
                  <a:gd name="connsiteX201" fmla="*/ 315698 w 514350"/>
                  <a:gd name="connsiteY201" fmla="*/ 323201 h 504825"/>
                  <a:gd name="connsiteX202" fmla="*/ 326766 w 514350"/>
                  <a:gd name="connsiteY202" fmla="*/ 334273 h 504825"/>
                  <a:gd name="connsiteX203" fmla="*/ 337834 w 514350"/>
                  <a:gd name="connsiteY203" fmla="*/ 345344 h 504825"/>
                  <a:gd name="connsiteX204" fmla="*/ 356284 w 514350"/>
                  <a:gd name="connsiteY204" fmla="*/ 363796 h 504825"/>
                  <a:gd name="connsiteX205" fmla="*/ 359970 w 514350"/>
                  <a:gd name="connsiteY205" fmla="*/ 367487 h 504825"/>
                  <a:gd name="connsiteX206" fmla="*/ 367352 w 514350"/>
                  <a:gd name="connsiteY206" fmla="*/ 374868 h 504825"/>
                  <a:gd name="connsiteX207" fmla="*/ 374724 w 514350"/>
                  <a:gd name="connsiteY207" fmla="*/ 382249 h 504825"/>
                  <a:gd name="connsiteX208" fmla="*/ 378410 w 514350"/>
                  <a:gd name="connsiteY208" fmla="*/ 385940 h 504825"/>
                  <a:gd name="connsiteX209" fmla="*/ 378410 w 514350"/>
                  <a:gd name="connsiteY209" fmla="*/ 389631 h 504825"/>
                  <a:gd name="connsiteX210" fmla="*/ 382106 w 514350"/>
                  <a:gd name="connsiteY210" fmla="*/ 393321 h 504825"/>
                  <a:gd name="connsiteX211" fmla="*/ 385792 w 514350"/>
                  <a:gd name="connsiteY211" fmla="*/ 397012 h 504825"/>
                  <a:gd name="connsiteX212" fmla="*/ 389479 w 514350"/>
                  <a:gd name="connsiteY212" fmla="*/ 404393 h 504825"/>
                  <a:gd name="connsiteX213" fmla="*/ 393174 w 514350"/>
                  <a:gd name="connsiteY213" fmla="*/ 411774 h 504825"/>
                  <a:gd name="connsiteX214" fmla="*/ 396861 w 514350"/>
                  <a:gd name="connsiteY214" fmla="*/ 411774 h 504825"/>
                  <a:gd name="connsiteX215" fmla="*/ 396861 w 514350"/>
                  <a:gd name="connsiteY215" fmla="*/ 415465 h 504825"/>
                  <a:gd name="connsiteX216" fmla="*/ 400547 w 514350"/>
                  <a:gd name="connsiteY216" fmla="*/ 415465 h 504825"/>
                  <a:gd name="connsiteX217" fmla="*/ 407928 w 514350"/>
                  <a:gd name="connsiteY217" fmla="*/ 426537 h 504825"/>
                  <a:gd name="connsiteX218" fmla="*/ 411615 w 514350"/>
                  <a:gd name="connsiteY218" fmla="*/ 433917 h 504825"/>
                  <a:gd name="connsiteX219" fmla="*/ 415310 w 514350"/>
                  <a:gd name="connsiteY219" fmla="*/ 437608 h 504825"/>
                  <a:gd name="connsiteX220" fmla="*/ 418997 w 514350"/>
                  <a:gd name="connsiteY220" fmla="*/ 441298 h 504825"/>
                  <a:gd name="connsiteX221" fmla="*/ 426378 w 514350"/>
                  <a:gd name="connsiteY221" fmla="*/ 441298 h 504825"/>
                  <a:gd name="connsiteX222" fmla="*/ 426378 w 514350"/>
                  <a:gd name="connsiteY222" fmla="*/ 448680 h 504825"/>
                  <a:gd name="connsiteX223" fmla="*/ 422683 w 514350"/>
                  <a:gd name="connsiteY223" fmla="*/ 452370 h 504825"/>
                  <a:gd name="connsiteX224" fmla="*/ 415310 w 514350"/>
                  <a:gd name="connsiteY224" fmla="*/ 474514 h 504825"/>
                  <a:gd name="connsiteX225" fmla="*/ 415310 w 514350"/>
                  <a:gd name="connsiteY225" fmla="*/ 478204 h 504825"/>
                  <a:gd name="connsiteX226" fmla="*/ 426378 w 514350"/>
                  <a:gd name="connsiteY226" fmla="*/ 478204 h 504825"/>
                  <a:gd name="connsiteX227" fmla="*/ 426378 w 514350"/>
                  <a:gd name="connsiteY227" fmla="*/ 481895 h 504825"/>
                  <a:gd name="connsiteX228" fmla="*/ 430065 w 514350"/>
                  <a:gd name="connsiteY228" fmla="*/ 481895 h 504825"/>
                  <a:gd name="connsiteX229" fmla="*/ 437447 w 514350"/>
                  <a:gd name="connsiteY229" fmla="*/ 492967 h 504825"/>
                  <a:gd name="connsiteX230" fmla="*/ 441133 w 514350"/>
                  <a:gd name="connsiteY230" fmla="*/ 496657 h 504825"/>
                  <a:gd name="connsiteX231" fmla="*/ 444819 w 514350"/>
                  <a:gd name="connsiteY231" fmla="*/ 492967 h 504825"/>
                  <a:gd name="connsiteX232" fmla="*/ 444819 w 514350"/>
                  <a:gd name="connsiteY232" fmla="*/ 496657 h 504825"/>
                  <a:gd name="connsiteX233" fmla="*/ 441133 w 514350"/>
                  <a:gd name="connsiteY233" fmla="*/ 496657 h 504825"/>
                  <a:gd name="connsiteX234" fmla="*/ 441133 w 514350"/>
                  <a:gd name="connsiteY234" fmla="*/ 504039 h 504825"/>
                  <a:gd name="connsiteX235" fmla="*/ 452201 w 514350"/>
                  <a:gd name="connsiteY235" fmla="*/ 504039 h 504825"/>
                  <a:gd name="connsiteX236" fmla="*/ 448505 w 514350"/>
                  <a:gd name="connsiteY236" fmla="*/ 496657 h 504825"/>
                  <a:gd name="connsiteX237" fmla="*/ 448505 w 514350"/>
                  <a:gd name="connsiteY237" fmla="*/ 492967 h 504825"/>
                  <a:gd name="connsiteX238" fmla="*/ 455887 w 514350"/>
                  <a:gd name="connsiteY238" fmla="*/ 481895 h 504825"/>
                  <a:gd name="connsiteX239" fmla="*/ 478023 w 514350"/>
                  <a:gd name="connsiteY239" fmla="*/ 444989 h 504825"/>
                  <a:gd name="connsiteX240" fmla="*/ 492777 w 514350"/>
                  <a:gd name="connsiteY240" fmla="*/ 419156 h 504825"/>
                  <a:gd name="connsiteX241" fmla="*/ 500159 w 514350"/>
                  <a:gd name="connsiteY241" fmla="*/ 389631 h 504825"/>
                  <a:gd name="connsiteX242" fmla="*/ 503845 w 514350"/>
                  <a:gd name="connsiteY242" fmla="*/ 371178 h 504825"/>
                  <a:gd name="connsiteX243" fmla="*/ 507541 w 514350"/>
                  <a:gd name="connsiteY243" fmla="*/ 367487 h 504825"/>
                  <a:gd name="connsiteX244" fmla="*/ 507541 w 514350"/>
                  <a:gd name="connsiteY244" fmla="*/ 363796 h 504825"/>
                  <a:gd name="connsiteX245" fmla="*/ 500159 w 514350"/>
                  <a:gd name="connsiteY245" fmla="*/ 330582 h 504825"/>
                  <a:gd name="connsiteX246" fmla="*/ 500159 w 514350"/>
                  <a:gd name="connsiteY246" fmla="*/ 312129 h 504825"/>
                  <a:gd name="connsiteX247" fmla="*/ 500159 w 514350"/>
                  <a:gd name="connsiteY247" fmla="*/ 308438 h 504825"/>
                  <a:gd name="connsiteX248" fmla="*/ 500159 w 514350"/>
                  <a:gd name="connsiteY248" fmla="*/ 282604 h 504825"/>
                  <a:gd name="connsiteX249" fmla="*/ 489091 w 514350"/>
                  <a:gd name="connsiteY249" fmla="*/ 275223 h 504825"/>
                  <a:gd name="connsiteX250" fmla="*/ 489091 w 514350"/>
                  <a:gd name="connsiteY250" fmla="*/ 267842 h 504825"/>
                  <a:gd name="connsiteX251" fmla="*/ 489091 w 514350"/>
                  <a:gd name="connsiteY251" fmla="*/ 264151 h 504825"/>
                  <a:gd name="connsiteX252" fmla="*/ 489091 w 514350"/>
                  <a:gd name="connsiteY252" fmla="*/ 260461 h 504825"/>
                  <a:gd name="connsiteX253" fmla="*/ 492777 w 514350"/>
                  <a:gd name="connsiteY253" fmla="*/ 256771 h 504825"/>
                  <a:gd name="connsiteX254" fmla="*/ 492777 w 514350"/>
                  <a:gd name="connsiteY254" fmla="*/ 249389 h 504825"/>
                  <a:gd name="connsiteX255" fmla="*/ 492777 w 514350"/>
                  <a:gd name="connsiteY255" fmla="*/ 245699 h 504825"/>
                  <a:gd name="connsiteX256" fmla="*/ 496473 w 514350"/>
                  <a:gd name="connsiteY256" fmla="*/ 234627 h 504825"/>
                  <a:gd name="connsiteX257" fmla="*/ 500159 w 514350"/>
                  <a:gd name="connsiteY257" fmla="*/ 234627 h 504825"/>
                  <a:gd name="connsiteX258" fmla="*/ 503845 w 514350"/>
                  <a:gd name="connsiteY258" fmla="*/ 230936 h 504825"/>
                  <a:gd name="connsiteX259" fmla="*/ 511227 w 514350"/>
                  <a:gd name="connsiteY259" fmla="*/ 230936 h 504825"/>
                  <a:gd name="connsiteX260" fmla="*/ 503845 w 514350"/>
                  <a:gd name="connsiteY260" fmla="*/ 227246 h 504825"/>
                  <a:gd name="connsiteX261" fmla="*/ 500159 w 514350"/>
                  <a:gd name="connsiteY261" fmla="*/ 223555 h 504825"/>
                  <a:gd name="connsiteX262" fmla="*/ 503845 w 514350"/>
                  <a:gd name="connsiteY262" fmla="*/ 219865 h 504825"/>
                  <a:gd name="connsiteX263" fmla="*/ 503845 w 514350"/>
                  <a:gd name="connsiteY263" fmla="*/ 216174 h 504825"/>
                  <a:gd name="connsiteX264" fmla="*/ 503845 w 514350"/>
                  <a:gd name="connsiteY264" fmla="*/ 201412 h 504825"/>
                  <a:gd name="connsiteX265" fmla="*/ 500159 w 514350"/>
                  <a:gd name="connsiteY265" fmla="*/ 190340 h 504825"/>
                  <a:gd name="connsiteX266" fmla="*/ 500159 w 514350"/>
                  <a:gd name="connsiteY266" fmla="*/ 186649 h 504825"/>
                  <a:gd name="connsiteX267" fmla="*/ 496473 w 514350"/>
                  <a:gd name="connsiteY267" fmla="*/ 186649 h 504825"/>
                  <a:gd name="connsiteX268" fmla="*/ 485405 w 514350"/>
                  <a:gd name="connsiteY268" fmla="*/ 182958 h 504825"/>
                  <a:gd name="connsiteX269" fmla="*/ 481709 w 514350"/>
                  <a:gd name="connsiteY269" fmla="*/ 182958 h 504825"/>
                  <a:gd name="connsiteX270" fmla="*/ 481709 w 514350"/>
                  <a:gd name="connsiteY270" fmla="*/ 179268 h 504825"/>
                  <a:gd name="connsiteX271" fmla="*/ 478023 w 514350"/>
                  <a:gd name="connsiteY271" fmla="*/ 179268 h 504825"/>
                  <a:gd name="connsiteX272" fmla="*/ 474337 w 514350"/>
                  <a:gd name="connsiteY272" fmla="*/ 179268 h 504825"/>
                  <a:gd name="connsiteX273" fmla="*/ 470641 w 514350"/>
                  <a:gd name="connsiteY273" fmla="*/ 179268 h 504825"/>
                  <a:gd name="connsiteX274" fmla="*/ 466955 w 514350"/>
                  <a:gd name="connsiteY274" fmla="*/ 179268 h 504825"/>
                  <a:gd name="connsiteX275" fmla="*/ 466955 w 514350"/>
                  <a:gd name="connsiteY275" fmla="*/ 175578 h 504825"/>
                  <a:gd name="connsiteX276" fmla="*/ 463269 w 514350"/>
                  <a:gd name="connsiteY276" fmla="*/ 175578 h 504825"/>
                  <a:gd name="connsiteX277" fmla="*/ 459573 w 514350"/>
                  <a:gd name="connsiteY277" fmla="*/ 175578 h 504825"/>
                  <a:gd name="connsiteX278" fmla="*/ 452201 w 514350"/>
                  <a:gd name="connsiteY278" fmla="*/ 175578 h 504825"/>
                  <a:gd name="connsiteX279" fmla="*/ 448505 w 514350"/>
                  <a:gd name="connsiteY279" fmla="*/ 171888 h 504825"/>
                  <a:gd name="connsiteX280" fmla="*/ 444819 w 514350"/>
                  <a:gd name="connsiteY280" fmla="*/ 171888 h 504825"/>
                  <a:gd name="connsiteX281" fmla="*/ 441133 w 514350"/>
                  <a:gd name="connsiteY281" fmla="*/ 168197 h 504825"/>
                  <a:gd name="connsiteX282" fmla="*/ 437447 w 514350"/>
                  <a:gd name="connsiteY282" fmla="*/ 164506 h 504825"/>
                  <a:gd name="connsiteX283" fmla="*/ 437447 w 514350"/>
                  <a:gd name="connsiteY283" fmla="*/ 160816 h 504825"/>
                  <a:gd name="connsiteX284" fmla="*/ 437447 w 514350"/>
                  <a:gd name="connsiteY284" fmla="*/ 153435 h 504825"/>
                  <a:gd name="connsiteX285" fmla="*/ 441133 w 514350"/>
                  <a:gd name="connsiteY285" fmla="*/ 149744 h 504825"/>
                  <a:gd name="connsiteX286" fmla="*/ 437447 w 514350"/>
                  <a:gd name="connsiteY286" fmla="*/ 142363 h 504825"/>
                  <a:gd name="connsiteX287" fmla="*/ 437447 w 514350"/>
                  <a:gd name="connsiteY287" fmla="*/ 138672 h 504825"/>
                  <a:gd name="connsiteX288" fmla="*/ 441133 w 514350"/>
                  <a:gd name="connsiteY288" fmla="*/ 138672 h 504825"/>
                  <a:gd name="connsiteX289" fmla="*/ 444819 w 514350"/>
                  <a:gd name="connsiteY289" fmla="*/ 131291 h 504825"/>
                  <a:gd name="connsiteX290" fmla="*/ 444819 w 514350"/>
                  <a:gd name="connsiteY290" fmla="*/ 127600 h 504825"/>
                  <a:gd name="connsiteX291" fmla="*/ 437447 w 514350"/>
                  <a:gd name="connsiteY291" fmla="*/ 131291 h 504825"/>
                  <a:gd name="connsiteX292" fmla="*/ 433751 w 514350"/>
                  <a:gd name="connsiteY292" fmla="*/ 134981 h 504825"/>
                  <a:gd name="connsiteX293" fmla="*/ 422683 w 514350"/>
                  <a:gd name="connsiteY293" fmla="*/ 134981 h 504825"/>
                  <a:gd name="connsiteX294" fmla="*/ 418997 w 514350"/>
                  <a:gd name="connsiteY294" fmla="*/ 134981 h 504825"/>
                  <a:gd name="connsiteX295" fmla="*/ 415310 w 514350"/>
                  <a:gd name="connsiteY295" fmla="*/ 134981 h 504825"/>
                  <a:gd name="connsiteX296" fmla="*/ 411615 w 514350"/>
                  <a:gd name="connsiteY296" fmla="*/ 134981 h 504825"/>
                  <a:gd name="connsiteX297" fmla="*/ 404242 w 514350"/>
                  <a:gd name="connsiteY297" fmla="*/ 131291 h 504825"/>
                  <a:gd name="connsiteX298" fmla="*/ 404242 w 514350"/>
                  <a:gd name="connsiteY298" fmla="*/ 127600 h 504825"/>
                  <a:gd name="connsiteX299" fmla="*/ 400547 w 514350"/>
                  <a:gd name="connsiteY299" fmla="*/ 127600 h 504825"/>
                  <a:gd name="connsiteX300" fmla="*/ 396861 w 514350"/>
                  <a:gd name="connsiteY300" fmla="*/ 127600 h 504825"/>
                  <a:gd name="connsiteX301" fmla="*/ 389479 w 514350"/>
                  <a:gd name="connsiteY301" fmla="*/ 123910 h 504825"/>
                  <a:gd name="connsiteX302" fmla="*/ 382106 w 514350"/>
                  <a:gd name="connsiteY302" fmla="*/ 120219 h 504825"/>
                  <a:gd name="connsiteX303" fmla="*/ 382106 w 514350"/>
                  <a:gd name="connsiteY303" fmla="*/ 123910 h 504825"/>
                  <a:gd name="connsiteX304" fmla="*/ 374724 w 514350"/>
                  <a:gd name="connsiteY304" fmla="*/ 120219 h 504825"/>
                  <a:gd name="connsiteX305" fmla="*/ 367352 w 514350"/>
                  <a:gd name="connsiteY305" fmla="*/ 116528 h 504825"/>
                  <a:gd name="connsiteX306" fmla="*/ 363656 w 514350"/>
                  <a:gd name="connsiteY306" fmla="*/ 116528 h 504825"/>
                  <a:gd name="connsiteX307" fmla="*/ 363656 w 514350"/>
                  <a:gd name="connsiteY307" fmla="*/ 112838 h 504825"/>
                  <a:gd name="connsiteX308" fmla="*/ 367352 w 514350"/>
                  <a:gd name="connsiteY308" fmla="*/ 112838 h 504825"/>
                  <a:gd name="connsiteX309" fmla="*/ 363656 w 514350"/>
                  <a:gd name="connsiteY309" fmla="*/ 109147 h 504825"/>
                  <a:gd name="connsiteX310" fmla="*/ 356284 w 514350"/>
                  <a:gd name="connsiteY310" fmla="*/ 101766 h 504825"/>
                  <a:gd name="connsiteX311" fmla="*/ 352588 w 514350"/>
                  <a:gd name="connsiteY311" fmla="*/ 101766 h 504825"/>
                  <a:gd name="connsiteX312" fmla="*/ 348902 w 514350"/>
                  <a:gd name="connsiteY312" fmla="*/ 98075 h 504825"/>
                  <a:gd name="connsiteX313" fmla="*/ 348902 w 514350"/>
                  <a:gd name="connsiteY313" fmla="*/ 94385 h 504825"/>
                  <a:gd name="connsiteX314" fmla="*/ 348902 w 514350"/>
                  <a:gd name="connsiteY314" fmla="*/ 87005 h 504825"/>
                  <a:gd name="connsiteX315" fmla="*/ 348902 w 514350"/>
                  <a:gd name="connsiteY315" fmla="*/ 79623 h 504825"/>
                  <a:gd name="connsiteX316" fmla="*/ 345216 w 514350"/>
                  <a:gd name="connsiteY316" fmla="*/ 75933 h 504825"/>
                  <a:gd name="connsiteX317" fmla="*/ 345216 w 514350"/>
                  <a:gd name="connsiteY317" fmla="*/ 72242 h 504825"/>
                  <a:gd name="connsiteX318" fmla="*/ 345216 w 514350"/>
                  <a:gd name="connsiteY318" fmla="*/ 68551 h 504825"/>
                  <a:gd name="connsiteX319" fmla="*/ 345216 w 514350"/>
                  <a:gd name="connsiteY319" fmla="*/ 61170 h 504825"/>
                  <a:gd name="connsiteX320" fmla="*/ 341520 w 514350"/>
                  <a:gd name="connsiteY320" fmla="*/ 53789 h 504825"/>
                  <a:gd name="connsiteX321" fmla="*/ 337834 w 514350"/>
                  <a:gd name="connsiteY321" fmla="*/ 53789 h 504825"/>
                  <a:gd name="connsiteX322" fmla="*/ 337834 w 514350"/>
                  <a:gd name="connsiteY322" fmla="*/ 42717 h 504825"/>
                  <a:gd name="connsiteX323" fmla="*/ 341520 w 514350"/>
                  <a:gd name="connsiteY323" fmla="*/ 31645 h 504825"/>
                  <a:gd name="connsiteX324" fmla="*/ 341520 w 514350"/>
                  <a:gd name="connsiteY324" fmla="*/ 27955 h 504825"/>
                  <a:gd name="connsiteX325" fmla="*/ 330452 w 514350"/>
                  <a:gd name="connsiteY325" fmla="*/ 16883 h 504825"/>
                  <a:gd name="connsiteX326" fmla="*/ 323080 w 514350"/>
                  <a:gd name="connsiteY326" fmla="*/ 13193 h 504825"/>
                  <a:gd name="connsiteX327" fmla="*/ 319384 w 514350"/>
                  <a:gd name="connsiteY327" fmla="*/ 20574 h 504825"/>
                  <a:gd name="connsiteX328" fmla="*/ 323080 w 514350"/>
                  <a:gd name="connsiteY328" fmla="*/ 24264 h 504825"/>
                  <a:gd name="connsiteX329" fmla="*/ 319384 w 514350"/>
                  <a:gd name="connsiteY329" fmla="*/ 24264 h 504825"/>
                  <a:gd name="connsiteX330" fmla="*/ 315698 w 514350"/>
                  <a:gd name="connsiteY330" fmla="*/ 24264 h 504825"/>
                  <a:gd name="connsiteX331" fmla="*/ 312012 w 514350"/>
                  <a:gd name="connsiteY331" fmla="*/ 24264 h 504825"/>
                  <a:gd name="connsiteX332" fmla="*/ 312012 w 514350"/>
                  <a:gd name="connsiteY332" fmla="*/ 20574 h 504825"/>
                  <a:gd name="connsiteX333" fmla="*/ 315698 w 514350"/>
                  <a:gd name="connsiteY333" fmla="*/ 24264 h 504825"/>
                  <a:gd name="connsiteX334" fmla="*/ 315698 w 514350"/>
                  <a:gd name="connsiteY334" fmla="*/ 20574 h 504825"/>
                  <a:gd name="connsiteX335" fmla="*/ 319384 w 514350"/>
                  <a:gd name="connsiteY335" fmla="*/ 13193 h 504825"/>
                  <a:gd name="connsiteX336" fmla="*/ 315698 w 514350"/>
                  <a:gd name="connsiteY336" fmla="*/ 13193 h 504825"/>
                  <a:gd name="connsiteX337" fmla="*/ 308316 w 514350"/>
                  <a:gd name="connsiteY337" fmla="*/ 9502 h 504825"/>
                  <a:gd name="connsiteX338" fmla="*/ 300944 w 514350"/>
                  <a:gd name="connsiteY338" fmla="*/ 16883 h 504825"/>
                  <a:gd name="connsiteX339" fmla="*/ 297258 w 514350"/>
                  <a:gd name="connsiteY339" fmla="*/ 13193 h 504825"/>
                  <a:gd name="connsiteX340" fmla="*/ 289876 w 514350"/>
                  <a:gd name="connsiteY340" fmla="*/ 9502 h 504825"/>
                  <a:gd name="connsiteX341" fmla="*/ 278808 w 514350"/>
                  <a:gd name="connsiteY341" fmla="*/ 9502 h 504825"/>
                  <a:gd name="connsiteX342" fmla="*/ 275121 w 514350"/>
                  <a:gd name="connsiteY342" fmla="*/ 5812 h 504825"/>
                  <a:gd name="connsiteX343" fmla="*/ 367352 w 514350"/>
                  <a:gd name="connsiteY343" fmla="*/ 112838 h 504825"/>
                  <a:gd name="connsiteX344" fmla="*/ 371038 w 514350"/>
                  <a:gd name="connsiteY344" fmla="*/ 116528 h 504825"/>
                  <a:gd name="connsiteX345" fmla="*/ 371038 w 514350"/>
                  <a:gd name="connsiteY345" fmla="*/ 112838 h 504825"/>
                  <a:gd name="connsiteX346" fmla="*/ 367352 w 514350"/>
                  <a:gd name="connsiteY346" fmla="*/ 112838 h 504825"/>
                  <a:gd name="connsiteX347" fmla="*/ 500159 w 514350"/>
                  <a:gd name="connsiteY347" fmla="*/ 186649 h 504825"/>
                  <a:gd name="connsiteX348" fmla="*/ 500159 w 514350"/>
                  <a:gd name="connsiteY348" fmla="*/ 179268 h 504825"/>
                  <a:gd name="connsiteX349" fmla="*/ 496473 w 514350"/>
                  <a:gd name="connsiteY349" fmla="*/ 182958 h 504825"/>
                  <a:gd name="connsiteX350" fmla="*/ 500159 w 514350"/>
                  <a:gd name="connsiteY350" fmla="*/ 186649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Lst>
                <a:rect l="l" t="t" r="r" b="b"/>
                <a:pathLst>
                  <a:path w="514350" h="504825">
                    <a:moveTo>
                      <a:pt x="275121" y="5812"/>
                    </a:moveTo>
                    <a:lnTo>
                      <a:pt x="267740" y="9502"/>
                    </a:lnTo>
                    <a:lnTo>
                      <a:pt x="238222" y="13193"/>
                    </a:lnTo>
                    <a:lnTo>
                      <a:pt x="234535" y="16883"/>
                    </a:lnTo>
                    <a:lnTo>
                      <a:pt x="223467" y="20574"/>
                    </a:lnTo>
                    <a:lnTo>
                      <a:pt x="219781" y="20574"/>
                    </a:lnTo>
                    <a:lnTo>
                      <a:pt x="216095" y="24264"/>
                    </a:lnTo>
                    <a:lnTo>
                      <a:pt x="208713" y="24264"/>
                    </a:lnTo>
                    <a:lnTo>
                      <a:pt x="201331" y="31645"/>
                    </a:lnTo>
                    <a:lnTo>
                      <a:pt x="197645" y="31645"/>
                    </a:lnTo>
                    <a:lnTo>
                      <a:pt x="193959" y="31645"/>
                    </a:lnTo>
                    <a:lnTo>
                      <a:pt x="190263" y="31645"/>
                    </a:lnTo>
                    <a:lnTo>
                      <a:pt x="182891" y="35336"/>
                    </a:lnTo>
                    <a:lnTo>
                      <a:pt x="175509" y="39027"/>
                    </a:lnTo>
                    <a:lnTo>
                      <a:pt x="171823" y="35336"/>
                    </a:lnTo>
                    <a:lnTo>
                      <a:pt x="168127" y="39027"/>
                    </a:lnTo>
                    <a:lnTo>
                      <a:pt x="149687" y="39027"/>
                    </a:lnTo>
                    <a:lnTo>
                      <a:pt x="138619" y="42717"/>
                    </a:lnTo>
                    <a:lnTo>
                      <a:pt x="123864" y="46408"/>
                    </a:lnTo>
                    <a:lnTo>
                      <a:pt x="116483" y="46408"/>
                    </a:lnTo>
                    <a:lnTo>
                      <a:pt x="109101" y="50098"/>
                    </a:lnTo>
                    <a:lnTo>
                      <a:pt x="101728" y="50098"/>
                    </a:lnTo>
                    <a:lnTo>
                      <a:pt x="90660" y="53789"/>
                    </a:lnTo>
                    <a:lnTo>
                      <a:pt x="79592" y="57480"/>
                    </a:lnTo>
                    <a:lnTo>
                      <a:pt x="75906" y="61170"/>
                    </a:lnTo>
                    <a:lnTo>
                      <a:pt x="75906" y="64861"/>
                    </a:lnTo>
                    <a:lnTo>
                      <a:pt x="68524" y="68551"/>
                    </a:lnTo>
                    <a:lnTo>
                      <a:pt x="64838" y="64861"/>
                    </a:lnTo>
                    <a:lnTo>
                      <a:pt x="61142" y="61170"/>
                    </a:lnTo>
                    <a:lnTo>
                      <a:pt x="42702" y="50098"/>
                    </a:lnTo>
                    <a:lnTo>
                      <a:pt x="39006" y="50098"/>
                    </a:lnTo>
                    <a:lnTo>
                      <a:pt x="24252" y="57480"/>
                    </a:lnTo>
                    <a:lnTo>
                      <a:pt x="24252" y="53789"/>
                    </a:lnTo>
                    <a:lnTo>
                      <a:pt x="20566" y="53789"/>
                    </a:lnTo>
                    <a:lnTo>
                      <a:pt x="20566" y="57480"/>
                    </a:lnTo>
                    <a:lnTo>
                      <a:pt x="16870" y="57480"/>
                    </a:lnTo>
                    <a:lnTo>
                      <a:pt x="16870" y="53789"/>
                    </a:lnTo>
                    <a:lnTo>
                      <a:pt x="13184" y="57480"/>
                    </a:lnTo>
                    <a:lnTo>
                      <a:pt x="16870" y="61170"/>
                    </a:lnTo>
                    <a:lnTo>
                      <a:pt x="20566" y="61170"/>
                    </a:lnTo>
                    <a:lnTo>
                      <a:pt x="24252" y="64861"/>
                    </a:lnTo>
                    <a:lnTo>
                      <a:pt x="27938" y="64861"/>
                    </a:lnTo>
                    <a:lnTo>
                      <a:pt x="31634" y="68551"/>
                    </a:lnTo>
                    <a:lnTo>
                      <a:pt x="35320" y="68551"/>
                    </a:lnTo>
                    <a:lnTo>
                      <a:pt x="35320" y="72242"/>
                    </a:lnTo>
                    <a:lnTo>
                      <a:pt x="31634" y="72242"/>
                    </a:lnTo>
                    <a:lnTo>
                      <a:pt x="27938" y="72242"/>
                    </a:lnTo>
                    <a:lnTo>
                      <a:pt x="24252" y="72242"/>
                    </a:lnTo>
                    <a:lnTo>
                      <a:pt x="24252" y="68551"/>
                    </a:lnTo>
                    <a:lnTo>
                      <a:pt x="16870" y="64861"/>
                    </a:lnTo>
                    <a:lnTo>
                      <a:pt x="16870" y="61170"/>
                    </a:lnTo>
                    <a:lnTo>
                      <a:pt x="9498" y="61170"/>
                    </a:lnTo>
                    <a:lnTo>
                      <a:pt x="5812" y="68551"/>
                    </a:lnTo>
                    <a:lnTo>
                      <a:pt x="9498" y="68551"/>
                    </a:lnTo>
                    <a:lnTo>
                      <a:pt x="13184" y="72242"/>
                    </a:lnTo>
                    <a:lnTo>
                      <a:pt x="16870" y="72242"/>
                    </a:lnTo>
                    <a:lnTo>
                      <a:pt x="16870" y="75933"/>
                    </a:lnTo>
                    <a:lnTo>
                      <a:pt x="13184" y="79623"/>
                    </a:lnTo>
                    <a:lnTo>
                      <a:pt x="9498" y="75933"/>
                    </a:lnTo>
                    <a:lnTo>
                      <a:pt x="9498" y="79623"/>
                    </a:lnTo>
                    <a:lnTo>
                      <a:pt x="13184" y="83314"/>
                    </a:lnTo>
                    <a:lnTo>
                      <a:pt x="16870" y="83314"/>
                    </a:lnTo>
                    <a:lnTo>
                      <a:pt x="20566" y="83314"/>
                    </a:lnTo>
                    <a:lnTo>
                      <a:pt x="24252" y="83314"/>
                    </a:lnTo>
                    <a:lnTo>
                      <a:pt x="27938" y="83314"/>
                    </a:lnTo>
                    <a:lnTo>
                      <a:pt x="31634" y="83314"/>
                    </a:lnTo>
                    <a:lnTo>
                      <a:pt x="31634" y="87005"/>
                    </a:lnTo>
                    <a:lnTo>
                      <a:pt x="24252" y="87005"/>
                    </a:lnTo>
                    <a:lnTo>
                      <a:pt x="20566" y="87005"/>
                    </a:lnTo>
                    <a:lnTo>
                      <a:pt x="20566" y="90695"/>
                    </a:lnTo>
                    <a:lnTo>
                      <a:pt x="24252" y="90695"/>
                    </a:lnTo>
                    <a:lnTo>
                      <a:pt x="27938" y="90695"/>
                    </a:lnTo>
                    <a:lnTo>
                      <a:pt x="31634" y="90695"/>
                    </a:lnTo>
                    <a:lnTo>
                      <a:pt x="35320" y="87005"/>
                    </a:lnTo>
                    <a:lnTo>
                      <a:pt x="35320" y="90695"/>
                    </a:lnTo>
                    <a:lnTo>
                      <a:pt x="35320" y="94385"/>
                    </a:lnTo>
                    <a:lnTo>
                      <a:pt x="31634" y="94385"/>
                    </a:lnTo>
                    <a:lnTo>
                      <a:pt x="35320" y="98075"/>
                    </a:lnTo>
                    <a:lnTo>
                      <a:pt x="39006" y="94385"/>
                    </a:lnTo>
                    <a:lnTo>
                      <a:pt x="42702" y="94385"/>
                    </a:lnTo>
                    <a:lnTo>
                      <a:pt x="42702" y="98075"/>
                    </a:lnTo>
                    <a:lnTo>
                      <a:pt x="39006" y="101766"/>
                    </a:lnTo>
                    <a:lnTo>
                      <a:pt x="31634" y="101766"/>
                    </a:lnTo>
                    <a:lnTo>
                      <a:pt x="31634" y="105457"/>
                    </a:lnTo>
                    <a:lnTo>
                      <a:pt x="35320" y="109147"/>
                    </a:lnTo>
                    <a:lnTo>
                      <a:pt x="39006" y="105457"/>
                    </a:lnTo>
                    <a:lnTo>
                      <a:pt x="42702" y="105457"/>
                    </a:lnTo>
                    <a:lnTo>
                      <a:pt x="46388" y="105457"/>
                    </a:lnTo>
                    <a:lnTo>
                      <a:pt x="50074" y="105457"/>
                    </a:lnTo>
                    <a:lnTo>
                      <a:pt x="53770" y="109147"/>
                    </a:lnTo>
                    <a:lnTo>
                      <a:pt x="57456" y="109147"/>
                    </a:lnTo>
                    <a:lnTo>
                      <a:pt x="57456" y="131291"/>
                    </a:lnTo>
                    <a:lnTo>
                      <a:pt x="57456" y="134981"/>
                    </a:lnTo>
                    <a:lnTo>
                      <a:pt x="61142" y="134981"/>
                    </a:lnTo>
                    <a:lnTo>
                      <a:pt x="61142" y="138672"/>
                    </a:lnTo>
                    <a:lnTo>
                      <a:pt x="57456" y="138672"/>
                    </a:lnTo>
                    <a:lnTo>
                      <a:pt x="53770" y="142363"/>
                    </a:lnTo>
                    <a:lnTo>
                      <a:pt x="53770" y="146053"/>
                    </a:lnTo>
                    <a:lnTo>
                      <a:pt x="50074" y="149744"/>
                    </a:lnTo>
                    <a:lnTo>
                      <a:pt x="46388" y="149744"/>
                    </a:lnTo>
                    <a:lnTo>
                      <a:pt x="42702" y="153435"/>
                    </a:lnTo>
                    <a:lnTo>
                      <a:pt x="42702" y="157125"/>
                    </a:lnTo>
                    <a:lnTo>
                      <a:pt x="42702" y="160816"/>
                    </a:lnTo>
                    <a:lnTo>
                      <a:pt x="42702" y="164506"/>
                    </a:lnTo>
                    <a:lnTo>
                      <a:pt x="46388" y="164506"/>
                    </a:lnTo>
                    <a:lnTo>
                      <a:pt x="42702" y="168197"/>
                    </a:lnTo>
                    <a:lnTo>
                      <a:pt x="39006" y="168197"/>
                    </a:lnTo>
                    <a:lnTo>
                      <a:pt x="39006" y="171888"/>
                    </a:lnTo>
                    <a:lnTo>
                      <a:pt x="35320" y="175578"/>
                    </a:lnTo>
                    <a:lnTo>
                      <a:pt x="35320" y="179268"/>
                    </a:lnTo>
                    <a:lnTo>
                      <a:pt x="35320" y="182958"/>
                    </a:lnTo>
                    <a:lnTo>
                      <a:pt x="31634" y="186649"/>
                    </a:lnTo>
                    <a:lnTo>
                      <a:pt x="27938" y="190340"/>
                    </a:lnTo>
                    <a:lnTo>
                      <a:pt x="24252" y="194030"/>
                    </a:lnTo>
                    <a:lnTo>
                      <a:pt x="24252" y="197721"/>
                    </a:lnTo>
                    <a:lnTo>
                      <a:pt x="27938" y="197721"/>
                    </a:lnTo>
                    <a:lnTo>
                      <a:pt x="31634" y="197721"/>
                    </a:lnTo>
                    <a:lnTo>
                      <a:pt x="31634" y="205102"/>
                    </a:lnTo>
                    <a:lnTo>
                      <a:pt x="31634" y="208793"/>
                    </a:lnTo>
                    <a:lnTo>
                      <a:pt x="31634" y="212483"/>
                    </a:lnTo>
                    <a:lnTo>
                      <a:pt x="27938" y="219865"/>
                    </a:lnTo>
                    <a:lnTo>
                      <a:pt x="24252" y="223555"/>
                    </a:lnTo>
                    <a:lnTo>
                      <a:pt x="20566" y="223555"/>
                    </a:lnTo>
                    <a:lnTo>
                      <a:pt x="16870" y="227246"/>
                    </a:lnTo>
                    <a:lnTo>
                      <a:pt x="16870" y="230936"/>
                    </a:lnTo>
                    <a:lnTo>
                      <a:pt x="13184" y="238318"/>
                    </a:lnTo>
                    <a:lnTo>
                      <a:pt x="9498" y="242008"/>
                    </a:lnTo>
                    <a:lnTo>
                      <a:pt x="9498" y="249389"/>
                    </a:lnTo>
                    <a:lnTo>
                      <a:pt x="9498" y="256771"/>
                    </a:lnTo>
                    <a:lnTo>
                      <a:pt x="9498" y="260461"/>
                    </a:lnTo>
                    <a:lnTo>
                      <a:pt x="9498" y="275223"/>
                    </a:lnTo>
                    <a:lnTo>
                      <a:pt x="13184" y="278913"/>
                    </a:lnTo>
                    <a:lnTo>
                      <a:pt x="16870" y="282604"/>
                    </a:lnTo>
                    <a:lnTo>
                      <a:pt x="20566" y="289985"/>
                    </a:lnTo>
                    <a:lnTo>
                      <a:pt x="24252" y="289985"/>
                    </a:lnTo>
                    <a:lnTo>
                      <a:pt x="31634" y="289985"/>
                    </a:lnTo>
                    <a:lnTo>
                      <a:pt x="39006" y="289985"/>
                    </a:lnTo>
                    <a:lnTo>
                      <a:pt x="46388" y="289985"/>
                    </a:lnTo>
                    <a:lnTo>
                      <a:pt x="50074" y="289985"/>
                    </a:lnTo>
                    <a:lnTo>
                      <a:pt x="53770" y="293676"/>
                    </a:lnTo>
                    <a:lnTo>
                      <a:pt x="61142" y="297366"/>
                    </a:lnTo>
                    <a:lnTo>
                      <a:pt x="64838" y="301057"/>
                    </a:lnTo>
                    <a:lnTo>
                      <a:pt x="64838" y="304748"/>
                    </a:lnTo>
                    <a:lnTo>
                      <a:pt x="75906" y="308438"/>
                    </a:lnTo>
                    <a:lnTo>
                      <a:pt x="86974" y="312129"/>
                    </a:lnTo>
                    <a:lnTo>
                      <a:pt x="90660" y="312129"/>
                    </a:lnTo>
                    <a:lnTo>
                      <a:pt x="94346" y="297366"/>
                    </a:lnTo>
                    <a:lnTo>
                      <a:pt x="98033" y="297366"/>
                    </a:lnTo>
                    <a:lnTo>
                      <a:pt x="98033" y="286295"/>
                    </a:lnTo>
                    <a:lnTo>
                      <a:pt x="98033" y="282604"/>
                    </a:lnTo>
                    <a:lnTo>
                      <a:pt x="105414" y="264151"/>
                    </a:lnTo>
                    <a:lnTo>
                      <a:pt x="105414" y="260461"/>
                    </a:lnTo>
                    <a:lnTo>
                      <a:pt x="109101" y="256771"/>
                    </a:lnTo>
                    <a:lnTo>
                      <a:pt x="112796" y="249389"/>
                    </a:lnTo>
                    <a:lnTo>
                      <a:pt x="116483" y="245699"/>
                    </a:lnTo>
                    <a:lnTo>
                      <a:pt x="116483" y="242008"/>
                    </a:lnTo>
                    <a:lnTo>
                      <a:pt x="120169" y="238318"/>
                    </a:lnTo>
                    <a:lnTo>
                      <a:pt x="127551" y="234627"/>
                    </a:lnTo>
                    <a:lnTo>
                      <a:pt x="134932" y="230936"/>
                    </a:lnTo>
                    <a:lnTo>
                      <a:pt x="134932" y="227246"/>
                    </a:lnTo>
                    <a:lnTo>
                      <a:pt x="138619" y="223555"/>
                    </a:lnTo>
                    <a:lnTo>
                      <a:pt x="146001" y="219865"/>
                    </a:lnTo>
                    <a:lnTo>
                      <a:pt x="153373" y="219865"/>
                    </a:lnTo>
                    <a:lnTo>
                      <a:pt x="157069" y="219865"/>
                    </a:lnTo>
                    <a:lnTo>
                      <a:pt x="160755" y="223555"/>
                    </a:lnTo>
                    <a:lnTo>
                      <a:pt x="164441" y="219865"/>
                    </a:lnTo>
                    <a:lnTo>
                      <a:pt x="168127" y="223555"/>
                    </a:lnTo>
                    <a:lnTo>
                      <a:pt x="175509" y="223555"/>
                    </a:lnTo>
                    <a:lnTo>
                      <a:pt x="179195" y="234627"/>
                    </a:lnTo>
                    <a:lnTo>
                      <a:pt x="182891" y="238318"/>
                    </a:lnTo>
                    <a:lnTo>
                      <a:pt x="186577" y="234627"/>
                    </a:lnTo>
                    <a:lnTo>
                      <a:pt x="190263" y="245699"/>
                    </a:lnTo>
                    <a:lnTo>
                      <a:pt x="190263" y="249389"/>
                    </a:lnTo>
                    <a:lnTo>
                      <a:pt x="193959" y="253080"/>
                    </a:lnTo>
                    <a:lnTo>
                      <a:pt x="201331" y="249389"/>
                    </a:lnTo>
                    <a:lnTo>
                      <a:pt x="201331" y="253080"/>
                    </a:lnTo>
                    <a:lnTo>
                      <a:pt x="201331" y="256771"/>
                    </a:lnTo>
                    <a:lnTo>
                      <a:pt x="205027" y="260461"/>
                    </a:lnTo>
                    <a:lnTo>
                      <a:pt x="205027" y="264151"/>
                    </a:lnTo>
                    <a:lnTo>
                      <a:pt x="212399" y="264151"/>
                    </a:lnTo>
                    <a:lnTo>
                      <a:pt x="212399" y="267842"/>
                    </a:lnTo>
                    <a:lnTo>
                      <a:pt x="216095" y="271532"/>
                    </a:lnTo>
                    <a:lnTo>
                      <a:pt x="219781" y="275223"/>
                    </a:lnTo>
                    <a:lnTo>
                      <a:pt x="223467" y="278913"/>
                    </a:lnTo>
                    <a:lnTo>
                      <a:pt x="223467" y="282604"/>
                    </a:lnTo>
                    <a:lnTo>
                      <a:pt x="227163" y="282604"/>
                    </a:lnTo>
                    <a:lnTo>
                      <a:pt x="223467" y="286295"/>
                    </a:lnTo>
                    <a:lnTo>
                      <a:pt x="227163" y="289985"/>
                    </a:lnTo>
                    <a:lnTo>
                      <a:pt x="227163" y="293676"/>
                    </a:lnTo>
                    <a:lnTo>
                      <a:pt x="245603" y="286295"/>
                    </a:lnTo>
                    <a:lnTo>
                      <a:pt x="249290" y="286295"/>
                    </a:lnTo>
                    <a:lnTo>
                      <a:pt x="256672" y="282604"/>
                    </a:lnTo>
                    <a:lnTo>
                      <a:pt x="267740" y="282604"/>
                    </a:lnTo>
                    <a:lnTo>
                      <a:pt x="271426" y="282604"/>
                    </a:lnTo>
                    <a:lnTo>
                      <a:pt x="275121" y="282604"/>
                    </a:lnTo>
                    <a:lnTo>
                      <a:pt x="278808" y="286295"/>
                    </a:lnTo>
                    <a:lnTo>
                      <a:pt x="282494" y="286295"/>
                    </a:lnTo>
                    <a:lnTo>
                      <a:pt x="282494" y="289985"/>
                    </a:lnTo>
                    <a:lnTo>
                      <a:pt x="297258" y="301057"/>
                    </a:lnTo>
                    <a:lnTo>
                      <a:pt x="300944" y="308438"/>
                    </a:lnTo>
                    <a:lnTo>
                      <a:pt x="315698" y="319510"/>
                    </a:lnTo>
                    <a:lnTo>
                      <a:pt x="315698" y="323201"/>
                    </a:lnTo>
                    <a:lnTo>
                      <a:pt x="326766" y="334273"/>
                    </a:lnTo>
                    <a:lnTo>
                      <a:pt x="337834" y="345344"/>
                    </a:lnTo>
                    <a:lnTo>
                      <a:pt x="356284" y="363796"/>
                    </a:lnTo>
                    <a:lnTo>
                      <a:pt x="359970" y="367487"/>
                    </a:lnTo>
                    <a:lnTo>
                      <a:pt x="367352" y="374868"/>
                    </a:lnTo>
                    <a:lnTo>
                      <a:pt x="374724" y="382249"/>
                    </a:lnTo>
                    <a:lnTo>
                      <a:pt x="378410" y="385940"/>
                    </a:lnTo>
                    <a:lnTo>
                      <a:pt x="378410" y="389631"/>
                    </a:lnTo>
                    <a:lnTo>
                      <a:pt x="382106" y="393321"/>
                    </a:lnTo>
                    <a:lnTo>
                      <a:pt x="385792" y="397012"/>
                    </a:lnTo>
                    <a:lnTo>
                      <a:pt x="389479" y="404393"/>
                    </a:lnTo>
                    <a:lnTo>
                      <a:pt x="393174" y="411774"/>
                    </a:lnTo>
                    <a:lnTo>
                      <a:pt x="396861" y="411774"/>
                    </a:lnTo>
                    <a:lnTo>
                      <a:pt x="396861" y="415465"/>
                    </a:lnTo>
                    <a:lnTo>
                      <a:pt x="400547" y="415465"/>
                    </a:lnTo>
                    <a:lnTo>
                      <a:pt x="407928" y="426537"/>
                    </a:lnTo>
                    <a:lnTo>
                      <a:pt x="411615" y="433917"/>
                    </a:lnTo>
                    <a:lnTo>
                      <a:pt x="415310" y="437608"/>
                    </a:lnTo>
                    <a:lnTo>
                      <a:pt x="418997" y="441298"/>
                    </a:lnTo>
                    <a:lnTo>
                      <a:pt x="426378" y="441298"/>
                    </a:lnTo>
                    <a:lnTo>
                      <a:pt x="426378" y="448680"/>
                    </a:lnTo>
                    <a:lnTo>
                      <a:pt x="422683" y="452370"/>
                    </a:lnTo>
                    <a:lnTo>
                      <a:pt x="415310" y="474514"/>
                    </a:lnTo>
                    <a:lnTo>
                      <a:pt x="415310" y="478204"/>
                    </a:lnTo>
                    <a:lnTo>
                      <a:pt x="426378" y="478204"/>
                    </a:lnTo>
                    <a:lnTo>
                      <a:pt x="426378" y="481895"/>
                    </a:lnTo>
                    <a:lnTo>
                      <a:pt x="430065" y="481895"/>
                    </a:lnTo>
                    <a:lnTo>
                      <a:pt x="437447" y="492967"/>
                    </a:lnTo>
                    <a:lnTo>
                      <a:pt x="441133" y="496657"/>
                    </a:lnTo>
                    <a:lnTo>
                      <a:pt x="444819" y="492967"/>
                    </a:lnTo>
                    <a:lnTo>
                      <a:pt x="444819" y="496657"/>
                    </a:lnTo>
                    <a:lnTo>
                      <a:pt x="441133" y="496657"/>
                    </a:lnTo>
                    <a:lnTo>
                      <a:pt x="441133" y="504039"/>
                    </a:lnTo>
                    <a:lnTo>
                      <a:pt x="452201" y="504039"/>
                    </a:lnTo>
                    <a:lnTo>
                      <a:pt x="448505" y="496657"/>
                    </a:lnTo>
                    <a:lnTo>
                      <a:pt x="448505" y="492967"/>
                    </a:lnTo>
                    <a:lnTo>
                      <a:pt x="455887" y="481895"/>
                    </a:lnTo>
                    <a:lnTo>
                      <a:pt x="478023" y="444989"/>
                    </a:lnTo>
                    <a:lnTo>
                      <a:pt x="492777" y="419156"/>
                    </a:lnTo>
                    <a:lnTo>
                      <a:pt x="500159" y="389631"/>
                    </a:lnTo>
                    <a:lnTo>
                      <a:pt x="503845" y="371178"/>
                    </a:lnTo>
                    <a:lnTo>
                      <a:pt x="507541" y="367487"/>
                    </a:lnTo>
                    <a:lnTo>
                      <a:pt x="507541" y="363796"/>
                    </a:lnTo>
                    <a:lnTo>
                      <a:pt x="500159" y="330582"/>
                    </a:lnTo>
                    <a:lnTo>
                      <a:pt x="500159" y="312129"/>
                    </a:lnTo>
                    <a:lnTo>
                      <a:pt x="500159" y="308438"/>
                    </a:lnTo>
                    <a:lnTo>
                      <a:pt x="500159" y="282604"/>
                    </a:lnTo>
                    <a:lnTo>
                      <a:pt x="489091" y="275223"/>
                    </a:lnTo>
                    <a:lnTo>
                      <a:pt x="489091" y="267842"/>
                    </a:lnTo>
                    <a:lnTo>
                      <a:pt x="489091" y="264151"/>
                    </a:lnTo>
                    <a:lnTo>
                      <a:pt x="489091" y="260461"/>
                    </a:lnTo>
                    <a:lnTo>
                      <a:pt x="492777" y="256771"/>
                    </a:lnTo>
                    <a:lnTo>
                      <a:pt x="492777" y="249389"/>
                    </a:lnTo>
                    <a:lnTo>
                      <a:pt x="492777" y="245699"/>
                    </a:lnTo>
                    <a:lnTo>
                      <a:pt x="496473" y="234627"/>
                    </a:lnTo>
                    <a:lnTo>
                      <a:pt x="500159" y="234627"/>
                    </a:lnTo>
                    <a:lnTo>
                      <a:pt x="503845" y="230936"/>
                    </a:lnTo>
                    <a:lnTo>
                      <a:pt x="511227" y="230936"/>
                    </a:lnTo>
                    <a:lnTo>
                      <a:pt x="503845" y="227246"/>
                    </a:lnTo>
                    <a:lnTo>
                      <a:pt x="500159" y="223555"/>
                    </a:lnTo>
                    <a:lnTo>
                      <a:pt x="503845" y="219865"/>
                    </a:lnTo>
                    <a:lnTo>
                      <a:pt x="503845" y="216174"/>
                    </a:lnTo>
                    <a:lnTo>
                      <a:pt x="503845" y="201412"/>
                    </a:lnTo>
                    <a:lnTo>
                      <a:pt x="500159" y="190340"/>
                    </a:lnTo>
                    <a:lnTo>
                      <a:pt x="500159" y="186649"/>
                    </a:lnTo>
                    <a:lnTo>
                      <a:pt x="496473" y="186649"/>
                    </a:lnTo>
                    <a:lnTo>
                      <a:pt x="485405" y="182958"/>
                    </a:lnTo>
                    <a:lnTo>
                      <a:pt x="481709" y="182958"/>
                    </a:lnTo>
                    <a:lnTo>
                      <a:pt x="481709" y="179268"/>
                    </a:lnTo>
                    <a:lnTo>
                      <a:pt x="478023" y="179268"/>
                    </a:lnTo>
                    <a:lnTo>
                      <a:pt x="474337" y="179268"/>
                    </a:lnTo>
                    <a:lnTo>
                      <a:pt x="470641" y="179268"/>
                    </a:lnTo>
                    <a:lnTo>
                      <a:pt x="466955" y="179268"/>
                    </a:lnTo>
                    <a:lnTo>
                      <a:pt x="466955" y="175578"/>
                    </a:lnTo>
                    <a:lnTo>
                      <a:pt x="463269" y="175578"/>
                    </a:lnTo>
                    <a:lnTo>
                      <a:pt x="459573" y="175578"/>
                    </a:lnTo>
                    <a:lnTo>
                      <a:pt x="452201" y="175578"/>
                    </a:lnTo>
                    <a:lnTo>
                      <a:pt x="448505" y="171888"/>
                    </a:lnTo>
                    <a:lnTo>
                      <a:pt x="444819" y="171888"/>
                    </a:lnTo>
                    <a:lnTo>
                      <a:pt x="441133" y="168197"/>
                    </a:lnTo>
                    <a:lnTo>
                      <a:pt x="437447" y="164506"/>
                    </a:lnTo>
                    <a:lnTo>
                      <a:pt x="437447" y="160816"/>
                    </a:lnTo>
                    <a:lnTo>
                      <a:pt x="437447" y="153435"/>
                    </a:lnTo>
                    <a:lnTo>
                      <a:pt x="441133" y="149744"/>
                    </a:lnTo>
                    <a:lnTo>
                      <a:pt x="437447" y="142363"/>
                    </a:lnTo>
                    <a:lnTo>
                      <a:pt x="437447" y="138672"/>
                    </a:lnTo>
                    <a:lnTo>
                      <a:pt x="441133" y="138672"/>
                    </a:lnTo>
                    <a:lnTo>
                      <a:pt x="444819" y="131291"/>
                    </a:lnTo>
                    <a:lnTo>
                      <a:pt x="444819" y="127600"/>
                    </a:lnTo>
                    <a:lnTo>
                      <a:pt x="437447" y="131291"/>
                    </a:lnTo>
                    <a:lnTo>
                      <a:pt x="433751" y="134981"/>
                    </a:lnTo>
                    <a:lnTo>
                      <a:pt x="422683" y="134981"/>
                    </a:lnTo>
                    <a:lnTo>
                      <a:pt x="418997" y="134981"/>
                    </a:lnTo>
                    <a:lnTo>
                      <a:pt x="415310" y="134981"/>
                    </a:lnTo>
                    <a:lnTo>
                      <a:pt x="411615" y="134981"/>
                    </a:lnTo>
                    <a:lnTo>
                      <a:pt x="404242" y="131291"/>
                    </a:lnTo>
                    <a:lnTo>
                      <a:pt x="404242" y="127600"/>
                    </a:lnTo>
                    <a:lnTo>
                      <a:pt x="400547" y="127600"/>
                    </a:lnTo>
                    <a:lnTo>
                      <a:pt x="396861" y="127600"/>
                    </a:lnTo>
                    <a:lnTo>
                      <a:pt x="389479" y="123910"/>
                    </a:lnTo>
                    <a:lnTo>
                      <a:pt x="382106" y="120219"/>
                    </a:lnTo>
                    <a:lnTo>
                      <a:pt x="382106" y="123910"/>
                    </a:lnTo>
                    <a:lnTo>
                      <a:pt x="374724" y="120219"/>
                    </a:lnTo>
                    <a:lnTo>
                      <a:pt x="367352" y="116528"/>
                    </a:lnTo>
                    <a:lnTo>
                      <a:pt x="363656" y="116528"/>
                    </a:lnTo>
                    <a:lnTo>
                      <a:pt x="363656" y="112838"/>
                    </a:lnTo>
                    <a:lnTo>
                      <a:pt x="367352" y="112838"/>
                    </a:lnTo>
                    <a:lnTo>
                      <a:pt x="363656" y="109147"/>
                    </a:lnTo>
                    <a:lnTo>
                      <a:pt x="356284" y="101766"/>
                    </a:lnTo>
                    <a:lnTo>
                      <a:pt x="352588" y="101766"/>
                    </a:lnTo>
                    <a:lnTo>
                      <a:pt x="348902" y="98075"/>
                    </a:lnTo>
                    <a:lnTo>
                      <a:pt x="348902" y="94385"/>
                    </a:lnTo>
                    <a:lnTo>
                      <a:pt x="348902" y="87005"/>
                    </a:lnTo>
                    <a:lnTo>
                      <a:pt x="348902" y="79623"/>
                    </a:lnTo>
                    <a:lnTo>
                      <a:pt x="345216" y="75933"/>
                    </a:lnTo>
                    <a:lnTo>
                      <a:pt x="345216" y="72242"/>
                    </a:lnTo>
                    <a:lnTo>
                      <a:pt x="345216" y="68551"/>
                    </a:lnTo>
                    <a:lnTo>
                      <a:pt x="345216" y="61170"/>
                    </a:lnTo>
                    <a:lnTo>
                      <a:pt x="341520" y="53789"/>
                    </a:lnTo>
                    <a:lnTo>
                      <a:pt x="337834" y="53789"/>
                    </a:lnTo>
                    <a:lnTo>
                      <a:pt x="337834" y="42717"/>
                    </a:lnTo>
                    <a:lnTo>
                      <a:pt x="341520" y="31645"/>
                    </a:lnTo>
                    <a:lnTo>
                      <a:pt x="341520" y="27955"/>
                    </a:lnTo>
                    <a:lnTo>
                      <a:pt x="330452" y="16883"/>
                    </a:lnTo>
                    <a:lnTo>
                      <a:pt x="323080" y="13193"/>
                    </a:lnTo>
                    <a:lnTo>
                      <a:pt x="319384" y="20574"/>
                    </a:lnTo>
                    <a:lnTo>
                      <a:pt x="323080" y="24264"/>
                    </a:lnTo>
                    <a:lnTo>
                      <a:pt x="319384" y="24264"/>
                    </a:lnTo>
                    <a:lnTo>
                      <a:pt x="315698" y="24264"/>
                    </a:lnTo>
                    <a:lnTo>
                      <a:pt x="312012" y="24264"/>
                    </a:lnTo>
                    <a:lnTo>
                      <a:pt x="312012" y="20574"/>
                    </a:lnTo>
                    <a:lnTo>
                      <a:pt x="315698" y="24264"/>
                    </a:lnTo>
                    <a:lnTo>
                      <a:pt x="315698" y="20574"/>
                    </a:lnTo>
                    <a:lnTo>
                      <a:pt x="319384" y="13193"/>
                    </a:lnTo>
                    <a:lnTo>
                      <a:pt x="315698" y="13193"/>
                    </a:lnTo>
                    <a:lnTo>
                      <a:pt x="308316" y="9502"/>
                    </a:lnTo>
                    <a:lnTo>
                      <a:pt x="300944" y="16883"/>
                    </a:lnTo>
                    <a:lnTo>
                      <a:pt x="297258" y="13193"/>
                    </a:lnTo>
                    <a:lnTo>
                      <a:pt x="289876" y="9502"/>
                    </a:lnTo>
                    <a:lnTo>
                      <a:pt x="278808" y="9502"/>
                    </a:lnTo>
                    <a:lnTo>
                      <a:pt x="275121" y="5812"/>
                    </a:lnTo>
                    <a:close/>
                    <a:moveTo>
                      <a:pt x="367352" y="112838"/>
                    </a:moveTo>
                    <a:lnTo>
                      <a:pt x="371038" y="116528"/>
                    </a:lnTo>
                    <a:lnTo>
                      <a:pt x="371038" y="112838"/>
                    </a:lnTo>
                    <a:lnTo>
                      <a:pt x="367352" y="112838"/>
                    </a:lnTo>
                    <a:close/>
                    <a:moveTo>
                      <a:pt x="500159" y="186649"/>
                    </a:moveTo>
                    <a:lnTo>
                      <a:pt x="500159" y="179268"/>
                    </a:lnTo>
                    <a:lnTo>
                      <a:pt x="496473" y="182958"/>
                    </a:lnTo>
                    <a:lnTo>
                      <a:pt x="500159" y="186649"/>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grpSp>
            <p:nvGrpSpPr>
              <p:cNvPr id="67" name="Group 66">
                <a:extLst>
                  <a:ext uri="{FF2B5EF4-FFF2-40B4-BE49-F238E27FC236}">
                    <a16:creationId xmlns:a16="http://schemas.microsoft.com/office/drawing/2014/main" id="{335C4620-0A89-4ABD-BDA7-421F2D29FCB6}"/>
                  </a:ext>
                </a:extLst>
              </p:cNvPr>
              <p:cNvGrpSpPr/>
              <p:nvPr/>
            </p:nvGrpSpPr>
            <p:grpSpPr>
              <a:xfrm>
                <a:off x="5261483" y="1196975"/>
                <a:ext cx="1877167" cy="1362209"/>
                <a:chOff x="2763225" y="1070068"/>
                <a:chExt cx="1910612" cy="1386478"/>
              </a:xfrm>
              <a:grpFill/>
            </p:grpSpPr>
            <p:sp>
              <p:nvSpPr>
                <p:cNvPr id="68" name="Freeform: Shape 67">
                  <a:extLst>
                    <a:ext uri="{FF2B5EF4-FFF2-40B4-BE49-F238E27FC236}">
                      <a16:creationId xmlns:a16="http://schemas.microsoft.com/office/drawing/2014/main" id="{139FF31C-055C-4BCF-B7BD-85B40F18FB20}"/>
                    </a:ext>
                  </a:extLst>
                </p:cNvPr>
                <p:cNvSpPr/>
                <p:nvPr/>
              </p:nvSpPr>
              <p:spPr>
                <a:xfrm>
                  <a:off x="3283354" y="1330229"/>
                  <a:ext cx="1212958" cy="1126317"/>
                </a:xfrm>
                <a:custGeom>
                  <a:avLst/>
                  <a:gdLst>
                    <a:gd name="connsiteX0" fmla="*/ 407938 w 533400"/>
                    <a:gd name="connsiteY0" fmla="*/ 5812 h 495300"/>
                    <a:gd name="connsiteX1" fmla="*/ 389488 w 533400"/>
                    <a:gd name="connsiteY1" fmla="*/ 13192 h 495300"/>
                    <a:gd name="connsiteX2" fmla="*/ 385802 w 533400"/>
                    <a:gd name="connsiteY2" fmla="*/ 13192 h 495300"/>
                    <a:gd name="connsiteX3" fmla="*/ 378420 w 533400"/>
                    <a:gd name="connsiteY3" fmla="*/ 9502 h 495300"/>
                    <a:gd name="connsiteX4" fmla="*/ 367352 w 533400"/>
                    <a:gd name="connsiteY4" fmla="*/ 9502 h 495300"/>
                    <a:gd name="connsiteX5" fmla="*/ 367352 w 533400"/>
                    <a:gd name="connsiteY5" fmla="*/ 13192 h 495300"/>
                    <a:gd name="connsiteX6" fmla="*/ 363666 w 533400"/>
                    <a:gd name="connsiteY6" fmla="*/ 13192 h 495300"/>
                    <a:gd name="connsiteX7" fmla="*/ 359970 w 533400"/>
                    <a:gd name="connsiteY7" fmla="*/ 13192 h 495300"/>
                    <a:gd name="connsiteX8" fmla="*/ 356284 w 533400"/>
                    <a:gd name="connsiteY8" fmla="*/ 9502 h 495300"/>
                    <a:gd name="connsiteX9" fmla="*/ 341530 w 533400"/>
                    <a:gd name="connsiteY9" fmla="*/ 13192 h 495300"/>
                    <a:gd name="connsiteX10" fmla="*/ 334148 w 533400"/>
                    <a:gd name="connsiteY10" fmla="*/ 13192 h 495300"/>
                    <a:gd name="connsiteX11" fmla="*/ 330462 w 533400"/>
                    <a:gd name="connsiteY11" fmla="*/ 13192 h 495300"/>
                    <a:gd name="connsiteX12" fmla="*/ 326775 w 533400"/>
                    <a:gd name="connsiteY12" fmla="*/ 16883 h 495300"/>
                    <a:gd name="connsiteX13" fmla="*/ 312012 w 533400"/>
                    <a:gd name="connsiteY13" fmla="*/ 20573 h 495300"/>
                    <a:gd name="connsiteX14" fmla="*/ 308326 w 533400"/>
                    <a:gd name="connsiteY14" fmla="*/ 20573 h 495300"/>
                    <a:gd name="connsiteX15" fmla="*/ 304639 w 533400"/>
                    <a:gd name="connsiteY15" fmla="*/ 20573 h 495300"/>
                    <a:gd name="connsiteX16" fmla="*/ 289876 w 533400"/>
                    <a:gd name="connsiteY16" fmla="*/ 27955 h 495300"/>
                    <a:gd name="connsiteX17" fmla="*/ 282503 w 533400"/>
                    <a:gd name="connsiteY17" fmla="*/ 27955 h 495300"/>
                    <a:gd name="connsiteX18" fmla="*/ 278808 w 533400"/>
                    <a:gd name="connsiteY18" fmla="*/ 27955 h 495300"/>
                    <a:gd name="connsiteX19" fmla="*/ 275121 w 533400"/>
                    <a:gd name="connsiteY19" fmla="*/ 27955 h 495300"/>
                    <a:gd name="connsiteX20" fmla="*/ 271435 w 533400"/>
                    <a:gd name="connsiteY20" fmla="*/ 27955 h 495300"/>
                    <a:gd name="connsiteX21" fmla="*/ 271435 w 533400"/>
                    <a:gd name="connsiteY21" fmla="*/ 24264 h 495300"/>
                    <a:gd name="connsiteX22" fmla="*/ 267749 w 533400"/>
                    <a:gd name="connsiteY22" fmla="*/ 20573 h 495300"/>
                    <a:gd name="connsiteX23" fmla="*/ 267749 w 533400"/>
                    <a:gd name="connsiteY23" fmla="*/ 27955 h 495300"/>
                    <a:gd name="connsiteX24" fmla="*/ 260367 w 533400"/>
                    <a:gd name="connsiteY24" fmla="*/ 31645 h 495300"/>
                    <a:gd name="connsiteX25" fmla="*/ 252985 w 533400"/>
                    <a:gd name="connsiteY25" fmla="*/ 35336 h 495300"/>
                    <a:gd name="connsiteX26" fmla="*/ 249299 w 533400"/>
                    <a:gd name="connsiteY26" fmla="*/ 39027 h 495300"/>
                    <a:gd name="connsiteX27" fmla="*/ 241917 w 533400"/>
                    <a:gd name="connsiteY27" fmla="*/ 42717 h 495300"/>
                    <a:gd name="connsiteX28" fmla="*/ 238231 w 533400"/>
                    <a:gd name="connsiteY28" fmla="*/ 46408 h 495300"/>
                    <a:gd name="connsiteX29" fmla="*/ 230849 w 533400"/>
                    <a:gd name="connsiteY29" fmla="*/ 50098 h 495300"/>
                    <a:gd name="connsiteX30" fmla="*/ 223477 w 533400"/>
                    <a:gd name="connsiteY30" fmla="*/ 50098 h 495300"/>
                    <a:gd name="connsiteX31" fmla="*/ 212409 w 533400"/>
                    <a:gd name="connsiteY31" fmla="*/ 57480 h 495300"/>
                    <a:gd name="connsiteX32" fmla="*/ 197655 w 533400"/>
                    <a:gd name="connsiteY32" fmla="*/ 64861 h 495300"/>
                    <a:gd name="connsiteX33" fmla="*/ 190273 w 533400"/>
                    <a:gd name="connsiteY33" fmla="*/ 68551 h 495300"/>
                    <a:gd name="connsiteX34" fmla="*/ 171823 w 533400"/>
                    <a:gd name="connsiteY34" fmla="*/ 79623 h 495300"/>
                    <a:gd name="connsiteX35" fmla="*/ 160755 w 533400"/>
                    <a:gd name="connsiteY35" fmla="*/ 79623 h 495300"/>
                    <a:gd name="connsiteX36" fmla="*/ 157069 w 533400"/>
                    <a:gd name="connsiteY36" fmla="*/ 83314 h 495300"/>
                    <a:gd name="connsiteX37" fmla="*/ 149687 w 533400"/>
                    <a:gd name="connsiteY37" fmla="*/ 87004 h 495300"/>
                    <a:gd name="connsiteX38" fmla="*/ 146000 w 533400"/>
                    <a:gd name="connsiteY38" fmla="*/ 87004 h 495300"/>
                    <a:gd name="connsiteX39" fmla="*/ 142314 w 533400"/>
                    <a:gd name="connsiteY39" fmla="*/ 90695 h 495300"/>
                    <a:gd name="connsiteX40" fmla="*/ 134932 w 533400"/>
                    <a:gd name="connsiteY40" fmla="*/ 94385 h 495300"/>
                    <a:gd name="connsiteX41" fmla="*/ 127560 w 533400"/>
                    <a:gd name="connsiteY41" fmla="*/ 98075 h 495300"/>
                    <a:gd name="connsiteX42" fmla="*/ 123864 w 533400"/>
                    <a:gd name="connsiteY42" fmla="*/ 101766 h 495300"/>
                    <a:gd name="connsiteX43" fmla="*/ 116492 w 533400"/>
                    <a:gd name="connsiteY43" fmla="*/ 109147 h 495300"/>
                    <a:gd name="connsiteX44" fmla="*/ 112796 w 533400"/>
                    <a:gd name="connsiteY44" fmla="*/ 116528 h 495300"/>
                    <a:gd name="connsiteX45" fmla="*/ 109110 w 533400"/>
                    <a:gd name="connsiteY45" fmla="*/ 120219 h 495300"/>
                    <a:gd name="connsiteX46" fmla="*/ 109110 w 533400"/>
                    <a:gd name="connsiteY46" fmla="*/ 123910 h 495300"/>
                    <a:gd name="connsiteX47" fmla="*/ 105424 w 533400"/>
                    <a:gd name="connsiteY47" fmla="*/ 123910 h 495300"/>
                    <a:gd name="connsiteX48" fmla="*/ 105424 w 533400"/>
                    <a:gd name="connsiteY48" fmla="*/ 127600 h 495300"/>
                    <a:gd name="connsiteX49" fmla="*/ 98042 w 533400"/>
                    <a:gd name="connsiteY49" fmla="*/ 131291 h 495300"/>
                    <a:gd name="connsiteX50" fmla="*/ 94356 w 533400"/>
                    <a:gd name="connsiteY50" fmla="*/ 134981 h 495300"/>
                    <a:gd name="connsiteX51" fmla="*/ 90660 w 533400"/>
                    <a:gd name="connsiteY51" fmla="*/ 134981 h 495300"/>
                    <a:gd name="connsiteX52" fmla="*/ 83288 w 533400"/>
                    <a:gd name="connsiteY52" fmla="*/ 142363 h 495300"/>
                    <a:gd name="connsiteX53" fmla="*/ 79592 w 533400"/>
                    <a:gd name="connsiteY53" fmla="*/ 146053 h 495300"/>
                    <a:gd name="connsiteX54" fmla="*/ 75906 w 533400"/>
                    <a:gd name="connsiteY54" fmla="*/ 146053 h 495300"/>
                    <a:gd name="connsiteX55" fmla="*/ 72220 w 533400"/>
                    <a:gd name="connsiteY55" fmla="*/ 149744 h 495300"/>
                    <a:gd name="connsiteX56" fmla="*/ 68524 w 533400"/>
                    <a:gd name="connsiteY56" fmla="*/ 157125 h 495300"/>
                    <a:gd name="connsiteX57" fmla="*/ 64838 w 533400"/>
                    <a:gd name="connsiteY57" fmla="*/ 157125 h 495300"/>
                    <a:gd name="connsiteX58" fmla="*/ 61152 w 533400"/>
                    <a:gd name="connsiteY58" fmla="*/ 160816 h 495300"/>
                    <a:gd name="connsiteX59" fmla="*/ 57466 w 533400"/>
                    <a:gd name="connsiteY59" fmla="*/ 168197 h 495300"/>
                    <a:gd name="connsiteX60" fmla="*/ 53770 w 533400"/>
                    <a:gd name="connsiteY60" fmla="*/ 179268 h 495300"/>
                    <a:gd name="connsiteX61" fmla="*/ 50084 w 533400"/>
                    <a:gd name="connsiteY61" fmla="*/ 182958 h 495300"/>
                    <a:gd name="connsiteX62" fmla="*/ 50084 w 533400"/>
                    <a:gd name="connsiteY62" fmla="*/ 186649 h 495300"/>
                    <a:gd name="connsiteX63" fmla="*/ 53770 w 533400"/>
                    <a:gd name="connsiteY63" fmla="*/ 186649 h 495300"/>
                    <a:gd name="connsiteX64" fmla="*/ 50084 w 533400"/>
                    <a:gd name="connsiteY64" fmla="*/ 190340 h 495300"/>
                    <a:gd name="connsiteX65" fmla="*/ 46398 w 533400"/>
                    <a:gd name="connsiteY65" fmla="*/ 194030 h 495300"/>
                    <a:gd name="connsiteX66" fmla="*/ 42702 w 533400"/>
                    <a:gd name="connsiteY66" fmla="*/ 197721 h 495300"/>
                    <a:gd name="connsiteX67" fmla="*/ 42702 w 533400"/>
                    <a:gd name="connsiteY67" fmla="*/ 201411 h 495300"/>
                    <a:gd name="connsiteX68" fmla="*/ 46398 w 533400"/>
                    <a:gd name="connsiteY68" fmla="*/ 201411 h 495300"/>
                    <a:gd name="connsiteX69" fmla="*/ 46398 w 533400"/>
                    <a:gd name="connsiteY69" fmla="*/ 208793 h 495300"/>
                    <a:gd name="connsiteX70" fmla="*/ 42702 w 533400"/>
                    <a:gd name="connsiteY70" fmla="*/ 216174 h 495300"/>
                    <a:gd name="connsiteX71" fmla="*/ 42702 w 533400"/>
                    <a:gd name="connsiteY71" fmla="*/ 227246 h 495300"/>
                    <a:gd name="connsiteX72" fmla="*/ 42702 w 533400"/>
                    <a:gd name="connsiteY72" fmla="*/ 234627 h 495300"/>
                    <a:gd name="connsiteX73" fmla="*/ 42702 w 533400"/>
                    <a:gd name="connsiteY73" fmla="*/ 238318 h 495300"/>
                    <a:gd name="connsiteX74" fmla="*/ 39016 w 533400"/>
                    <a:gd name="connsiteY74" fmla="*/ 242008 h 495300"/>
                    <a:gd name="connsiteX75" fmla="*/ 39016 w 533400"/>
                    <a:gd name="connsiteY75" fmla="*/ 245699 h 495300"/>
                    <a:gd name="connsiteX76" fmla="*/ 31634 w 533400"/>
                    <a:gd name="connsiteY76" fmla="*/ 249389 h 495300"/>
                    <a:gd name="connsiteX77" fmla="*/ 27948 w 533400"/>
                    <a:gd name="connsiteY77" fmla="*/ 249389 h 495300"/>
                    <a:gd name="connsiteX78" fmla="*/ 31634 w 533400"/>
                    <a:gd name="connsiteY78" fmla="*/ 253080 h 495300"/>
                    <a:gd name="connsiteX79" fmla="*/ 27948 w 533400"/>
                    <a:gd name="connsiteY79" fmla="*/ 256771 h 495300"/>
                    <a:gd name="connsiteX80" fmla="*/ 27948 w 533400"/>
                    <a:gd name="connsiteY80" fmla="*/ 260461 h 495300"/>
                    <a:gd name="connsiteX81" fmla="*/ 24261 w 533400"/>
                    <a:gd name="connsiteY81" fmla="*/ 264151 h 495300"/>
                    <a:gd name="connsiteX82" fmla="*/ 27948 w 533400"/>
                    <a:gd name="connsiteY82" fmla="*/ 264151 h 495300"/>
                    <a:gd name="connsiteX83" fmla="*/ 31634 w 533400"/>
                    <a:gd name="connsiteY83" fmla="*/ 267841 h 495300"/>
                    <a:gd name="connsiteX84" fmla="*/ 35330 w 533400"/>
                    <a:gd name="connsiteY84" fmla="*/ 275223 h 495300"/>
                    <a:gd name="connsiteX85" fmla="*/ 35330 w 533400"/>
                    <a:gd name="connsiteY85" fmla="*/ 278913 h 495300"/>
                    <a:gd name="connsiteX86" fmla="*/ 35330 w 533400"/>
                    <a:gd name="connsiteY86" fmla="*/ 282604 h 495300"/>
                    <a:gd name="connsiteX87" fmla="*/ 35330 w 533400"/>
                    <a:gd name="connsiteY87" fmla="*/ 286295 h 495300"/>
                    <a:gd name="connsiteX88" fmla="*/ 39016 w 533400"/>
                    <a:gd name="connsiteY88" fmla="*/ 293676 h 495300"/>
                    <a:gd name="connsiteX89" fmla="*/ 35330 w 533400"/>
                    <a:gd name="connsiteY89" fmla="*/ 293676 h 495300"/>
                    <a:gd name="connsiteX90" fmla="*/ 39016 w 533400"/>
                    <a:gd name="connsiteY90" fmla="*/ 297366 h 495300"/>
                    <a:gd name="connsiteX91" fmla="*/ 35330 w 533400"/>
                    <a:gd name="connsiteY91" fmla="*/ 297366 h 495300"/>
                    <a:gd name="connsiteX92" fmla="*/ 35330 w 533400"/>
                    <a:gd name="connsiteY92" fmla="*/ 293676 h 495300"/>
                    <a:gd name="connsiteX93" fmla="*/ 27948 w 533400"/>
                    <a:gd name="connsiteY93" fmla="*/ 293676 h 495300"/>
                    <a:gd name="connsiteX94" fmla="*/ 27948 w 533400"/>
                    <a:gd name="connsiteY94" fmla="*/ 297366 h 495300"/>
                    <a:gd name="connsiteX95" fmla="*/ 27948 w 533400"/>
                    <a:gd name="connsiteY95" fmla="*/ 301057 h 495300"/>
                    <a:gd name="connsiteX96" fmla="*/ 31634 w 533400"/>
                    <a:gd name="connsiteY96" fmla="*/ 301057 h 495300"/>
                    <a:gd name="connsiteX97" fmla="*/ 35330 w 533400"/>
                    <a:gd name="connsiteY97" fmla="*/ 301057 h 495300"/>
                    <a:gd name="connsiteX98" fmla="*/ 35330 w 533400"/>
                    <a:gd name="connsiteY98" fmla="*/ 308438 h 495300"/>
                    <a:gd name="connsiteX99" fmla="*/ 35330 w 533400"/>
                    <a:gd name="connsiteY99" fmla="*/ 312129 h 495300"/>
                    <a:gd name="connsiteX100" fmla="*/ 39016 w 533400"/>
                    <a:gd name="connsiteY100" fmla="*/ 308438 h 495300"/>
                    <a:gd name="connsiteX101" fmla="*/ 39016 w 533400"/>
                    <a:gd name="connsiteY101" fmla="*/ 312129 h 495300"/>
                    <a:gd name="connsiteX102" fmla="*/ 35330 w 533400"/>
                    <a:gd name="connsiteY102" fmla="*/ 312129 h 495300"/>
                    <a:gd name="connsiteX103" fmla="*/ 35330 w 533400"/>
                    <a:gd name="connsiteY103" fmla="*/ 315819 h 495300"/>
                    <a:gd name="connsiteX104" fmla="*/ 39016 w 533400"/>
                    <a:gd name="connsiteY104" fmla="*/ 315819 h 495300"/>
                    <a:gd name="connsiteX105" fmla="*/ 42702 w 533400"/>
                    <a:gd name="connsiteY105" fmla="*/ 319510 h 495300"/>
                    <a:gd name="connsiteX106" fmla="*/ 42702 w 533400"/>
                    <a:gd name="connsiteY106" fmla="*/ 323201 h 495300"/>
                    <a:gd name="connsiteX107" fmla="*/ 42702 w 533400"/>
                    <a:gd name="connsiteY107" fmla="*/ 326891 h 495300"/>
                    <a:gd name="connsiteX108" fmla="*/ 42702 w 533400"/>
                    <a:gd name="connsiteY108" fmla="*/ 330582 h 495300"/>
                    <a:gd name="connsiteX109" fmla="*/ 39016 w 533400"/>
                    <a:gd name="connsiteY109" fmla="*/ 334272 h 495300"/>
                    <a:gd name="connsiteX110" fmla="*/ 39016 w 533400"/>
                    <a:gd name="connsiteY110" fmla="*/ 341654 h 495300"/>
                    <a:gd name="connsiteX111" fmla="*/ 42702 w 533400"/>
                    <a:gd name="connsiteY111" fmla="*/ 352725 h 495300"/>
                    <a:gd name="connsiteX112" fmla="*/ 42702 w 533400"/>
                    <a:gd name="connsiteY112" fmla="*/ 360106 h 495300"/>
                    <a:gd name="connsiteX113" fmla="*/ 46398 w 533400"/>
                    <a:gd name="connsiteY113" fmla="*/ 363796 h 495300"/>
                    <a:gd name="connsiteX114" fmla="*/ 46398 w 533400"/>
                    <a:gd name="connsiteY114" fmla="*/ 365065 h 495300"/>
                    <a:gd name="connsiteX115" fmla="*/ 53770 w 533400"/>
                    <a:gd name="connsiteY115" fmla="*/ 360106 h 495300"/>
                    <a:gd name="connsiteX116" fmla="*/ 46398 w 533400"/>
                    <a:gd name="connsiteY116" fmla="*/ 367487 h 495300"/>
                    <a:gd name="connsiteX117" fmla="*/ 46398 w 533400"/>
                    <a:gd name="connsiteY117" fmla="*/ 365065 h 495300"/>
                    <a:gd name="connsiteX118" fmla="*/ 42702 w 533400"/>
                    <a:gd name="connsiteY118" fmla="*/ 367487 h 495300"/>
                    <a:gd name="connsiteX119" fmla="*/ 42702 w 533400"/>
                    <a:gd name="connsiteY119" fmla="*/ 371178 h 495300"/>
                    <a:gd name="connsiteX120" fmla="*/ 42702 w 533400"/>
                    <a:gd name="connsiteY120" fmla="*/ 378559 h 495300"/>
                    <a:gd name="connsiteX121" fmla="*/ 39016 w 533400"/>
                    <a:gd name="connsiteY121" fmla="*/ 378559 h 495300"/>
                    <a:gd name="connsiteX122" fmla="*/ 35330 w 533400"/>
                    <a:gd name="connsiteY122" fmla="*/ 382249 h 495300"/>
                    <a:gd name="connsiteX123" fmla="*/ 39016 w 533400"/>
                    <a:gd name="connsiteY123" fmla="*/ 385940 h 495300"/>
                    <a:gd name="connsiteX124" fmla="*/ 42702 w 533400"/>
                    <a:gd name="connsiteY124" fmla="*/ 393321 h 495300"/>
                    <a:gd name="connsiteX125" fmla="*/ 42702 w 533400"/>
                    <a:gd name="connsiteY125" fmla="*/ 397012 h 495300"/>
                    <a:gd name="connsiteX126" fmla="*/ 42702 w 533400"/>
                    <a:gd name="connsiteY126" fmla="*/ 404393 h 495300"/>
                    <a:gd name="connsiteX127" fmla="*/ 42702 w 533400"/>
                    <a:gd name="connsiteY127" fmla="*/ 408084 h 495300"/>
                    <a:gd name="connsiteX128" fmla="*/ 39016 w 533400"/>
                    <a:gd name="connsiteY128" fmla="*/ 411774 h 495300"/>
                    <a:gd name="connsiteX129" fmla="*/ 35330 w 533400"/>
                    <a:gd name="connsiteY129" fmla="*/ 411774 h 495300"/>
                    <a:gd name="connsiteX130" fmla="*/ 31634 w 533400"/>
                    <a:gd name="connsiteY130" fmla="*/ 411774 h 495300"/>
                    <a:gd name="connsiteX131" fmla="*/ 24261 w 533400"/>
                    <a:gd name="connsiteY131" fmla="*/ 419156 h 495300"/>
                    <a:gd name="connsiteX132" fmla="*/ 20566 w 533400"/>
                    <a:gd name="connsiteY132" fmla="*/ 422846 h 495300"/>
                    <a:gd name="connsiteX133" fmla="*/ 16880 w 533400"/>
                    <a:gd name="connsiteY133" fmla="*/ 426537 h 495300"/>
                    <a:gd name="connsiteX134" fmla="*/ 20566 w 533400"/>
                    <a:gd name="connsiteY134" fmla="*/ 430227 h 495300"/>
                    <a:gd name="connsiteX135" fmla="*/ 20566 w 533400"/>
                    <a:gd name="connsiteY135" fmla="*/ 433917 h 495300"/>
                    <a:gd name="connsiteX136" fmla="*/ 20566 w 533400"/>
                    <a:gd name="connsiteY136" fmla="*/ 437608 h 495300"/>
                    <a:gd name="connsiteX137" fmla="*/ 27948 w 533400"/>
                    <a:gd name="connsiteY137" fmla="*/ 437608 h 495300"/>
                    <a:gd name="connsiteX138" fmla="*/ 27948 w 533400"/>
                    <a:gd name="connsiteY138" fmla="*/ 441298 h 495300"/>
                    <a:gd name="connsiteX139" fmla="*/ 31634 w 533400"/>
                    <a:gd name="connsiteY139" fmla="*/ 441298 h 495300"/>
                    <a:gd name="connsiteX140" fmla="*/ 39016 w 533400"/>
                    <a:gd name="connsiteY140" fmla="*/ 448679 h 495300"/>
                    <a:gd name="connsiteX141" fmla="*/ 46398 w 533400"/>
                    <a:gd name="connsiteY141" fmla="*/ 456061 h 495300"/>
                    <a:gd name="connsiteX142" fmla="*/ 50084 w 533400"/>
                    <a:gd name="connsiteY142" fmla="*/ 456061 h 495300"/>
                    <a:gd name="connsiteX143" fmla="*/ 53770 w 533400"/>
                    <a:gd name="connsiteY143" fmla="*/ 456061 h 495300"/>
                    <a:gd name="connsiteX144" fmla="*/ 57466 w 533400"/>
                    <a:gd name="connsiteY144" fmla="*/ 456061 h 495300"/>
                    <a:gd name="connsiteX145" fmla="*/ 64838 w 533400"/>
                    <a:gd name="connsiteY145" fmla="*/ 456061 h 495300"/>
                    <a:gd name="connsiteX146" fmla="*/ 64838 w 533400"/>
                    <a:gd name="connsiteY146" fmla="*/ 452370 h 495300"/>
                    <a:gd name="connsiteX147" fmla="*/ 75906 w 533400"/>
                    <a:gd name="connsiteY147" fmla="*/ 456061 h 495300"/>
                    <a:gd name="connsiteX148" fmla="*/ 83288 w 533400"/>
                    <a:gd name="connsiteY148" fmla="*/ 456061 h 495300"/>
                    <a:gd name="connsiteX149" fmla="*/ 86974 w 533400"/>
                    <a:gd name="connsiteY149" fmla="*/ 459751 h 495300"/>
                    <a:gd name="connsiteX150" fmla="*/ 101728 w 533400"/>
                    <a:gd name="connsiteY150" fmla="*/ 467133 h 495300"/>
                    <a:gd name="connsiteX151" fmla="*/ 109110 w 533400"/>
                    <a:gd name="connsiteY151" fmla="*/ 467133 h 495300"/>
                    <a:gd name="connsiteX152" fmla="*/ 109110 w 533400"/>
                    <a:gd name="connsiteY152" fmla="*/ 470823 h 495300"/>
                    <a:gd name="connsiteX153" fmla="*/ 116492 w 533400"/>
                    <a:gd name="connsiteY153" fmla="*/ 470823 h 495300"/>
                    <a:gd name="connsiteX154" fmla="*/ 120178 w 533400"/>
                    <a:gd name="connsiteY154" fmla="*/ 467133 h 495300"/>
                    <a:gd name="connsiteX155" fmla="*/ 123864 w 533400"/>
                    <a:gd name="connsiteY155" fmla="*/ 467133 h 495300"/>
                    <a:gd name="connsiteX156" fmla="*/ 123864 w 533400"/>
                    <a:gd name="connsiteY156" fmla="*/ 463442 h 495300"/>
                    <a:gd name="connsiteX157" fmla="*/ 127560 w 533400"/>
                    <a:gd name="connsiteY157" fmla="*/ 459751 h 495300"/>
                    <a:gd name="connsiteX158" fmla="*/ 127560 w 533400"/>
                    <a:gd name="connsiteY158" fmla="*/ 456061 h 495300"/>
                    <a:gd name="connsiteX159" fmla="*/ 134932 w 533400"/>
                    <a:gd name="connsiteY159" fmla="*/ 452370 h 495300"/>
                    <a:gd name="connsiteX160" fmla="*/ 142314 w 533400"/>
                    <a:gd name="connsiteY160" fmla="*/ 456061 h 495300"/>
                    <a:gd name="connsiteX161" fmla="*/ 146000 w 533400"/>
                    <a:gd name="connsiteY161" fmla="*/ 452370 h 495300"/>
                    <a:gd name="connsiteX162" fmla="*/ 153382 w 533400"/>
                    <a:gd name="connsiteY162" fmla="*/ 448679 h 495300"/>
                    <a:gd name="connsiteX163" fmla="*/ 157069 w 533400"/>
                    <a:gd name="connsiteY163" fmla="*/ 448679 h 495300"/>
                    <a:gd name="connsiteX164" fmla="*/ 160755 w 533400"/>
                    <a:gd name="connsiteY164" fmla="*/ 452370 h 495300"/>
                    <a:gd name="connsiteX165" fmla="*/ 160755 w 533400"/>
                    <a:gd name="connsiteY165" fmla="*/ 459751 h 495300"/>
                    <a:gd name="connsiteX166" fmla="*/ 164450 w 533400"/>
                    <a:gd name="connsiteY166" fmla="*/ 459751 h 495300"/>
                    <a:gd name="connsiteX167" fmla="*/ 168137 w 533400"/>
                    <a:gd name="connsiteY167" fmla="*/ 459751 h 495300"/>
                    <a:gd name="connsiteX168" fmla="*/ 175518 w 533400"/>
                    <a:gd name="connsiteY168" fmla="*/ 459751 h 495300"/>
                    <a:gd name="connsiteX169" fmla="*/ 179205 w 533400"/>
                    <a:gd name="connsiteY169" fmla="*/ 459751 h 495300"/>
                    <a:gd name="connsiteX170" fmla="*/ 182891 w 533400"/>
                    <a:gd name="connsiteY170" fmla="*/ 459751 h 495300"/>
                    <a:gd name="connsiteX171" fmla="*/ 182891 w 533400"/>
                    <a:gd name="connsiteY171" fmla="*/ 463442 h 495300"/>
                    <a:gd name="connsiteX172" fmla="*/ 186587 w 533400"/>
                    <a:gd name="connsiteY172" fmla="*/ 463442 h 495300"/>
                    <a:gd name="connsiteX173" fmla="*/ 190273 w 533400"/>
                    <a:gd name="connsiteY173" fmla="*/ 459751 h 495300"/>
                    <a:gd name="connsiteX174" fmla="*/ 190273 w 533400"/>
                    <a:gd name="connsiteY174" fmla="*/ 463442 h 495300"/>
                    <a:gd name="connsiteX175" fmla="*/ 197655 w 533400"/>
                    <a:gd name="connsiteY175" fmla="*/ 467133 h 495300"/>
                    <a:gd name="connsiteX176" fmla="*/ 193959 w 533400"/>
                    <a:gd name="connsiteY176" fmla="*/ 459751 h 495300"/>
                    <a:gd name="connsiteX177" fmla="*/ 205027 w 533400"/>
                    <a:gd name="connsiteY177" fmla="*/ 463442 h 495300"/>
                    <a:gd name="connsiteX178" fmla="*/ 208713 w 533400"/>
                    <a:gd name="connsiteY178" fmla="*/ 463442 h 495300"/>
                    <a:gd name="connsiteX179" fmla="*/ 223477 w 533400"/>
                    <a:gd name="connsiteY179" fmla="*/ 481895 h 495300"/>
                    <a:gd name="connsiteX180" fmla="*/ 227163 w 533400"/>
                    <a:gd name="connsiteY180" fmla="*/ 489276 h 495300"/>
                    <a:gd name="connsiteX181" fmla="*/ 227163 w 533400"/>
                    <a:gd name="connsiteY181" fmla="*/ 492967 h 495300"/>
                    <a:gd name="connsiteX182" fmla="*/ 230849 w 533400"/>
                    <a:gd name="connsiteY182" fmla="*/ 489276 h 495300"/>
                    <a:gd name="connsiteX183" fmla="*/ 238231 w 533400"/>
                    <a:gd name="connsiteY183" fmla="*/ 481895 h 495300"/>
                    <a:gd name="connsiteX184" fmla="*/ 241917 w 533400"/>
                    <a:gd name="connsiteY184" fmla="*/ 481895 h 495300"/>
                    <a:gd name="connsiteX185" fmla="*/ 241917 w 533400"/>
                    <a:gd name="connsiteY185" fmla="*/ 485586 h 495300"/>
                    <a:gd name="connsiteX186" fmla="*/ 245613 w 533400"/>
                    <a:gd name="connsiteY186" fmla="*/ 485586 h 495300"/>
                    <a:gd name="connsiteX187" fmla="*/ 249299 w 533400"/>
                    <a:gd name="connsiteY187" fmla="*/ 485586 h 495300"/>
                    <a:gd name="connsiteX188" fmla="*/ 249299 w 533400"/>
                    <a:gd name="connsiteY188" fmla="*/ 489276 h 495300"/>
                    <a:gd name="connsiteX189" fmla="*/ 252985 w 533400"/>
                    <a:gd name="connsiteY189" fmla="*/ 489276 h 495300"/>
                    <a:gd name="connsiteX190" fmla="*/ 256681 w 533400"/>
                    <a:gd name="connsiteY190" fmla="*/ 489276 h 495300"/>
                    <a:gd name="connsiteX191" fmla="*/ 260367 w 533400"/>
                    <a:gd name="connsiteY191" fmla="*/ 492967 h 495300"/>
                    <a:gd name="connsiteX192" fmla="*/ 264053 w 533400"/>
                    <a:gd name="connsiteY192" fmla="*/ 492967 h 495300"/>
                    <a:gd name="connsiteX193" fmla="*/ 267749 w 533400"/>
                    <a:gd name="connsiteY193" fmla="*/ 492967 h 495300"/>
                    <a:gd name="connsiteX194" fmla="*/ 271435 w 533400"/>
                    <a:gd name="connsiteY194" fmla="*/ 492967 h 495300"/>
                    <a:gd name="connsiteX195" fmla="*/ 275121 w 533400"/>
                    <a:gd name="connsiteY195" fmla="*/ 489276 h 495300"/>
                    <a:gd name="connsiteX196" fmla="*/ 278808 w 533400"/>
                    <a:gd name="connsiteY196" fmla="*/ 489276 h 495300"/>
                    <a:gd name="connsiteX197" fmla="*/ 278808 w 533400"/>
                    <a:gd name="connsiteY197" fmla="*/ 485586 h 495300"/>
                    <a:gd name="connsiteX198" fmla="*/ 282503 w 533400"/>
                    <a:gd name="connsiteY198" fmla="*/ 485586 h 495300"/>
                    <a:gd name="connsiteX199" fmla="*/ 286189 w 533400"/>
                    <a:gd name="connsiteY199" fmla="*/ 481895 h 495300"/>
                    <a:gd name="connsiteX200" fmla="*/ 286189 w 533400"/>
                    <a:gd name="connsiteY200" fmla="*/ 478204 h 495300"/>
                    <a:gd name="connsiteX201" fmla="*/ 289876 w 533400"/>
                    <a:gd name="connsiteY201" fmla="*/ 474514 h 495300"/>
                    <a:gd name="connsiteX202" fmla="*/ 289876 w 533400"/>
                    <a:gd name="connsiteY202" fmla="*/ 470823 h 495300"/>
                    <a:gd name="connsiteX203" fmla="*/ 293571 w 533400"/>
                    <a:gd name="connsiteY203" fmla="*/ 467133 h 495300"/>
                    <a:gd name="connsiteX204" fmla="*/ 300944 w 533400"/>
                    <a:gd name="connsiteY204" fmla="*/ 467133 h 495300"/>
                    <a:gd name="connsiteX205" fmla="*/ 300944 w 533400"/>
                    <a:gd name="connsiteY205" fmla="*/ 463442 h 495300"/>
                    <a:gd name="connsiteX206" fmla="*/ 308326 w 533400"/>
                    <a:gd name="connsiteY206" fmla="*/ 467133 h 495300"/>
                    <a:gd name="connsiteX207" fmla="*/ 308326 w 533400"/>
                    <a:gd name="connsiteY207" fmla="*/ 463442 h 495300"/>
                    <a:gd name="connsiteX208" fmla="*/ 315707 w 533400"/>
                    <a:gd name="connsiteY208" fmla="*/ 459751 h 495300"/>
                    <a:gd name="connsiteX209" fmla="*/ 315707 w 533400"/>
                    <a:gd name="connsiteY209" fmla="*/ 467133 h 495300"/>
                    <a:gd name="connsiteX210" fmla="*/ 319394 w 533400"/>
                    <a:gd name="connsiteY210" fmla="*/ 474514 h 495300"/>
                    <a:gd name="connsiteX211" fmla="*/ 323080 w 533400"/>
                    <a:gd name="connsiteY211" fmla="*/ 478204 h 495300"/>
                    <a:gd name="connsiteX212" fmla="*/ 326775 w 533400"/>
                    <a:gd name="connsiteY212" fmla="*/ 478204 h 495300"/>
                    <a:gd name="connsiteX213" fmla="*/ 326775 w 533400"/>
                    <a:gd name="connsiteY213" fmla="*/ 481895 h 495300"/>
                    <a:gd name="connsiteX214" fmla="*/ 330462 w 533400"/>
                    <a:gd name="connsiteY214" fmla="*/ 478204 h 495300"/>
                    <a:gd name="connsiteX215" fmla="*/ 341530 w 533400"/>
                    <a:gd name="connsiteY215" fmla="*/ 474514 h 495300"/>
                    <a:gd name="connsiteX216" fmla="*/ 341530 w 533400"/>
                    <a:gd name="connsiteY216" fmla="*/ 481895 h 495300"/>
                    <a:gd name="connsiteX217" fmla="*/ 348912 w 533400"/>
                    <a:gd name="connsiteY217" fmla="*/ 478204 h 495300"/>
                    <a:gd name="connsiteX218" fmla="*/ 352598 w 533400"/>
                    <a:gd name="connsiteY218" fmla="*/ 474514 h 495300"/>
                    <a:gd name="connsiteX219" fmla="*/ 356284 w 533400"/>
                    <a:gd name="connsiteY219" fmla="*/ 474514 h 495300"/>
                    <a:gd name="connsiteX220" fmla="*/ 356284 w 533400"/>
                    <a:gd name="connsiteY220" fmla="*/ 470823 h 495300"/>
                    <a:gd name="connsiteX221" fmla="*/ 352598 w 533400"/>
                    <a:gd name="connsiteY221" fmla="*/ 463442 h 495300"/>
                    <a:gd name="connsiteX222" fmla="*/ 356284 w 533400"/>
                    <a:gd name="connsiteY222" fmla="*/ 463442 h 495300"/>
                    <a:gd name="connsiteX223" fmla="*/ 367352 w 533400"/>
                    <a:gd name="connsiteY223" fmla="*/ 463442 h 495300"/>
                    <a:gd name="connsiteX224" fmla="*/ 371038 w 533400"/>
                    <a:gd name="connsiteY224" fmla="*/ 459751 h 495300"/>
                    <a:gd name="connsiteX225" fmla="*/ 374734 w 533400"/>
                    <a:gd name="connsiteY225" fmla="*/ 456061 h 495300"/>
                    <a:gd name="connsiteX226" fmla="*/ 385802 w 533400"/>
                    <a:gd name="connsiteY226" fmla="*/ 448679 h 495300"/>
                    <a:gd name="connsiteX227" fmla="*/ 396870 w 533400"/>
                    <a:gd name="connsiteY227" fmla="*/ 441298 h 495300"/>
                    <a:gd name="connsiteX228" fmla="*/ 404242 w 533400"/>
                    <a:gd name="connsiteY228" fmla="*/ 433917 h 495300"/>
                    <a:gd name="connsiteX229" fmla="*/ 418996 w 533400"/>
                    <a:gd name="connsiteY229" fmla="*/ 426537 h 495300"/>
                    <a:gd name="connsiteX230" fmla="*/ 422692 w 533400"/>
                    <a:gd name="connsiteY230" fmla="*/ 422846 h 495300"/>
                    <a:gd name="connsiteX231" fmla="*/ 426378 w 533400"/>
                    <a:gd name="connsiteY231" fmla="*/ 419156 h 495300"/>
                    <a:gd name="connsiteX232" fmla="*/ 437446 w 533400"/>
                    <a:gd name="connsiteY232" fmla="*/ 404393 h 495300"/>
                    <a:gd name="connsiteX233" fmla="*/ 444828 w 533400"/>
                    <a:gd name="connsiteY233" fmla="*/ 400703 h 495300"/>
                    <a:gd name="connsiteX234" fmla="*/ 444828 w 533400"/>
                    <a:gd name="connsiteY234" fmla="*/ 397012 h 495300"/>
                    <a:gd name="connsiteX235" fmla="*/ 444828 w 533400"/>
                    <a:gd name="connsiteY235" fmla="*/ 393321 h 495300"/>
                    <a:gd name="connsiteX236" fmla="*/ 452201 w 533400"/>
                    <a:gd name="connsiteY236" fmla="*/ 389631 h 495300"/>
                    <a:gd name="connsiteX237" fmla="*/ 463269 w 533400"/>
                    <a:gd name="connsiteY237" fmla="*/ 393321 h 495300"/>
                    <a:gd name="connsiteX238" fmla="*/ 474337 w 533400"/>
                    <a:gd name="connsiteY238" fmla="*/ 393321 h 495300"/>
                    <a:gd name="connsiteX239" fmla="*/ 489100 w 533400"/>
                    <a:gd name="connsiteY239" fmla="*/ 408084 h 495300"/>
                    <a:gd name="connsiteX240" fmla="*/ 503855 w 533400"/>
                    <a:gd name="connsiteY240" fmla="*/ 397012 h 495300"/>
                    <a:gd name="connsiteX241" fmla="*/ 514923 w 533400"/>
                    <a:gd name="connsiteY241" fmla="*/ 385940 h 495300"/>
                    <a:gd name="connsiteX242" fmla="*/ 518609 w 533400"/>
                    <a:gd name="connsiteY242" fmla="*/ 382249 h 495300"/>
                    <a:gd name="connsiteX243" fmla="*/ 522295 w 533400"/>
                    <a:gd name="connsiteY243" fmla="*/ 378559 h 495300"/>
                    <a:gd name="connsiteX244" fmla="*/ 522295 w 533400"/>
                    <a:gd name="connsiteY244" fmla="*/ 374868 h 495300"/>
                    <a:gd name="connsiteX245" fmla="*/ 533363 w 533400"/>
                    <a:gd name="connsiteY245" fmla="*/ 356415 h 495300"/>
                    <a:gd name="connsiteX246" fmla="*/ 529677 w 533400"/>
                    <a:gd name="connsiteY246" fmla="*/ 352725 h 495300"/>
                    <a:gd name="connsiteX247" fmla="*/ 525991 w 533400"/>
                    <a:gd name="connsiteY247" fmla="*/ 345344 h 495300"/>
                    <a:gd name="connsiteX248" fmla="*/ 522295 w 533400"/>
                    <a:gd name="connsiteY248" fmla="*/ 337963 h 495300"/>
                    <a:gd name="connsiteX249" fmla="*/ 507541 w 533400"/>
                    <a:gd name="connsiteY249" fmla="*/ 315819 h 495300"/>
                    <a:gd name="connsiteX250" fmla="*/ 500159 w 533400"/>
                    <a:gd name="connsiteY250" fmla="*/ 304748 h 495300"/>
                    <a:gd name="connsiteX251" fmla="*/ 500159 w 533400"/>
                    <a:gd name="connsiteY251" fmla="*/ 301057 h 495300"/>
                    <a:gd name="connsiteX252" fmla="*/ 500159 w 533400"/>
                    <a:gd name="connsiteY252" fmla="*/ 289985 h 495300"/>
                    <a:gd name="connsiteX253" fmla="*/ 503855 w 533400"/>
                    <a:gd name="connsiteY253" fmla="*/ 278913 h 495300"/>
                    <a:gd name="connsiteX254" fmla="*/ 496473 w 533400"/>
                    <a:gd name="connsiteY254" fmla="*/ 275223 h 495300"/>
                    <a:gd name="connsiteX255" fmla="*/ 485405 w 533400"/>
                    <a:gd name="connsiteY255" fmla="*/ 275223 h 495300"/>
                    <a:gd name="connsiteX256" fmla="*/ 474337 w 533400"/>
                    <a:gd name="connsiteY256" fmla="*/ 267841 h 495300"/>
                    <a:gd name="connsiteX257" fmla="*/ 478033 w 533400"/>
                    <a:gd name="connsiteY257" fmla="*/ 260461 h 495300"/>
                    <a:gd name="connsiteX258" fmla="*/ 466964 w 533400"/>
                    <a:gd name="connsiteY258" fmla="*/ 256771 h 495300"/>
                    <a:gd name="connsiteX259" fmla="*/ 466964 w 533400"/>
                    <a:gd name="connsiteY259" fmla="*/ 253080 h 495300"/>
                    <a:gd name="connsiteX260" fmla="*/ 463269 w 533400"/>
                    <a:gd name="connsiteY260" fmla="*/ 249389 h 495300"/>
                    <a:gd name="connsiteX261" fmla="*/ 455896 w 533400"/>
                    <a:gd name="connsiteY261" fmla="*/ 245699 h 495300"/>
                    <a:gd name="connsiteX262" fmla="*/ 452201 w 533400"/>
                    <a:gd name="connsiteY262" fmla="*/ 242008 h 495300"/>
                    <a:gd name="connsiteX263" fmla="*/ 448515 w 533400"/>
                    <a:gd name="connsiteY263" fmla="*/ 242008 h 495300"/>
                    <a:gd name="connsiteX264" fmla="*/ 441133 w 533400"/>
                    <a:gd name="connsiteY264" fmla="*/ 242008 h 495300"/>
                    <a:gd name="connsiteX265" fmla="*/ 433760 w 533400"/>
                    <a:gd name="connsiteY265" fmla="*/ 242008 h 495300"/>
                    <a:gd name="connsiteX266" fmla="*/ 426378 w 533400"/>
                    <a:gd name="connsiteY266" fmla="*/ 242008 h 495300"/>
                    <a:gd name="connsiteX267" fmla="*/ 422692 w 533400"/>
                    <a:gd name="connsiteY267" fmla="*/ 242008 h 495300"/>
                    <a:gd name="connsiteX268" fmla="*/ 418996 w 533400"/>
                    <a:gd name="connsiteY268" fmla="*/ 234627 h 495300"/>
                    <a:gd name="connsiteX269" fmla="*/ 415310 w 533400"/>
                    <a:gd name="connsiteY269" fmla="*/ 230936 h 495300"/>
                    <a:gd name="connsiteX270" fmla="*/ 411624 w 533400"/>
                    <a:gd name="connsiteY270" fmla="*/ 227246 h 495300"/>
                    <a:gd name="connsiteX271" fmla="*/ 411624 w 533400"/>
                    <a:gd name="connsiteY271" fmla="*/ 212483 h 495300"/>
                    <a:gd name="connsiteX272" fmla="*/ 411624 w 533400"/>
                    <a:gd name="connsiteY272" fmla="*/ 208793 h 495300"/>
                    <a:gd name="connsiteX273" fmla="*/ 411624 w 533400"/>
                    <a:gd name="connsiteY273" fmla="*/ 201411 h 495300"/>
                    <a:gd name="connsiteX274" fmla="*/ 411624 w 533400"/>
                    <a:gd name="connsiteY274" fmla="*/ 194030 h 495300"/>
                    <a:gd name="connsiteX275" fmla="*/ 415310 w 533400"/>
                    <a:gd name="connsiteY275" fmla="*/ 190340 h 495300"/>
                    <a:gd name="connsiteX276" fmla="*/ 418996 w 533400"/>
                    <a:gd name="connsiteY276" fmla="*/ 182958 h 495300"/>
                    <a:gd name="connsiteX277" fmla="*/ 418996 w 533400"/>
                    <a:gd name="connsiteY277" fmla="*/ 179268 h 495300"/>
                    <a:gd name="connsiteX278" fmla="*/ 422692 w 533400"/>
                    <a:gd name="connsiteY278" fmla="*/ 175578 h 495300"/>
                    <a:gd name="connsiteX279" fmla="*/ 426378 w 533400"/>
                    <a:gd name="connsiteY279" fmla="*/ 175578 h 495300"/>
                    <a:gd name="connsiteX280" fmla="*/ 430065 w 533400"/>
                    <a:gd name="connsiteY280" fmla="*/ 171888 h 495300"/>
                    <a:gd name="connsiteX281" fmla="*/ 433760 w 533400"/>
                    <a:gd name="connsiteY281" fmla="*/ 164506 h 495300"/>
                    <a:gd name="connsiteX282" fmla="*/ 433760 w 533400"/>
                    <a:gd name="connsiteY282" fmla="*/ 160816 h 495300"/>
                    <a:gd name="connsiteX283" fmla="*/ 433760 w 533400"/>
                    <a:gd name="connsiteY283" fmla="*/ 157125 h 495300"/>
                    <a:gd name="connsiteX284" fmla="*/ 433760 w 533400"/>
                    <a:gd name="connsiteY284" fmla="*/ 149744 h 495300"/>
                    <a:gd name="connsiteX285" fmla="*/ 430065 w 533400"/>
                    <a:gd name="connsiteY285" fmla="*/ 149744 h 495300"/>
                    <a:gd name="connsiteX286" fmla="*/ 426378 w 533400"/>
                    <a:gd name="connsiteY286" fmla="*/ 149744 h 495300"/>
                    <a:gd name="connsiteX287" fmla="*/ 426378 w 533400"/>
                    <a:gd name="connsiteY287" fmla="*/ 146053 h 495300"/>
                    <a:gd name="connsiteX288" fmla="*/ 430065 w 533400"/>
                    <a:gd name="connsiteY288" fmla="*/ 142363 h 495300"/>
                    <a:gd name="connsiteX289" fmla="*/ 433760 w 533400"/>
                    <a:gd name="connsiteY289" fmla="*/ 138672 h 495300"/>
                    <a:gd name="connsiteX290" fmla="*/ 437446 w 533400"/>
                    <a:gd name="connsiteY290" fmla="*/ 134981 h 495300"/>
                    <a:gd name="connsiteX291" fmla="*/ 437446 w 533400"/>
                    <a:gd name="connsiteY291" fmla="*/ 131291 h 495300"/>
                    <a:gd name="connsiteX292" fmla="*/ 437446 w 533400"/>
                    <a:gd name="connsiteY292" fmla="*/ 127600 h 495300"/>
                    <a:gd name="connsiteX293" fmla="*/ 441133 w 533400"/>
                    <a:gd name="connsiteY293" fmla="*/ 123910 h 495300"/>
                    <a:gd name="connsiteX294" fmla="*/ 441133 w 533400"/>
                    <a:gd name="connsiteY294" fmla="*/ 120219 h 495300"/>
                    <a:gd name="connsiteX295" fmla="*/ 444828 w 533400"/>
                    <a:gd name="connsiteY295" fmla="*/ 120219 h 495300"/>
                    <a:gd name="connsiteX296" fmla="*/ 448515 w 533400"/>
                    <a:gd name="connsiteY296" fmla="*/ 116528 h 495300"/>
                    <a:gd name="connsiteX297" fmla="*/ 444828 w 533400"/>
                    <a:gd name="connsiteY297" fmla="*/ 116528 h 495300"/>
                    <a:gd name="connsiteX298" fmla="*/ 444828 w 533400"/>
                    <a:gd name="connsiteY298" fmla="*/ 112838 h 495300"/>
                    <a:gd name="connsiteX299" fmla="*/ 444828 w 533400"/>
                    <a:gd name="connsiteY299" fmla="*/ 109147 h 495300"/>
                    <a:gd name="connsiteX300" fmla="*/ 444828 w 533400"/>
                    <a:gd name="connsiteY300" fmla="*/ 105457 h 495300"/>
                    <a:gd name="connsiteX301" fmla="*/ 448515 w 533400"/>
                    <a:gd name="connsiteY301" fmla="*/ 101766 h 495300"/>
                    <a:gd name="connsiteX302" fmla="*/ 452201 w 533400"/>
                    <a:gd name="connsiteY302" fmla="*/ 101766 h 495300"/>
                    <a:gd name="connsiteX303" fmla="*/ 455896 w 533400"/>
                    <a:gd name="connsiteY303" fmla="*/ 98075 h 495300"/>
                    <a:gd name="connsiteX304" fmla="*/ 455896 w 533400"/>
                    <a:gd name="connsiteY304" fmla="*/ 94385 h 495300"/>
                    <a:gd name="connsiteX305" fmla="*/ 459582 w 533400"/>
                    <a:gd name="connsiteY305" fmla="*/ 90695 h 495300"/>
                    <a:gd name="connsiteX306" fmla="*/ 463269 w 533400"/>
                    <a:gd name="connsiteY306" fmla="*/ 90695 h 495300"/>
                    <a:gd name="connsiteX307" fmla="*/ 463269 w 533400"/>
                    <a:gd name="connsiteY307" fmla="*/ 87004 h 495300"/>
                    <a:gd name="connsiteX308" fmla="*/ 459582 w 533400"/>
                    <a:gd name="connsiteY308" fmla="*/ 87004 h 495300"/>
                    <a:gd name="connsiteX309" fmla="*/ 459582 w 533400"/>
                    <a:gd name="connsiteY309" fmla="*/ 83314 h 495300"/>
                    <a:gd name="connsiteX310" fmla="*/ 459582 w 533400"/>
                    <a:gd name="connsiteY310" fmla="*/ 61170 h 495300"/>
                    <a:gd name="connsiteX311" fmla="*/ 455896 w 533400"/>
                    <a:gd name="connsiteY311" fmla="*/ 61170 h 495300"/>
                    <a:gd name="connsiteX312" fmla="*/ 455896 w 533400"/>
                    <a:gd name="connsiteY312" fmla="*/ 57480 h 495300"/>
                    <a:gd name="connsiteX313" fmla="*/ 448515 w 533400"/>
                    <a:gd name="connsiteY313" fmla="*/ 57480 h 495300"/>
                    <a:gd name="connsiteX314" fmla="*/ 444828 w 533400"/>
                    <a:gd name="connsiteY314" fmla="*/ 57480 h 495300"/>
                    <a:gd name="connsiteX315" fmla="*/ 441133 w 533400"/>
                    <a:gd name="connsiteY315" fmla="*/ 61170 h 495300"/>
                    <a:gd name="connsiteX316" fmla="*/ 437446 w 533400"/>
                    <a:gd name="connsiteY316" fmla="*/ 61170 h 495300"/>
                    <a:gd name="connsiteX317" fmla="*/ 433760 w 533400"/>
                    <a:gd name="connsiteY317" fmla="*/ 61170 h 495300"/>
                    <a:gd name="connsiteX318" fmla="*/ 437446 w 533400"/>
                    <a:gd name="connsiteY318" fmla="*/ 64861 h 495300"/>
                    <a:gd name="connsiteX319" fmla="*/ 437446 w 533400"/>
                    <a:gd name="connsiteY319" fmla="*/ 68551 h 495300"/>
                    <a:gd name="connsiteX320" fmla="*/ 433760 w 533400"/>
                    <a:gd name="connsiteY320" fmla="*/ 68551 h 495300"/>
                    <a:gd name="connsiteX321" fmla="*/ 433760 w 533400"/>
                    <a:gd name="connsiteY321" fmla="*/ 64861 h 495300"/>
                    <a:gd name="connsiteX322" fmla="*/ 430065 w 533400"/>
                    <a:gd name="connsiteY322" fmla="*/ 61170 h 495300"/>
                    <a:gd name="connsiteX323" fmla="*/ 430065 w 533400"/>
                    <a:gd name="connsiteY323" fmla="*/ 57480 h 495300"/>
                    <a:gd name="connsiteX324" fmla="*/ 426378 w 533400"/>
                    <a:gd name="connsiteY324" fmla="*/ 57480 h 495300"/>
                    <a:gd name="connsiteX325" fmla="*/ 430065 w 533400"/>
                    <a:gd name="connsiteY325" fmla="*/ 53789 h 495300"/>
                    <a:gd name="connsiteX326" fmla="*/ 426378 w 533400"/>
                    <a:gd name="connsiteY326" fmla="*/ 53789 h 495300"/>
                    <a:gd name="connsiteX327" fmla="*/ 422692 w 533400"/>
                    <a:gd name="connsiteY327" fmla="*/ 50098 h 495300"/>
                    <a:gd name="connsiteX328" fmla="*/ 422692 w 533400"/>
                    <a:gd name="connsiteY328" fmla="*/ 53789 h 495300"/>
                    <a:gd name="connsiteX329" fmla="*/ 418996 w 533400"/>
                    <a:gd name="connsiteY329" fmla="*/ 61170 h 495300"/>
                    <a:gd name="connsiteX330" fmla="*/ 418996 w 533400"/>
                    <a:gd name="connsiteY330" fmla="*/ 57480 h 495300"/>
                    <a:gd name="connsiteX331" fmla="*/ 418996 w 533400"/>
                    <a:gd name="connsiteY331" fmla="*/ 53789 h 495300"/>
                    <a:gd name="connsiteX332" fmla="*/ 411624 w 533400"/>
                    <a:gd name="connsiteY332" fmla="*/ 50098 h 495300"/>
                    <a:gd name="connsiteX333" fmla="*/ 407938 w 533400"/>
                    <a:gd name="connsiteY333" fmla="*/ 53789 h 495300"/>
                    <a:gd name="connsiteX334" fmla="*/ 407938 w 533400"/>
                    <a:gd name="connsiteY334" fmla="*/ 57480 h 495300"/>
                    <a:gd name="connsiteX335" fmla="*/ 415310 w 533400"/>
                    <a:gd name="connsiteY335" fmla="*/ 64861 h 495300"/>
                    <a:gd name="connsiteX336" fmla="*/ 415310 w 533400"/>
                    <a:gd name="connsiteY336" fmla="*/ 68551 h 495300"/>
                    <a:gd name="connsiteX337" fmla="*/ 411624 w 533400"/>
                    <a:gd name="connsiteY337" fmla="*/ 68551 h 495300"/>
                    <a:gd name="connsiteX338" fmla="*/ 411624 w 533400"/>
                    <a:gd name="connsiteY338" fmla="*/ 64861 h 495300"/>
                    <a:gd name="connsiteX339" fmla="*/ 407938 w 533400"/>
                    <a:gd name="connsiteY339" fmla="*/ 68551 h 495300"/>
                    <a:gd name="connsiteX340" fmla="*/ 407938 w 533400"/>
                    <a:gd name="connsiteY340" fmla="*/ 64861 h 495300"/>
                    <a:gd name="connsiteX341" fmla="*/ 404242 w 533400"/>
                    <a:gd name="connsiteY341" fmla="*/ 61170 h 495300"/>
                    <a:gd name="connsiteX342" fmla="*/ 404242 w 533400"/>
                    <a:gd name="connsiteY342" fmla="*/ 57480 h 495300"/>
                    <a:gd name="connsiteX343" fmla="*/ 404242 w 533400"/>
                    <a:gd name="connsiteY343" fmla="*/ 53789 h 495300"/>
                    <a:gd name="connsiteX344" fmla="*/ 404242 w 533400"/>
                    <a:gd name="connsiteY344" fmla="*/ 46408 h 495300"/>
                    <a:gd name="connsiteX345" fmla="*/ 400556 w 533400"/>
                    <a:gd name="connsiteY345" fmla="*/ 42717 h 495300"/>
                    <a:gd name="connsiteX346" fmla="*/ 400556 w 533400"/>
                    <a:gd name="connsiteY346" fmla="*/ 39027 h 495300"/>
                    <a:gd name="connsiteX347" fmla="*/ 404242 w 533400"/>
                    <a:gd name="connsiteY347" fmla="*/ 35336 h 495300"/>
                    <a:gd name="connsiteX348" fmla="*/ 400556 w 533400"/>
                    <a:gd name="connsiteY348" fmla="*/ 35336 h 495300"/>
                    <a:gd name="connsiteX349" fmla="*/ 400556 w 533400"/>
                    <a:gd name="connsiteY349" fmla="*/ 31645 h 495300"/>
                    <a:gd name="connsiteX350" fmla="*/ 400556 w 533400"/>
                    <a:gd name="connsiteY350" fmla="*/ 27955 h 495300"/>
                    <a:gd name="connsiteX351" fmla="*/ 396870 w 533400"/>
                    <a:gd name="connsiteY351" fmla="*/ 24264 h 495300"/>
                    <a:gd name="connsiteX352" fmla="*/ 400556 w 533400"/>
                    <a:gd name="connsiteY352" fmla="*/ 16883 h 495300"/>
                    <a:gd name="connsiteX353" fmla="*/ 400556 w 533400"/>
                    <a:gd name="connsiteY353" fmla="*/ 13192 h 495300"/>
                    <a:gd name="connsiteX354" fmla="*/ 400556 w 533400"/>
                    <a:gd name="connsiteY354" fmla="*/ 9502 h 495300"/>
                    <a:gd name="connsiteX355" fmla="*/ 407938 w 533400"/>
                    <a:gd name="connsiteY355" fmla="*/ 5812 h 495300"/>
                    <a:gd name="connsiteX356" fmla="*/ 430065 w 533400"/>
                    <a:gd name="connsiteY356" fmla="*/ 53789 h 495300"/>
                    <a:gd name="connsiteX357" fmla="*/ 430065 w 533400"/>
                    <a:gd name="connsiteY357" fmla="*/ 57480 h 495300"/>
                    <a:gd name="connsiteX358" fmla="*/ 433760 w 533400"/>
                    <a:gd name="connsiteY358" fmla="*/ 61170 h 495300"/>
                    <a:gd name="connsiteX359" fmla="*/ 430065 w 533400"/>
                    <a:gd name="connsiteY359" fmla="*/ 53789 h 495300"/>
                    <a:gd name="connsiteX360" fmla="*/ 24261 w 533400"/>
                    <a:gd name="connsiteY360" fmla="*/ 264151 h 495300"/>
                    <a:gd name="connsiteX361" fmla="*/ 13193 w 533400"/>
                    <a:gd name="connsiteY361" fmla="*/ 275223 h 495300"/>
                    <a:gd name="connsiteX362" fmla="*/ 9498 w 533400"/>
                    <a:gd name="connsiteY362" fmla="*/ 275223 h 495300"/>
                    <a:gd name="connsiteX363" fmla="*/ 5812 w 533400"/>
                    <a:gd name="connsiteY363" fmla="*/ 275223 h 495300"/>
                    <a:gd name="connsiteX364" fmla="*/ 9498 w 533400"/>
                    <a:gd name="connsiteY364" fmla="*/ 278913 h 495300"/>
                    <a:gd name="connsiteX365" fmla="*/ 13193 w 533400"/>
                    <a:gd name="connsiteY365" fmla="*/ 278913 h 495300"/>
                    <a:gd name="connsiteX366" fmla="*/ 16880 w 533400"/>
                    <a:gd name="connsiteY366" fmla="*/ 275223 h 495300"/>
                    <a:gd name="connsiteX367" fmla="*/ 24261 w 533400"/>
                    <a:gd name="connsiteY367" fmla="*/ 264151 h 495300"/>
                    <a:gd name="connsiteX368" fmla="*/ 50084 w 533400"/>
                    <a:gd name="connsiteY368" fmla="*/ 190340 h 495300"/>
                    <a:gd name="connsiteX369" fmla="*/ 50084 w 533400"/>
                    <a:gd name="connsiteY369" fmla="*/ 186649 h 495300"/>
                    <a:gd name="connsiteX370" fmla="*/ 46398 w 533400"/>
                    <a:gd name="connsiteY370" fmla="*/ 190340 h 495300"/>
                    <a:gd name="connsiteX371" fmla="*/ 50084 w 533400"/>
                    <a:gd name="connsiteY371" fmla="*/ 190340 h 495300"/>
                    <a:gd name="connsiteX372" fmla="*/ 407938 w 533400"/>
                    <a:gd name="connsiteY372" fmla="*/ 75933 h 495300"/>
                    <a:gd name="connsiteX373" fmla="*/ 411624 w 533400"/>
                    <a:gd name="connsiteY373" fmla="*/ 75933 h 495300"/>
                    <a:gd name="connsiteX374" fmla="*/ 411624 w 533400"/>
                    <a:gd name="connsiteY374" fmla="*/ 79623 h 495300"/>
                    <a:gd name="connsiteX375" fmla="*/ 407938 w 533400"/>
                    <a:gd name="connsiteY375" fmla="*/ 75933 h 495300"/>
                    <a:gd name="connsiteX376" fmla="*/ 400556 w 533400"/>
                    <a:gd name="connsiteY376" fmla="*/ 79623 h 495300"/>
                    <a:gd name="connsiteX377" fmla="*/ 404242 w 533400"/>
                    <a:gd name="connsiteY377" fmla="*/ 79623 h 495300"/>
                    <a:gd name="connsiteX378" fmla="*/ 400556 w 533400"/>
                    <a:gd name="connsiteY378" fmla="*/ 83314 h 495300"/>
                    <a:gd name="connsiteX379" fmla="*/ 400556 w 533400"/>
                    <a:gd name="connsiteY379" fmla="*/ 79623 h 495300"/>
                    <a:gd name="connsiteX380" fmla="*/ 39016 w 533400"/>
                    <a:gd name="connsiteY380" fmla="*/ 301057 h 495300"/>
                    <a:gd name="connsiteX381" fmla="*/ 42702 w 533400"/>
                    <a:gd name="connsiteY381" fmla="*/ 301057 h 495300"/>
                    <a:gd name="connsiteX382" fmla="*/ 39016 w 533400"/>
                    <a:gd name="connsiteY382" fmla="*/ 304748 h 495300"/>
                    <a:gd name="connsiteX383" fmla="*/ 39016 w 533400"/>
                    <a:gd name="connsiteY383" fmla="*/ 301057 h 495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Lst>
                  <a:rect l="l" t="t" r="r" b="b"/>
                  <a:pathLst>
                    <a:path w="533400" h="495300">
                      <a:moveTo>
                        <a:pt x="407938" y="5812"/>
                      </a:moveTo>
                      <a:lnTo>
                        <a:pt x="389488" y="13192"/>
                      </a:lnTo>
                      <a:lnTo>
                        <a:pt x="385802" y="13192"/>
                      </a:lnTo>
                      <a:lnTo>
                        <a:pt x="378420" y="9502"/>
                      </a:lnTo>
                      <a:lnTo>
                        <a:pt x="367352" y="9502"/>
                      </a:lnTo>
                      <a:lnTo>
                        <a:pt x="367352" y="13192"/>
                      </a:lnTo>
                      <a:lnTo>
                        <a:pt x="363666" y="13192"/>
                      </a:lnTo>
                      <a:lnTo>
                        <a:pt x="359970" y="13192"/>
                      </a:lnTo>
                      <a:lnTo>
                        <a:pt x="356284" y="9502"/>
                      </a:lnTo>
                      <a:lnTo>
                        <a:pt x="341530" y="13192"/>
                      </a:lnTo>
                      <a:lnTo>
                        <a:pt x="334148" y="13192"/>
                      </a:lnTo>
                      <a:lnTo>
                        <a:pt x="330462" y="13192"/>
                      </a:lnTo>
                      <a:lnTo>
                        <a:pt x="326775" y="16883"/>
                      </a:lnTo>
                      <a:lnTo>
                        <a:pt x="312012" y="20573"/>
                      </a:lnTo>
                      <a:lnTo>
                        <a:pt x="308326" y="20573"/>
                      </a:lnTo>
                      <a:lnTo>
                        <a:pt x="304639" y="20573"/>
                      </a:lnTo>
                      <a:lnTo>
                        <a:pt x="289876" y="27955"/>
                      </a:lnTo>
                      <a:lnTo>
                        <a:pt x="282503" y="27955"/>
                      </a:lnTo>
                      <a:lnTo>
                        <a:pt x="278808" y="27955"/>
                      </a:lnTo>
                      <a:lnTo>
                        <a:pt x="275121" y="27955"/>
                      </a:lnTo>
                      <a:lnTo>
                        <a:pt x="271435" y="27955"/>
                      </a:lnTo>
                      <a:lnTo>
                        <a:pt x="271435" y="24264"/>
                      </a:lnTo>
                      <a:lnTo>
                        <a:pt x="267749" y="20573"/>
                      </a:lnTo>
                      <a:lnTo>
                        <a:pt x="267749" y="27955"/>
                      </a:lnTo>
                      <a:lnTo>
                        <a:pt x="260367" y="31645"/>
                      </a:lnTo>
                      <a:lnTo>
                        <a:pt x="252985" y="35336"/>
                      </a:lnTo>
                      <a:lnTo>
                        <a:pt x="249299" y="39027"/>
                      </a:lnTo>
                      <a:lnTo>
                        <a:pt x="241917" y="42717"/>
                      </a:lnTo>
                      <a:lnTo>
                        <a:pt x="238231" y="46408"/>
                      </a:lnTo>
                      <a:lnTo>
                        <a:pt x="230849" y="50098"/>
                      </a:lnTo>
                      <a:lnTo>
                        <a:pt x="223477" y="50098"/>
                      </a:lnTo>
                      <a:lnTo>
                        <a:pt x="212409" y="57480"/>
                      </a:lnTo>
                      <a:lnTo>
                        <a:pt x="197655" y="64861"/>
                      </a:lnTo>
                      <a:lnTo>
                        <a:pt x="190273" y="68551"/>
                      </a:lnTo>
                      <a:lnTo>
                        <a:pt x="171823" y="79623"/>
                      </a:lnTo>
                      <a:lnTo>
                        <a:pt x="160755" y="79623"/>
                      </a:lnTo>
                      <a:lnTo>
                        <a:pt x="157069" y="83314"/>
                      </a:lnTo>
                      <a:lnTo>
                        <a:pt x="149687" y="87004"/>
                      </a:lnTo>
                      <a:lnTo>
                        <a:pt x="146000" y="87004"/>
                      </a:lnTo>
                      <a:lnTo>
                        <a:pt x="142314" y="90695"/>
                      </a:lnTo>
                      <a:lnTo>
                        <a:pt x="134932" y="94385"/>
                      </a:lnTo>
                      <a:lnTo>
                        <a:pt x="127560" y="98075"/>
                      </a:lnTo>
                      <a:lnTo>
                        <a:pt x="123864" y="101766"/>
                      </a:lnTo>
                      <a:lnTo>
                        <a:pt x="116492" y="109147"/>
                      </a:lnTo>
                      <a:lnTo>
                        <a:pt x="112796" y="116528"/>
                      </a:lnTo>
                      <a:lnTo>
                        <a:pt x="109110" y="120219"/>
                      </a:lnTo>
                      <a:lnTo>
                        <a:pt x="109110" y="123910"/>
                      </a:lnTo>
                      <a:lnTo>
                        <a:pt x="105424" y="123910"/>
                      </a:lnTo>
                      <a:lnTo>
                        <a:pt x="105424" y="127600"/>
                      </a:lnTo>
                      <a:lnTo>
                        <a:pt x="98042" y="131291"/>
                      </a:lnTo>
                      <a:lnTo>
                        <a:pt x="94356" y="134981"/>
                      </a:lnTo>
                      <a:lnTo>
                        <a:pt x="90660" y="134981"/>
                      </a:lnTo>
                      <a:lnTo>
                        <a:pt x="83288" y="142363"/>
                      </a:lnTo>
                      <a:lnTo>
                        <a:pt x="79592" y="146053"/>
                      </a:lnTo>
                      <a:lnTo>
                        <a:pt x="75906" y="146053"/>
                      </a:lnTo>
                      <a:lnTo>
                        <a:pt x="72220" y="149744"/>
                      </a:lnTo>
                      <a:lnTo>
                        <a:pt x="68524" y="157125"/>
                      </a:lnTo>
                      <a:lnTo>
                        <a:pt x="64838" y="157125"/>
                      </a:lnTo>
                      <a:lnTo>
                        <a:pt x="61152" y="160816"/>
                      </a:lnTo>
                      <a:lnTo>
                        <a:pt x="57466" y="168197"/>
                      </a:lnTo>
                      <a:lnTo>
                        <a:pt x="53770" y="179268"/>
                      </a:lnTo>
                      <a:lnTo>
                        <a:pt x="50084" y="182958"/>
                      </a:lnTo>
                      <a:lnTo>
                        <a:pt x="50084" y="186649"/>
                      </a:lnTo>
                      <a:lnTo>
                        <a:pt x="53770" y="186649"/>
                      </a:lnTo>
                      <a:lnTo>
                        <a:pt x="50084" y="190340"/>
                      </a:lnTo>
                      <a:lnTo>
                        <a:pt x="46398" y="194030"/>
                      </a:lnTo>
                      <a:lnTo>
                        <a:pt x="42702" y="197721"/>
                      </a:lnTo>
                      <a:lnTo>
                        <a:pt x="42702" y="201411"/>
                      </a:lnTo>
                      <a:lnTo>
                        <a:pt x="46398" y="201411"/>
                      </a:lnTo>
                      <a:lnTo>
                        <a:pt x="46398" y="208793"/>
                      </a:lnTo>
                      <a:lnTo>
                        <a:pt x="42702" y="216174"/>
                      </a:lnTo>
                      <a:lnTo>
                        <a:pt x="42702" y="227246"/>
                      </a:lnTo>
                      <a:lnTo>
                        <a:pt x="42702" y="234627"/>
                      </a:lnTo>
                      <a:lnTo>
                        <a:pt x="42702" y="238318"/>
                      </a:lnTo>
                      <a:lnTo>
                        <a:pt x="39016" y="242008"/>
                      </a:lnTo>
                      <a:lnTo>
                        <a:pt x="39016" y="245699"/>
                      </a:lnTo>
                      <a:lnTo>
                        <a:pt x="31634" y="249389"/>
                      </a:lnTo>
                      <a:lnTo>
                        <a:pt x="27948" y="249389"/>
                      </a:lnTo>
                      <a:lnTo>
                        <a:pt x="31634" y="253080"/>
                      </a:lnTo>
                      <a:lnTo>
                        <a:pt x="27948" y="256771"/>
                      </a:lnTo>
                      <a:lnTo>
                        <a:pt x="27948" y="260461"/>
                      </a:lnTo>
                      <a:lnTo>
                        <a:pt x="24261" y="264151"/>
                      </a:lnTo>
                      <a:lnTo>
                        <a:pt x="27948" y="264151"/>
                      </a:lnTo>
                      <a:lnTo>
                        <a:pt x="31634" y="267841"/>
                      </a:lnTo>
                      <a:lnTo>
                        <a:pt x="35330" y="275223"/>
                      </a:lnTo>
                      <a:lnTo>
                        <a:pt x="35330" y="278913"/>
                      </a:lnTo>
                      <a:lnTo>
                        <a:pt x="35330" y="282604"/>
                      </a:lnTo>
                      <a:lnTo>
                        <a:pt x="35330" y="286295"/>
                      </a:lnTo>
                      <a:lnTo>
                        <a:pt x="39016" y="293676"/>
                      </a:lnTo>
                      <a:lnTo>
                        <a:pt x="35330" y="293676"/>
                      </a:lnTo>
                      <a:lnTo>
                        <a:pt x="39016" y="297366"/>
                      </a:lnTo>
                      <a:lnTo>
                        <a:pt x="35330" y="297366"/>
                      </a:lnTo>
                      <a:lnTo>
                        <a:pt x="35330" y="293676"/>
                      </a:lnTo>
                      <a:lnTo>
                        <a:pt x="27948" y="293676"/>
                      </a:lnTo>
                      <a:lnTo>
                        <a:pt x="27948" y="297366"/>
                      </a:lnTo>
                      <a:lnTo>
                        <a:pt x="27948" y="301057"/>
                      </a:lnTo>
                      <a:lnTo>
                        <a:pt x="31634" y="301057"/>
                      </a:lnTo>
                      <a:lnTo>
                        <a:pt x="35330" y="301057"/>
                      </a:lnTo>
                      <a:lnTo>
                        <a:pt x="35330" y="308438"/>
                      </a:lnTo>
                      <a:lnTo>
                        <a:pt x="35330" y="312129"/>
                      </a:lnTo>
                      <a:lnTo>
                        <a:pt x="39016" y="308438"/>
                      </a:lnTo>
                      <a:lnTo>
                        <a:pt x="39016" y="312129"/>
                      </a:lnTo>
                      <a:lnTo>
                        <a:pt x="35330" y="312129"/>
                      </a:lnTo>
                      <a:lnTo>
                        <a:pt x="35330" y="315819"/>
                      </a:lnTo>
                      <a:lnTo>
                        <a:pt x="39016" y="315819"/>
                      </a:lnTo>
                      <a:lnTo>
                        <a:pt x="42702" y="319510"/>
                      </a:lnTo>
                      <a:lnTo>
                        <a:pt x="42702" y="323201"/>
                      </a:lnTo>
                      <a:lnTo>
                        <a:pt x="42702" y="326891"/>
                      </a:lnTo>
                      <a:lnTo>
                        <a:pt x="42702" y="330582"/>
                      </a:lnTo>
                      <a:lnTo>
                        <a:pt x="39016" y="334272"/>
                      </a:lnTo>
                      <a:lnTo>
                        <a:pt x="39016" y="341654"/>
                      </a:lnTo>
                      <a:lnTo>
                        <a:pt x="42702" y="352725"/>
                      </a:lnTo>
                      <a:lnTo>
                        <a:pt x="42702" y="360106"/>
                      </a:lnTo>
                      <a:lnTo>
                        <a:pt x="46398" y="363796"/>
                      </a:lnTo>
                      <a:lnTo>
                        <a:pt x="46398" y="365065"/>
                      </a:lnTo>
                      <a:lnTo>
                        <a:pt x="53770" y="360106"/>
                      </a:lnTo>
                      <a:lnTo>
                        <a:pt x="46398" y="367487"/>
                      </a:lnTo>
                      <a:lnTo>
                        <a:pt x="46398" y="365065"/>
                      </a:lnTo>
                      <a:lnTo>
                        <a:pt x="42702" y="367487"/>
                      </a:lnTo>
                      <a:lnTo>
                        <a:pt x="42702" y="371178"/>
                      </a:lnTo>
                      <a:lnTo>
                        <a:pt x="42702" y="378559"/>
                      </a:lnTo>
                      <a:lnTo>
                        <a:pt x="39016" y="378559"/>
                      </a:lnTo>
                      <a:lnTo>
                        <a:pt x="35330" y="382249"/>
                      </a:lnTo>
                      <a:lnTo>
                        <a:pt x="39016" y="385940"/>
                      </a:lnTo>
                      <a:lnTo>
                        <a:pt x="42702" y="393321"/>
                      </a:lnTo>
                      <a:lnTo>
                        <a:pt x="42702" y="397012"/>
                      </a:lnTo>
                      <a:lnTo>
                        <a:pt x="42702" y="404393"/>
                      </a:lnTo>
                      <a:lnTo>
                        <a:pt x="42702" y="408084"/>
                      </a:lnTo>
                      <a:lnTo>
                        <a:pt x="39016" y="411774"/>
                      </a:lnTo>
                      <a:lnTo>
                        <a:pt x="35330" y="411774"/>
                      </a:lnTo>
                      <a:lnTo>
                        <a:pt x="31634" y="411774"/>
                      </a:lnTo>
                      <a:lnTo>
                        <a:pt x="24261" y="419156"/>
                      </a:lnTo>
                      <a:lnTo>
                        <a:pt x="20566" y="422846"/>
                      </a:lnTo>
                      <a:lnTo>
                        <a:pt x="16880" y="426537"/>
                      </a:lnTo>
                      <a:lnTo>
                        <a:pt x="20566" y="430227"/>
                      </a:lnTo>
                      <a:lnTo>
                        <a:pt x="20566" y="433917"/>
                      </a:lnTo>
                      <a:lnTo>
                        <a:pt x="20566" y="437608"/>
                      </a:lnTo>
                      <a:lnTo>
                        <a:pt x="27948" y="437608"/>
                      </a:lnTo>
                      <a:lnTo>
                        <a:pt x="27948" y="441298"/>
                      </a:lnTo>
                      <a:lnTo>
                        <a:pt x="31634" y="441298"/>
                      </a:lnTo>
                      <a:lnTo>
                        <a:pt x="39016" y="448679"/>
                      </a:lnTo>
                      <a:lnTo>
                        <a:pt x="46398" y="456061"/>
                      </a:lnTo>
                      <a:lnTo>
                        <a:pt x="50084" y="456061"/>
                      </a:lnTo>
                      <a:lnTo>
                        <a:pt x="53770" y="456061"/>
                      </a:lnTo>
                      <a:lnTo>
                        <a:pt x="57466" y="456061"/>
                      </a:lnTo>
                      <a:lnTo>
                        <a:pt x="64838" y="456061"/>
                      </a:lnTo>
                      <a:lnTo>
                        <a:pt x="64838" y="452370"/>
                      </a:lnTo>
                      <a:lnTo>
                        <a:pt x="75906" y="456061"/>
                      </a:lnTo>
                      <a:lnTo>
                        <a:pt x="83288" y="456061"/>
                      </a:lnTo>
                      <a:lnTo>
                        <a:pt x="86974" y="459751"/>
                      </a:lnTo>
                      <a:lnTo>
                        <a:pt x="101728" y="467133"/>
                      </a:lnTo>
                      <a:lnTo>
                        <a:pt x="109110" y="467133"/>
                      </a:lnTo>
                      <a:lnTo>
                        <a:pt x="109110" y="470823"/>
                      </a:lnTo>
                      <a:lnTo>
                        <a:pt x="116492" y="470823"/>
                      </a:lnTo>
                      <a:lnTo>
                        <a:pt x="120178" y="467133"/>
                      </a:lnTo>
                      <a:lnTo>
                        <a:pt x="123864" y="467133"/>
                      </a:lnTo>
                      <a:lnTo>
                        <a:pt x="123864" y="463442"/>
                      </a:lnTo>
                      <a:lnTo>
                        <a:pt x="127560" y="459751"/>
                      </a:lnTo>
                      <a:lnTo>
                        <a:pt x="127560" y="456061"/>
                      </a:lnTo>
                      <a:lnTo>
                        <a:pt x="134932" y="452370"/>
                      </a:lnTo>
                      <a:lnTo>
                        <a:pt x="142314" y="456061"/>
                      </a:lnTo>
                      <a:lnTo>
                        <a:pt x="146000" y="452370"/>
                      </a:lnTo>
                      <a:lnTo>
                        <a:pt x="153382" y="448679"/>
                      </a:lnTo>
                      <a:lnTo>
                        <a:pt x="157069" y="448679"/>
                      </a:lnTo>
                      <a:lnTo>
                        <a:pt x="160755" y="452370"/>
                      </a:lnTo>
                      <a:lnTo>
                        <a:pt x="160755" y="459751"/>
                      </a:lnTo>
                      <a:lnTo>
                        <a:pt x="164450" y="459751"/>
                      </a:lnTo>
                      <a:lnTo>
                        <a:pt x="168137" y="459751"/>
                      </a:lnTo>
                      <a:lnTo>
                        <a:pt x="175518" y="459751"/>
                      </a:lnTo>
                      <a:lnTo>
                        <a:pt x="179205" y="459751"/>
                      </a:lnTo>
                      <a:lnTo>
                        <a:pt x="182891" y="459751"/>
                      </a:lnTo>
                      <a:lnTo>
                        <a:pt x="182891" y="463442"/>
                      </a:lnTo>
                      <a:lnTo>
                        <a:pt x="186587" y="463442"/>
                      </a:lnTo>
                      <a:lnTo>
                        <a:pt x="190273" y="459751"/>
                      </a:lnTo>
                      <a:lnTo>
                        <a:pt x="190273" y="463442"/>
                      </a:lnTo>
                      <a:lnTo>
                        <a:pt x="197655" y="467133"/>
                      </a:lnTo>
                      <a:lnTo>
                        <a:pt x="193959" y="459751"/>
                      </a:lnTo>
                      <a:lnTo>
                        <a:pt x="205027" y="463442"/>
                      </a:lnTo>
                      <a:lnTo>
                        <a:pt x="208713" y="463442"/>
                      </a:lnTo>
                      <a:lnTo>
                        <a:pt x="223477" y="481895"/>
                      </a:lnTo>
                      <a:lnTo>
                        <a:pt x="227163" y="489276"/>
                      </a:lnTo>
                      <a:lnTo>
                        <a:pt x="227163" y="492967"/>
                      </a:lnTo>
                      <a:lnTo>
                        <a:pt x="230849" y="489276"/>
                      </a:lnTo>
                      <a:lnTo>
                        <a:pt x="238231" y="481895"/>
                      </a:lnTo>
                      <a:lnTo>
                        <a:pt x="241917" y="481895"/>
                      </a:lnTo>
                      <a:lnTo>
                        <a:pt x="241917" y="485586"/>
                      </a:lnTo>
                      <a:lnTo>
                        <a:pt x="245613" y="485586"/>
                      </a:lnTo>
                      <a:lnTo>
                        <a:pt x="249299" y="485586"/>
                      </a:lnTo>
                      <a:lnTo>
                        <a:pt x="249299" y="489276"/>
                      </a:lnTo>
                      <a:lnTo>
                        <a:pt x="252985" y="489276"/>
                      </a:lnTo>
                      <a:lnTo>
                        <a:pt x="256681" y="489276"/>
                      </a:lnTo>
                      <a:lnTo>
                        <a:pt x="260367" y="492967"/>
                      </a:lnTo>
                      <a:lnTo>
                        <a:pt x="264053" y="492967"/>
                      </a:lnTo>
                      <a:lnTo>
                        <a:pt x="267749" y="492967"/>
                      </a:lnTo>
                      <a:lnTo>
                        <a:pt x="271435" y="492967"/>
                      </a:lnTo>
                      <a:lnTo>
                        <a:pt x="275121" y="489276"/>
                      </a:lnTo>
                      <a:lnTo>
                        <a:pt x="278808" y="489276"/>
                      </a:lnTo>
                      <a:lnTo>
                        <a:pt x="278808" y="485586"/>
                      </a:lnTo>
                      <a:lnTo>
                        <a:pt x="282503" y="485586"/>
                      </a:lnTo>
                      <a:lnTo>
                        <a:pt x="286189" y="481895"/>
                      </a:lnTo>
                      <a:lnTo>
                        <a:pt x="286189" y="478204"/>
                      </a:lnTo>
                      <a:lnTo>
                        <a:pt x="289876" y="474514"/>
                      </a:lnTo>
                      <a:lnTo>
                        <a:pt x="289876" y="470823"/>
                      </a:lnTo>
                      <a:lnTo>
                        <a:pt x="293571" y="467133"/>
                      </a:lnTo>
                      <a:lnTo>
                        <a:pt x="300944" y="467133"/>
                      </a:lnTo>
                      <a:lnTo>
                        <a:pt x="300944" y="463442"/>
                      </a:lnTo>
                      <a:lnTo>
                        <a:pt x="308326" y="467133"/>
                      </a:lnTo>
                      <a:lnTo>
                        <a:pt x="308326" y="463442"/>
                      </a:lnTo>
                      <a:lnTo>
                        <a:pt x="315707" y="459751"/>
                      </a:lnTo>
                      <a:lnTo>
                        <a:pt x="315707" y="467133"/>
                      </a:lnTo>
                      <a:lnTo>
                        <a:pt x="319394" y="474514"/>
                      </a:lnTo>
                      <a:lnTo>
                        <a:pt x="323080" y="478204"/>
                      </a:lnTo>
                      <a:lnTo>
                        <a:pt x="326775" y="478204"/>
                      </a:lnTo>
                      <a:lnTo>
                        <a:pt x="326775" y="481895"/>
                      </a:lnTo>
                      <a:lnTo>
                        <a:pt x="330462" y="478204"/>
                      </a:lnTo>
                      <a:lnTo>
                        <a:pt x="341530" y="474514"/>
                      </a:lnTo>
                      <a:lnTo>
                        <a:pt x="341530" y="481895"/>
                      </a:lnTo>
                      <a:lnTo>
                        <a:pt x="348912" y="478204"/>
                      </a:lnTo>
                      <a:lnTo>
                        <a:pt x="352598" y="474514"/>
                      </a:lnTo>
                      <a:lnTo>
                        <a:pt x="356284" y="474514"/>
                      </a:lnTo>
                      <a:lnTo>
                        <a:pt x="356284" y="470823"/>
                      </a:lnTo>
                      <a:lnTo>
                        <a:pt x="352598" y="463442"/>
                      </a:lnTo>
                      <a:lnTo>
                        <a:pt x="356284" y="463442"/>
                      </a:lnTo>
                      <a:lnTo>
                        <a:pt x="367352" y="463442"/>
                      </a:lnTo>
                      <a:lnTo>
                        <a:pt x="371038" y="459751"/>
                      </a:lnTo>
                      <a:lnTo>
                        <a:pt x="374734" y="456061"/>
                      </a:lnTo>
                      <a:lnTo>
                        <a:pt x="385802" y="448679"/>
                      </a:lnTo>
                      <a:lnTo>
                        <a:pt x="396870" y="441298"/>
                      </a:lnTo>
                      <a:lnTo>
                        <a:pt x="404242" y="433917"/>
                      </a:lnTo>
                      <a:lnTo>
                        <a:pt x="418996" y="426537"/>
                      </a:lnTo>
                      <a:lnTo>
                        <a:pt x="422692" y="422846"/>
                      </a:lnTo>
                      <a:lnTo>
                        <a:pt x="426378" y="419156"/>
                      </a:lnTo>
                      <a:lnTo>
                        <a:pt x="437446" y="404393"/>
                      </a:lnTo>
                      <a:lnTo>
                        <a:pt x="444828" y="400703"/>
                      </a:lnTo>
                      <a:lnTo>
                        <a:pt x="444828" y="397012"/>
                      </a:lnTo>
                      <a:lnTo>
                        <a:pt x="444828" y="393321"/>
                      </a:lnTo>
                      <a:lnTo>
                        <a:pt x="452201" y="389631"/>
                      </a:lnTo>
                      <a:lnTo>
                        <a:pt x="463269" y="393321"/>
                      </a:lnTo>
                      <a:lnTo>
                        <a:pt x="474337" y="393321"/>
                      </a:lnTo>
                      <a:lnTo>
                        <a:pt x="489100" y="408084"/>
                      </a:lnTo>
                      <a:lnTo>
                        <a:pt x="503855" y="397012"/>
                      </a:lnTo>
                      <a:lnTo>
                        <a:pt x="514923" y="385940"/>
                      </a:lnTo>
                      <a:lnTo>
                        <a:pt x="518609" y="382249"/>
                      </a:lnTo>
                      <a:lnTo>
                        <a:pt x="522295" y="378559"/>
                      </a:lnTo>
                      <a:lnTo>
                        <a:pt x="522295" y="374868"/>
                      </a:lnTo>
                      <a:lnTo>
                        <a:pt x="533363" y="356415"/>
                      </a:lnTo>
                      <a:lnTo>
                        <a:pt x="529677" y="352725"/>
                      </a:lnTo>
                      <a:lnTo>
                        <a:pt x="525991" y="345344"/>
                      </a:lnTo>
                      <a:lnTo>
                        <a:pt x="522295" y="337963"/>
                      </a:lnTo>
                      <a:lnTo>
                        <a:pt x="507541" y="315819"/>
                      </a:lnTo>
                      <a:lnTo>
                        <a:pt x="500159" y="304748"/>
                      </a:lnTo>
                      <a:lnTo>
                        <a:pt x="500159" y="301057"/>
                      </a:lnTo>
                      <a:lnTo>
                        <a:pt x="500159" y="289985"/>
                      </a:lnTo>
                      <a:lnTo>
                        <a:pt x="503855" y="278913"/>
                      </a:lnTo>
                      <a:lnTo>
                        <a:pt x="496473" y="275223"/>
                      </a:lnTo>
                      <a:lnTo>
                        <a:pt x="485405" y="275223"/>
                      </a:lnTo>
                      <a:lnTo>
                        <a:pt x="474337" y="267841"/>
                      </a:lnTo>
                      <a:lnTo>
                        <a:pt x="478033" y="260461"/>
                      </a:lnTo>
                      <a:lnTo>
                        <a:pt x="466964" y="256771"/>
                      </a:lnTo>
                      <a:lnTo>
                        <a:pt x="466964" y="253080"/>
                      </a:lnTo>
                      <a:lnTo>
                        <a:pt x="463269" y="249389"/>
                      </a:lnTo>
                      <a:lnTo>
                        <a:pt x="455896" y="245699"/>
                      </a:lnTo>
                      <a:lnTo>
                        <a:pt x="452201" y="242008"/>
                      </a:lnTo>
                      <a:lnTo>
                        <a:pt x="448515" y="242008"/>
                      </a:lnTo>
                      <a:lnTo>
                        <a:pt x="441133" y="242008"/>
                      </a:lnTo>
                      <a:lnTo>
                        <a:pt x="433760" y="242008"/>
                      </a:lnTo>
                      <a:lnTo>
                        <a:pt x="426378" y="242008"/>
                      </a:lnTo>
                      <a:lnTo>
                        <a:pt x="422692" y="242008"/>
                      </a:lnTo>
                      <a:lnTo>
                        <a:pt x="418996" y="234627"/>
                      </a:lnTo>
                      <a:lnTo>
                        <a:pt x="415310" y="230936"/>
                      </a:lnTo>
                      <a:lnTo>
                        <a:pt x="411624" y="227246"/>
                      </a:lnTo>
                      <a:lnTo>
                        <a:pt x="411624" y="212483"/>
                      </a:lnTo>
                      <a:lnTo>
                        <a:pt x="411624" y="208793"/>
                      </a:lnTo>
                      <a:lnTo>
                        <a:pt x="411624" y="201411"/>
                      </a:lnTo>
                      <a:lnTo>
                        <a:pt x="411624" y="194030"/>
                      </a:lnTo>
                      <a:lnTo>
                        <a:pt x="415310" y="190340"/>
                      </a:lnTo>
                      <a:lnTo>
                        <a:pt x="418996" y="182958"/>
                      </a:lnTo>
                      <a:lnTo>
                        <a:pt x="418996" y="179268"/>
                      </a:lnTo>
                      <a:lnTo>
                        <a:pt x="422692" y="175578"/>
                      </a:lnTo>
                      <a:lnTo>
                        <a:pt x="426378" y="175578"/>
                      </a:lnTo>
                      <a:lnTo>
                        <a:pt x="430065" y="171888"/>
                      </a:lnTo>
                      <a:lnTo>
                        <a:pt x="433760" y="164506"/>
                      </a:lnTo>
                      <a:lnTo>
                        <a:pt x="433760" y="160816"/>
                      </a:lnTo>
                      <a:lnTo>
                        <a:pt x="433760" y="157125"/>
                      </a:lnTo>
                      <a:lnTo>
                        <a:pt x="433760" y="149744"/>
                      </a:lnTo>
                      <a:lnTo>
                        <a:pt x="430065" y="149744"/>
                      </a:lnTo>
                      <a:lnTo>
                        <a:pt x="426378" y="149744"/>
                      </a:lnTo>
                      <a:lnTo>
                        <a:pt x="426378" y="146053"/>
                      </a:lnTo>
                      <a:lnTo>
                        <a:pt x="430065" y="142363"/>
                      </a:lnTo>
                      <a:lnTo>
                        <a:pt x="433760" y="138672"/>
                      </a:lnTo>
                      <a:lnTo>
                        <a:pt x="437446" y="134981"/>
                      </a:lnTo>
                      <a:lnTo>
                        <a:pt x="437446" y="131291"/>
                      </a:lnTo>
                      <a:lnTo>
                        <a:pt x="437446" y="127600"/>
                      </a:lnTo>
                      <a:lnTo>
                        <a:pt x="441133" y="123910"/>
                      </a:lnTo>
                      <a:lnTo>
                        <a:pt x="441133" y="120219"/>
                      </a:lnTo>
                      <a:lnTo>
                        <a:pt x="444828" y="120219"/>
                      </a:lnTo>
                      <a:lnTo>
                        <a:pt x="448515" y="116528"/>
                      </a:lnTo>
                      <a:lnTo>
                        <a:pt x="444828" y="116528"/>
                      </a:lnTo>
                      <a:lnTo>
                        <a:pt x="444828" y="112838"/>
                      </a:lnTo>
                      <a:lnTo>
                        <a:pt x="444828" y="109147"/>
                      </a:lnTo>
                      <a:lnTo>
                        <a:pt x="444828" y="105457"/>
                      </a:lnTo>
                      <a:lnTo>
                        <a:pt x="448515" y="101766"/>
                      </a:lnTo>
                      <a:lnTo>
                        <a:pt x="452201" y="101766"/>
                      </a:lnTo>
                      <a:lnTo>
                        <a:pt x="455896" y="98075"/>
                      </a:lnTo>
                      <a:lnTo>
                        <a:pt x="455896" y="94385"/>
                      </a:lnTo>
                      <a:lnTo>
                        <a:pt x="459582" y="90695"/>
                      </a:lnTo>
                      <a:lnTo>
                        <a:pt x="463269" y="90695"/>
                      </a:lnTo>
                      <a:lnTo>
                        <a:pt x="463269" y="87004"/>
                      </a:lnTo>
                      <a:lnTo>
                        <a:pt x="459582" y="87004"/>
                      </a:lnTo>
                      <a:lnTo>
                        <a:pt x="459582" y="83314"/>
                      </a:lnTo>
                      <a:lnTo>
                        <a:pt x="459582" y="61170"/>
                      </a:lnTo>
                      <a:lnTo>
                        <a:pt x="455896" y="61170"/>
                      </a:lnTo>
                      <a:lnTo>
                        <a:pt x="455896" y="57480"/>
                      </a:lnTo>
                      <a:lnTo>
                        <a:pt x="448515" y="57480"/>
                      </a:lnTo>
                      <a:lnTo>
                        <a:pt x="444828" y="57480"/>
                      </a:lnTo>
                      <a:lnTo>
                        <a:pt x="441133" y="61170"/>
                      </a:lnTo>
                      <a:lnTo>
                        <a:pt x="437446" y="61170"/>
                      </a:lnTo>
                      <a:lnTo>
                        <a:pt x="433760" y="61170"/>
                      </a:lnTo>
                      <a:lnTo>
                        <a:pt x="437446" y="64861"/>
                      </a:lnTo>
                      <a:lnTo>
                        <a:pt x="437446" y="68551"/>
                      </a:lnTo>
                      <a:lnTo>
                        <a:pt x="433760" y="68551"/>
                      </a:lnTo>
                      <a:lnTo>
                        <a:pt x="433760" y="64861"/>
                      </a:lnTo>
                      <a:lnTo>
                        <a:pt x="430065" y="61170"/>
                      </a:lnTo>
                      <a:lnTo>
                        <a:pt x="430065" y="57480"/>
                      </a:lnTo>
                      <a:lnTo>
                        <a:pt x="426378" y="57480"/>
                      </a:lnTo>
                      <a:lnTo>
                        <a:pt x="430065" y="53789"/>
                      </a:lnTo>
                      <a:lnTo>
                        <a:pt x="426378" y="53789"/>
                      </a:lnTo>
                      <a:lnTo>
                        <a:pt x="422692" y="50098"/>
                      </a:lnTo>
                      <a:lnTo>
                        <a:pt x="422692" y="53789"/>
                      </a:lnTo>
                      <a:lnTo>
                        <a:pt x="418996" y="61170"/>
                      </a:lnTo>
                      <a:lnTo>
                        <a:pt x="418996" y="57480"/>
                      </a:lnTo>
                      <a:lnTo>
                        <a:pt x="418996" y="53789"/>
                      </a:lnTo>
                      <a:lnTo>
                        <a:pt x="411624" y="50098"/>
                      </a:lnTo>
                      <a:lnTo>
                        <a:pt x="407938" y="53789"/>
                      </a:lnTo>
                      <a:lnTo>
                        <a:pt x="407938" y="57480"/>
                      </a:lnTo>
                      <a:lnTo>
                        <a:pt x="415310" y="64861"/>
                      </a:lnTo>
                      <a:lnTo>
                        <a:pt x="415310" y="68551"/>
                      </a:lnTo>
                      <a:lnTo>
                        <a:pt x="411624" y="68551"/>
                      </a:lnTo>
                      <a:lnTo>
                        <a:pt x="411624" y="64861"/>
                      </a:lnTo>
                      <a:lnTo>
                        <a:pt x="407938" y="68551"/>
                      </a:lnTo>
                      <a:lnTo>
                        <a:pt x="407938" y="64861"/>
                      </a:lnTo>
                      <a:lnTo>
                        <a:pt x="404242" y="61170"/>
                      </a:lnTo>
                      <a:lnTo>
                        <a:pt x="404242" y="57480"/>
                      </a:lnTo>
                      <a:lnTo>
                        <a:pt x="404242" y="53789"/>
                      </a:lnTo>
                      <a:lnTo>
                        <a:pt x="404242" y="46408"/>
                      </a:lnTo>
                      <a:lnTo>
                        <a:pt x="400556" y="42717"/>
                      </a:lnTo>
                      <a:lnTo>
                        <a:pt x="400556" y="39027"/>
                      </a:lnTo>
                      <a:lnTo>
                        <a:pt x="404242" y="35336"/>
                      </a:lnTo>
                      <a:lnTo>
                        <a:pt x="400556" y="35336"/>
                      </a:lnTo>
                      <a:lnTo>
                        <a:pt x="400556" y="31645"/>
                      </a:lnTo>
                      <a:lnTo>
                        <a:pt x="400556" y="27955"/>
                      </a:lnTo>
                      <a:lnTo>
                        <a:pt x="396870" y="24264"/>
                      </a:lnTo>
                      <a:lnTo>
                        <a:pt x="400556" y="16883"/>
                      </a:lnTo>
                      <a:lnTo>
                        <a:pt x="400556" y="13192"/>
                      </a:lnTo>
                      <a:lnTo>
                        <a:pt x="400556" y="9502"/>
                      </a:lnTo>
                      <a:lnTo>
                        <a:pt x="407938" y="5812"/>
                      </a:lnTo>
                      <a:close/>
                      <a:moveTo>
                        <a:pt x="430065" y="53789"/>
                      </a:moveTo>
                      <a:lnTo>
                        <a:pt x="430065" y="57480"/>
                      </a:lnTo>
                      <a:lnTo>
                        <a:pt x="433760" y="61170"/>
                      </a:lnTo>
                      <a:lnTo>
                        <a:pt x="430065" y="53789"/>
                      </a:lnTo>
                      <a:close/>
                      <a:moveTo>
                        <a:pt x="24261" y="264151"/>
                      </a:moveTo>
                      <a:lnTo>
                        <a:pt x="13193" y="275223"/>
                      </a:lnTo>
                      <a:lnTo>
                        <a:pt x="9498" y="275223"/>
                      </a:lnTo>
                      <a:lnTo>
                        <a:pt x="5812" y="275223"/>
                      </a:lnTo>
                      <a:lnTo>
                        <a:pt x="9498" y="278913"/>
                      </a:lnTo>
                      <a:lnTo>
                        <a:pt x="13193" y="278913"/>
                      </a:lnTo>
                      <a:lnTo>
                        <a:pt x="16880" y="275223"/>
                      </a:lnTo>
                      <a:lnTo>
                        <a:pt x="24261" y="264151"/>
                      </a:lnTo>
                      <a:close/>
                      <a:moveTo>
                        <a:pt x="50084" y="190340"/>
                      </a:moveTo>
                      <a:lnTo>
                        <a:pt x="50084" y="186649"/>
                      </a:lnTo>
                      <a:lnTo>
                        <a:pt x="46398" y="190340"/>
                      </a:lnTo>
                      <a:lnTo>
                        <a:pt x="50084" y="190340"/>
                      </a:lnTo>
                      <a:close/>
                      <a:moveTo>
                        <a:pt x="407938" y="75933"/>
                      </a:moveTo>
                      <a:lnTo>
                        <a:pt x="411624" y="75933"/>
                      </a:lnTo>
                      <a:lnTo>
                        <a:pt x="411624" y="79623"/>
                      </a:lnTo>
                      <a:lnTo>
                        <a:pt x="407938" y="75933"/>
                      </a:lnTo>
                      <a:close/>
                      <a:moveTo>
                        <a:pt x="400556" y="79623"/>
                      </a:moveTo>
                      <a:lnTo>
                        <a:pt x="404242" y="79623"/>
                      </a:lnTo>
                      <a:lnTo>
                        <a:pt x="400556" y="83314"/>
                      </a:lnTo>
                      <a:lnTo>
                        <a:pt x="400556" y="79623"/>
                      </a:lnTo>
                      <a:close/>
                      <a:moveTo>
                        <a:pt x="39016" y="301057"/>
                      </a:moveTo>
                      <a:lnTo>
                        <a:pt x="42702" y="301057"/>
                      </a:lnTo>
                      <a:lnTo>
                        <a:pt x="39016" y="304748"/>
                      </a:lnTo>
                      <a:lnTo>
                        <a:pt x="39016" y="301057"/>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DFDD06CA-C060-439C-A3A0-2587B7A3BFA4}"/>
                    </a:ext>
                  </a:extLst>
                </p:cNvPr>
                <p:cNvSpPr/>
                <p:nvPr/>
              </p:nvSpPr>
              <p:spPr>
                <a:xfrm>
                  <a:off x="4055166" y="1246309"/>
                  <a:ext cx="21660" cy="43320"/>
                </a:xfrm>
                <a:custGeom>
                  <a:avLst/>
                  <a:gdLst>
                    <a:gd name="connsiteX0" fmla="*/ 13193 w 9525"/>
                    <a:gd name="connsiteY0" fmla="*/ 9502 h 19050"/>
                    <a:gd name="connsiteX1" fmla="*/ 13193 w 9525"/>
                    <a:gd name="connsiteY1" fmla="*/ 13193 h 19050"/>
                    <a:gd name="connsiteX2" fmla="*/ 9507 w 9525"/>
                    <a:gd name="connsiteY2" fmla="*/ 16884 h 19050"/>
                    <a:gd name="connsiteX3" fmla="*/ 5812 w 9525"/>
                    <a:gd name="connsiteY3" fmla="*/ 16884 h 19050"/>
                    <a:gd name="connsiteX4" fmla="*/ 5812 w 9525"/>
                    <a:gd name="connsiteY4" fmla="*/ 16884 h 19050"/>
                    <a:gd name="connsiteX5" fmla="*/ 5812 w 9525"/>
                    <a:gd name="connsiteY5" fmla="*/ 13193 h 19050"/>
                    <a:gd name="connsiteX6" fmla="*/ 5812 w 9525"/>
                    <a:gd name="connsiteY6" fmla="*/ 9502 h 19050"/>
                    <a:gd name="connsiteX7" fmla="*/ 5812 w 9525"/>
                    <a:gd name="connsiteY7" fmla="*/ 9502 h 19050"/>
                    <a:gd name="connsiteX8" fmla="*/ 9507 w 9525"/>
                    <a:gd name="connsiteY8" fmla="*/ 5812 h 19050"/>
                    <a:gd name="connsiteX9" fmla="*/ 9507 w 9525"/>
                    <a:gd name="connsiteY9" fmla="*/ 5812 h 19050"/>
                    <a:gd name="connsiteX10" fmla="*/ 13193 w 9525"/>
                    <a:gd name="connsiteY10" fmla="*/ 5812 h 19050"/>
                    <a:gd name="connsiteX11" fmla="*/ 13193 w 9525"/>
                    <a:gd name="connsiteY11" fmla="*/ 950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525" h="19050">
                      <a:moveTo>
                        <a:pt x="13193" y="9502"/>
                      </a:moveTo>
                      <a:lnTo>
                        <a:pt x="13193" y="13193"/>
                      </a:lnTo>
                      <a:lnTo>
                        <a:pt x="9507" y="16884"/>
                      </a:lnTo>
                      <a:lnTo>
                        <a:pt x="5812" y="16884"/>
                      </a:lnTo>
                      <a:lnTo>
                        <a:pt x="5812" y="16884"/>
                      </a:lnTo>
                      <a:lnTo>
                        <a:pt x="5812" y="13193"/>
                      </a:lnTo>
                      <a:lnTo>
                        <a:pt x="5812" y="9502"/>
                      </a:lnTo>
                      <a:lnTo>
                        <a:pt x="5812" y="9502"/>
                      </a:lnTo>
                      <a:lnTo>
                        <a:pt x="9507" y="5812"/>
                      </a:lnTo>
                      <a:lnTo>
                        <a:pt x="9507" y="5812"/>
                      </a:lnTo>
                      <a:lnTo>
                        <a:pt x="13193" y="5812"/>
                      </a:lnTo>
                      <a:lnTo>
                        <a:pt x="13193" y="950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D9DC0D5F-BE68-4B8C-B39A-40CA7AC66572}"/>
                    </a:ext>
                  </a:extLst>
                </p:cNvPr>
                <p:cNvSpPr/>
                <p:nvPr/>
              </p:nvSpPr>
              <p:spPr>
                <a:xfrm>
                  <a:off x="3585361" y="1221131"/>
                  <a:ext cx="411540" cy="108300"/>
                </a:xfrm>
                <a:custGeom>
                  <a:avLst/>
                  <a:gdLst>
                    <a:gd name="connsiteX0" fmla="*/ 64847 w 180975"/>
                    <a:gd name="connsiteY0" fmla="*/ 16883 h 47625"/>
                    <a:gd name="connsiteX1" fmla="*/ 75906 w 180975"/>
                    <a:gd name="connsiteY1" fmla="*/ 16883 h 47625"/>
                    <a:gd name="connsiteX2" fmla="*/ 86974 w 180975"/>
                    <a:gd name="connsiteY2" fmla="*/ 16883 h 47625"/>
                    <a:gd name="connsiteX3" fmla="*/ 134942 w 180975"/>
                    <a:gd name="connsiteY3" fmla="*/ 13193 h 47625"/>
                    <a:gd name="connsiteX4" fmla="*/ 157068 w 180975"/>
                    <a:gd name="connsiteY4" fmla="*/ 9502 h 47625"/>
                    <a:gd name="connsiteX5" fmla="*/ 168137 w 180975"/>
                    <a:gd name="connsiteY5" fmla="*/ 9502 h 47625"/>
                    <a:gd name="connsiteX6" fmla="*/ 175519 w 180975"/>
                    <a:gd name="connsiteY6" fmla="*/ 13193 h 47625"/>
                    <a:gd name="connsiteX7" fmla="*/ 179205 w 180975"/>
                    <a:gd name="connsiteY7" fmla="*/ 13193 h 47625"/>
                    <a:gd name="connsiteX8" fmla="*/ 179205 w 180975"/>
                    <a:gd name="connsiteY8" fmla="*/ 16883 h 47625"/>
                    <a:gd name="connsiteX9" fmla="*/ 179205 w 180975"/>
                    <a:gd name="connsiteY9" fmla="*/ 16883 h 47625"/>
                    <a:gd name="connsiteX10" fmla="*/ 179205 w 180975"/>
                    <a:gd name="connsiteY10" fmla="*/ 20574 h 47625"/>
                    <a:gd name="connsiteX11" fmla="*/ 175519 w 180975"/>
                    <a:gd name="connsiteY11" fmla="*/ 20574 h 47625"/>
                    <a:gd name="connsiteX12" fmla="*/ 164450 w 180975"/>
                    <a:gd name="connsiteY12" fmla="*/ 20574 h 47625"/>
                    <a:gd name="connsiteX13" fmla="*/ 157068 w 180975"/>
                    <a:gd name="connsiteY13" fmla="*/ 20574 h 47625"/>
                    <a:gd name="connsiteX14" fmla="*/ 146001 w 180975"/>
                    <a:gd name="connsiteY14" fmla="*/ 20574 h 47625"/>
                    <a:gd name="connsiteX15" fmla="*/ 138628 w 180975"/>
                    <a:gd name="connsiteY15" fmla="*/ 24264 h 47625"/>
                    <a:gd name="connsiteX16" fmla="*/ 138628 w 180975"/>
                    <a:gd name="connsiteY16" fmla="*/ 24264 h 47625"/>
                    <a:gd name="connsiteX17" fmla="*/ 131246 w 180975"/>
                    <a:gd name="connsiteY17" fmla="*/ 27955 h 47625"/>
                    <a:gd name="connsiteX18" fmla="*/ 127560 w 180975"/>
                    <a:gd name="connsiteY18" fmla="*/ 27955 h 47625"/>
                    <a:gd name="connsiteX19" fmla="*/ 127560 w 180975"/>
                    <a:gd name="connsiteY19" fmla="*/ 27955 h 47625"/>
                    <a:gd name="connsiteX20" fmla="*/ 127560 w 180975"/>
                    <a:gd name="connsiteY20" fmla="*/ 27955 h 47625"/>
                    <a:gd name="connsiteX21" fmla="*/ 112806 w 180975"/>
                    <a:gd name="connsiteY21" fmla="*/ 31645 h 47625"/>
                    <a:gd name="connsiteX22" fmla="*/ 98042 w 180975"/>
                    <a:gd name="connsiteY22" fmla="*/ 35336 h 47625"/>
                    <a:gd name="connsiteX23" fmla="*/ 90670 w 180975"/>
                    <a:gd name="connsiteY23" fmla="*/ 35336 h 47625"/>
                    <a:gd name="connsiteX24" fmla="*/ 86974 w 180975"/>
                    <a:gd name="connsiteY24" fmla="*/ 35336 h 47625"/>
                    <a:gd name="connsiteX25" fmla="*/ 83288 w 180975"/>
                    <a:gd name="connsiteY25" fmla="*/ 35336 h 47625"/>
                    <a:gd name="connsiteX26" fmla="*/ 72220 w 180975"/>
                    <a:gd name="connsiteY26" fmla="*/ 31645 h 47625"/>
                    <a:gd name="connsiteX27" fmla="*/ 68534 w 180975"/>
                    <a:gd name="connsiteY27" fmla="*/ 31645 h 47625"/>
                    <a:gd name="connsiteX28" fmla="*/ 61152 w 180975"/>
                    <a:gd name="connsiteY28" fmla="*/ 31645 h 47625"/>
                    <a:gd name="connsiteX29" fmla="*/ 57466 w 180975"/>
                    <a:gd name="connsiteY29" fmla="*/ 31645 h 47625"/>
                    <a:gd name="connsiteX30" fmla="*/ 57466 w 180975"/>
                    <a:gd name="connsiteY30" fmla="*/ 35336 h 47625"/>
                    <a:gd name="connsiteX31" fmla="*/ 53779 w 180975"/>
                    <a:gd name="connsiteY31" fmla="*/ 39027 h 47625"/>
                    <a:gd name="connsiteX32" fmla="*/ 50084 w 180975"/>
                    <a:gd name="connsiteY32" fmla="*/ 42717 h 47625"/>
                    <a:gd name="connsiteX33" fmla="*/ 42711 w 180975"/>
                    <a:gd name="connsiteY33" fmla="*/ 42717 h 47625"/>
                    <a:gd name="connsiteX34" fmla="*/ 39016 w 180975"/>
                    <a:gd name="connsiteY34" fmla="*/ 46408 h 47625"/>
                    <a:gd name="connsiteX35" fmla="*/ 35330 w 180975"/>
                    <a:gd name="connsiteY35" fmla="*/ 46408 h 47625"/>
                    <a:gd name="connsiteX36" fmla="*/ 31643 w 180975"/>
                    <a:gd name="connsiteY36" fmla="*/ 46408 h 47625"/>
                    <a:gd name="connsiteX37" fmla="*/ 35330 w 180975"/>
                    <a:gd name="connsiteY37" fmla="*/ 46408 h 47625"/>
                    <a:gd name="connsiteX38" fmla="*/ 31643 w 180975"/>
                    <a:gd name="connsiteY38" fmla="*/ 50098 h 47625"/>
                    <a:gd name="connsiteX39" fmla="*/ 27948 w 180975"/>
                    <a:gd name="connsiteY39" fmla="*/ 46408 h 47625"/>
                    <a:gd name="connsiteX40" fmla="*/ 20575 w 180975"/>
                    <a:gd name="connsiteY40" fmla="*/ 46408 h 47625"/>
                    <a:gd name="connsiteX41" fmla="*/ 16880 w 180975"/>
                    <a:gd name="connsiteY41" fmla="*/ 42717 h 47625"/>
                    <a:gd name="connsiteX42" fmla="*/ 9507 w 180975"/>
                    <a:gd name="connsiteY42" fmla="*/ 39027 h 47625"/>
                    <a:gd name="connsiteX43" fmla="*/ 5812 w 180975"/>
                    <a:gd name="connsiteY43" fmla="*/ 31645 h 47625"/>
                    <a:gd name="connsiteX44" fmla="*/ 5812 w 180975"/>
                    <a:gd name="connsiteY44" fmla="*/ 27955 h 47625"/>
                    <a:gd name="connsiteX45" fmla="*/ 9507 w 180975"/>
                    <a:gd name="connsiteY45" fmla="*/ 24264 h 47625"/>
                    <a:gd name="connsiteX46" fmla="*/ 13193 w 180975"/>
                    <a:gd name="connsiteY46" fmla="*/ 16883 h 47625"/>
                    <a:gd name="connsiteX47" fmla="*/ 16880 w 180975"/>
                    <a:gd name="connsiteY47" fmla="*/ 13193 h 47625"/>
                    <a:gd name="connsiteX48" fmla="*/ 24261 w 180975"/>
                    <a:gd name="connsiteY48" fmla="*/ 5812 h 47625"/>
                    <a:gd name="connsiteX49" fmla="*/ 27948 w 180975"/>
                    <a:gd name="connsiteY49" fmla="*/ 5812 h 47625"/>
                    <a:gd name="connsiteX50" fmla="*/ 31643 w 180975"/>
                    <a:gd name="connsiteY50" fmla="*/ 5812 h 47625"/>
                    <a:gd name="connsiteX51" fmla="*/ 35330 w 180975"/>
                    <a:gd name="connsiteY51" fmla="*/ 9502 h 47625"/>
                    <a:gd name="connsiteX52" fmla="*/ 39016 w 180975"/>
                    <a:gd name="connsiteY52" fmla="*/ 9502 h 47625"/>
                    <a:gd name="connsiteX53" fmla="*/ 42711 w 180975"/>
                    <a:gd name="connsiteY53" fmla="*/ 13193 h 47625"/>
                    <a:gd name="connsiteX54" fmla="*/ 39016 w 180975"/>
                    <a:gd name="connsiteY54" fmla="*/ 13193 h 47625"/>
                    <a:gd name="connsiteX55" fmla="*/ 39016 w 180975"/>
                    <a:gd name="connsiteY55" fmla="*/ 13193 h 47625"/>
                    <a:gd name="connsiteX56" fmla="*/ 35330 w 180975"/>
                    <a:gd name="connsiteY56" fmla="*/ 9502 h 47625"/>
                    <a:gd name="connsiteX57" fmla="*/ 35330 w 180975"/>
                    <a:gd name="connsiteY57" fmla="*/ 9502 h 47625"/>
                    <a:gd name="connsiteX58" fmla="*/ 31643 w 180975"/>
                    <a:gd name="connsiteY58" fmla="*/ 9502 h 47625"/>
                    <a:gd name="connsiteX59" fmla="*/ 24261 w 180975"/>
                    <a:gd name="connsiteY59" fmla="*/ 9502 h 47625"/>
                    <a:gd name="connsiteX60" fmla="*/ 20575 w 180975"/>
                    <a:gd name="connsiteY60" fmla="*/ 13193 h 47625"/>
                    <a:gd name="connsiteX61" fmla="*/ 27948 w 180975"/>
                    <a:gd name="connsiteY61" fmla="*/ 13193 h 47625"/>
                    <a:gd name="connsiteX62" fmla="*/ 31643 w 180975"/>
                    <a:gd name="connsiteY62" fmla="*/ 13193 h 47625"/>
                    <a:gd name="connsiteX63" fmla="*/ 31643 w 180975"/>
                    <a:gd name="connsiteY63" fmla="*/ 13193 h 47625"/>
                    <a:gd name="connsiteX64" fmla="*/ 46398 w 180975"/>
                    <a:gd name="connsiteY64" fmla="*/ 16883 h 47625"/>
                    <a:gd name="connsiteX65" fmla="*/ 64847 w 180975"/>
                    <a:gd name="connsiteY65" fmla="*/ 16883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180975" h="47625">
                      <a:moveTo>
                        <a:pt x="64847" y="16883"/>
                      </a:moveTo>
                      <a:lnTo>
                        <a:pt x="75906" y="16883"/>
                      </a:lnTo>
                      <a:lnTo>
                        <a:pt x="86974" y="16883"/>
                      </a:lnTo>
                      <a:lnTo>
                        <a:pt x="134942" y="13193"/>
                      </a:lnTo>
                      <a:lnTo>
                        <a:pt x="157068" y="9502"/>
                      </a:lnTo>
                      <a:lnTo>
                        <a:pt x="168137" y="9502"/>
                      </a:lnTo>
                      <a:lnTo>
                        <a:pt x="175519" y="13193"/>
                      </a:lnTo>
                      <a:lnTo>
                        <a:pt x="179205" y="13193"/>
                      </a:lnTo>
                      <a:lnTo>
                        <a:pt x="179205" y="16883"/>
                      </a:lnTo>
                      <a:lnTo>
                        <a:pt x="179205" y="16883"/>
                      </a:lnTo>
                      <a:lnTo>
                        <a:pt x="179205" y="20574"/>
                      </a:lnTo>
                      <a:lnTo>
                        <a:pt x="175519" y="20574"/>
                      </a:lnTo>
                      <a:lnTo>
                        <a:pt x="164450" y="20574"/>
                      </a:lnTo>
                      <a:lnTo>
                        <a:pt x="157068" y="20574"/>
                      </a:lnTo>
                      <a:lnTo>
                        <a:pt x="146001" y="20574"/>
                      </a:lnTo>
                      <a:lnTo>
                        <a:pt x="138628" y="24264"/>
                      </a:lnTo>
                      <a:lnTo>
                        <a:pt x="138628" y="24264"/>
                      </a:lnTo>
                      <a:lnTo>
                        <a:pt x="131246" y="27955"/>
                      </a:lnTo>
                      <a:lnTo>
                        <a:pt x="127560" y="27955"/>
                      </a:lnTo>
                      <a:lnTo>
                        <a:pt x="127560" y="27955"/>
                      </a:lnTo>
                      <a:lnTo>
                        <a:pt x="127560" y="27955"/>
                      </a:lnTo>
                      <a:lnTo>
                        <a:pt x="112806" y="31645"/>
                      </a:lnTo>
                      <a:lnTo>
                        <a:pt x="98042" y="35336"/>
                      </a:lnTo>
                      <a:lnTo>
                        <a:pt x="90670" y="35336"/>
                      </a:lnTo>
                      <a:lnTo>
                        <a:pt x="86974" y="35336"/>
                      </a:lnTo>
                      <a:lnTo>
                        <a:pt x="83288" y="35336"/>
                      </a:lnTo>
                      <a:lnTo>
                        <a:pt x="72220" y="31645"/>
                      </a:lnTo>
                      <a:lnTo>
                        <a:pt x="68534" y="31645"/>
                      </a:lnTo>
                      <a:lnTo>
                        <a:pt x="61152" y="31645"/>
                      </a:lnTo>
                      <a:lnTo>
                        <a:pt x="57466" y="31645"/>
                      </a:lnTo>
                      <a:lnTo>
                        <a:pt x="57466" y="35336"/>
                      </a:lnTo>
                      <a:lnTo>
                        <a:pt x="53779" y="39027"/>
                      </a:lnTo>
                      <a:lnTo>
                        <a:pt x="50084" y="42717"/>
                      </a:lnTo>
                      <a:lnTo>
                        <a:pt x="42711" y="42717"/>
                      </a:lnTo>
                      <a:lnTo>
                        <a:pt x="39016" y="46408"/>
                      </a:lnTo>
                      <a:lnTo>
                        <a:pt x="35330" y="46408"/>
                      </a:lnTo>
                      <a:lnTo>
                        <a:pt x="31643" y="46408"/>
                      </a:lnTo>
                      <a:lnTo>
                        <a:pt x="35330" y="46408"/>
                      </a:lnTo>
                      <a:lnTo>
                        <a:pt x="31643" y="50098"/>
                      </a:lnTo>
                      <a:lnTo>
                        <a:pt x="27948" y="46408"/>
                      </a:lnTo>
                      <a:lnTo>
                        <a:pt x="20575" y="46408"/>
                      </a:lnTo>
                      <a:lnTo>
                        <a:pt x="16880" y="42717"/>
                      </a:lnTo>
                      <a:lnTo>
                        <a:pt x="9507" y="39027"/>
                      </a:lnTo>
                      <a:lnTo>
                        <a:pt x="5812" y="31645"/>
                      </a:lnTo>
                      <a:lnTo>
                        <a:pt x="5812" y="27955"/>
                      </a:lnTo>
                      <a:lnTo>
                        <a:pt x="9507" y="24264"/>
                      </a:lnTo>
                      <a:lnTo>
                        <a:pt x="13193" y="16883"/>
                      </a:lnTo>
                      <a:lnTo>
                        <a:pt x="16880" y="13193"/>
                      </a:lnTo>
                      <a:lnTo>
                        <a:pt x="24261" y="5812"/>
                      </a:lnTo>
                      <a:lnTo>
                        <a:pt x="27948" y="5812"/>
                      </a:lnTo>
                      <a:lnTo>
                        <a:pt x="31643" y="5812"/>
                      </a:lnTo>
                      <a:lnTo>
                        <a:pt x="35330" y="9502"/>
                      </a:lnTo>
                      <a:lnTo>
                        <a:pt x="39016" y="9502"/>
                      </a:lnTo>
                      <a:lnTo>
                        <a:pt x="42711" y="13193"/>
                      </a:lnTo>
                      <a:lnTo>
                        <a:pt x="39016" y="13193"/>
                      </a:lnTo>
                      <a:lnTo>
                        <a:pt x="39016" y="13193"/>
                      </a:lnTo>
                      <a:lnTo>
                        <a:pt x="35330" y="9502"/>
                      </a:lnTo>
                      <a:lnTo>
                        <a:pt x="35330" y="9502"/>
                      </a:lnTo>
                      <a:lnTo>
                        <a:pt x="31643" y="9502"/>
                      </a:lnTo>
                      <a:lnTo>
                        <a:pt x="24261" y="9502"/>
                      </a:lnTo>
                      <a:lnTo>
                        <a:pt x="20575" y="13193"/>
                      </a:lnTo>
                      <a:lnTo>
                        <a:pt x="27948" y="13193"/>
                      </a:lnTo>
                      <a:lnTo>
                        <a:pt x="31643" y="13193"/>
                      </a:lnTo>
                      <a:lnTo>
                        <a:pt x="31643" y="13193"/>
                      </a:lnTo>
                      <a:lnTo>
                        <a:pt x="46398" y="16883"/>
                      </a:lnTo>
                      <a:lnTo>
                        <a:pt x="64847" y="1688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8C32117-4A06-4A27-83FF-3E37C664E7C8}"/>
                    </a:ext>
                  </a:extLst>
                </p:cNvPr>
                <p:cNvSpPr/>
                <p:nvPr/>
              </p:nvSpPr>
              <p:spPr>
                <a:xfrm>
                  <a:off x="4139055" y="1145599"/>
                  <a:ext cx="259920" cy="129960"/>
                </a:xfrm>
                <a:custGeom>
                  <a:avLst/>
                  <a:gdLst>
                    <a:gd name="connsiteX0" fmla="*/ 112806 w 114300"/>
                    <a:gd name="connsiteY0" fmla="*/ 9502 h 57150"/>
                    <a:gd name="connsiteX1" fmla="*/ 112806 w 114300"/>
                    <a:gd name="connsiteY1" fmla="*/ 16883 h 57150"/>
                    <a:gd name="connsiteX2" fmla="*/ 109110 w 114300"/>
                    <a:gd name="connsiteY2" fmla="*/ 16883 h 57150"/>
                    <a:gd name="connsiteX3" fmla="*/ 105424 w 114300"/>
                    <a:gd name="connsiteY3" fmla="*/ 16883 h 57150"/>
                    <a:gd name="connsiteX4" fmla="*/ 101738 w 114300"/>
                    <a:gd name="connsiteY4" fmla="*/ 16883 h 57150"/>
                    <a:gd name="connsiteX5" fmla="*/ 98042 w 114300"/>
                    <a:gd name="connsiteY5" fmla="*/ 16883 h 57150"/>
                    <a:gd name="connsiteX6" fmla="*/ 90670 w 114300"/>
                    <a:gd name="connsiteY6" fmla="*/ 20574 h 57150"/>
                    <a:gd name="connsiteX7" fmla="*/ 90670 w 114300"/>
                    <a:gd name="connsiteY7" fmla="*/ 20574 h 57150"/>
                    <a:gd name="connsiteX8" fmla="*/ 79602 w 114300"/>
                    <a:gd name="connsiteY8" fmla="*/ 24264 h 57150"/>
                    <a:gd name="connsiteX9" fmla="*/ 75906 w 114300"/>
                    <a:gd name="connsiteY9" fmla="*/ 27955 h 57150"/>
                    <a:gd name="connsiteX10" fmla="*/ 75906 w 114300"/>
                    <a:gd name="connsiteY10" fmla="*/ 31646 h 57150"/>
                    <a:gd name="connsiteX11" fmla="*/ 68534 w 114300"/>
                    <a:gd name="connsiteY11" fmla="*/ 35336 h 57150"/>
                    <a:gd name="connsiteX12" fmla="*/ 64838 w 114300"/>
                    <a:gd name="connsiteY12" fmla="*/ 35336 h 57150"/>
                    <a:gd name="connsiteX13" fmla="*/ 57466 w 114300"/>
                    <a:gd name="connsiteY13" fmla="*/ 35336 h 57150"/>
                    <a:gd name="connsiteX14" fmla="*/ 57466 w 114300"/>
                    <a:gd name="connsiteY14" fmla="*/ 35336 h 57150"/>
                    <a:gd name="connsiteX15" fmla="*/ 53770 w 114300"/>
                    <a:gd name="connsiteY15" fmla="*/ 35336 h 57150"/>
                    <a:gd name="connsiteX16" fmla="*/ 53770 w 114300"/>
                    <a:gd name="connsiteY16" fmla="*/ 35336 h 57150"/>
                    <a:gd name="connsiteX17" fmla="*/ 42702 w 114300"/>
                    <a:gd name="connsiteY17" fmla="*/ 39027 h 57150"/>
                    <a:gd name="connsiteX18" fmla="*/ 39016 w 114300"/>
                    <a:gd name="connsiteY18" fmla="*/ 39027 h 57150"/>
                    <a:gd name="connsiteX19" fmla="*/ 39016 w 114300"/>
                    <a:gd name="connsiteY19" fmla="*/ 39027 h 57150"/>
                    <a:gd name="connsiteX20" fmla="*/ 27948 w 114300"/>
                    <a:gd name="connsiteY20" fmla="*/ 39027 h 57150"/>
                    <a:gd name="connsiteX21" fmla="*/ 24261 w 114300"/>
                    <a:gd name="connsiteY21" fmla="*/ 39027 h 57150"/>
                    <a:gd name="connsiteX22" fmla="*/ 20575 w 114300"/>
                    <a:gd name="connsiteY22" fmla="*/ 46408 h 57150"/>
                    <a:gd name="connsiteX23" fmla="*/ 20575 w 114300"/>
                    <a:gd name="connsiteY23" fmla="*/ 50098 h 57150"/>
                    <a:gd name="connsiteX24" fmla="*/ 16879 w 114300"/>
                    <a:gd name="connsiteY24" fmla="*/ 50098 h 57150"/>
                    <a:gd name="connsiteX25" fmla="*/ 16879 w 114300"/>
                    <a:gd name="connsiteY25" fmla="*/ 53789 h 57150"/>
                    <a:gd name="connsiteX26" fmla="*/ 16879 w 114300"/>
                    <a:gd name="connsiteY26" fmla="*/ 53789 h 57150"/>
                    <a:gd name="connsiteX27" fmla="*/ 13193 w 114300"/>
                    <a:gd name="connsiteY27" fmla="*/ 53789 h 57150"/>
                    <a:gd name="connsiteX28" fmla="*/ 13193 w 114300"/>
                    <a:gd name="connsiteY28" fmla="*/ 53789 h 57150"/>
                    <a:gd name="connsiteX29" fmla="*/ 9507 w 114300"/>
                    <a:gd name="connsiteY29" fmla="*/ 53789 h 57150"/>
                    <a:gd name="connsiteX30" fmla="*/ 9507 w 114300"/>
                    <a:gd name="connsiteY30" fmla="*/ 57480 h 57150"/>
                    <a:gd name="connsiteX31" fmla="*/ 9507 w 114300"/>
                    <a:gd name="connsiteY31" fmla="*/ 57480 h 57150"/>
                    <a:gd name="connsiteX32" fmla="*/ 5812 w 114300"/>
                    <a:gd name="connsiteY32" fmla="*/ 50098 h 57150"/>
                    <a:gd name="connsiteX33" fmla="*/ 5812 w 114300"/>
                    <a:gd name="connsiteY33" fmla="*/ 50098 h 57150"/>
                    <a:gd name="connsiteX34" fmla="*/ 5812 w 114300"/>
                    <a:gd name="connsiteY34" fmla="*/ 46408 h 57150"/>
                    <a:gd name="connsiteX35" fmla="*/ 9507 w 114300"/>
                    <a:gd name="connsiteY35" fmla="*/ 46408 h 57150"/>
                    <a:gd name="connsiteX36" fmla="*/ 13193 w 114300"/>
                    <a:gd name="connsiteY36" fmla="*/ 42717 h 57150"/>
                    <a:gd name="connsiteX37" fmla="*/ 9507 w 114300"/>
                    <a:gd name="connsiteY37" fmla="*/ 39027 h 57150"/>
                    <a:gd name="connsiteX38" fmla="*/ 9507 w 114300"/>
                    <a:gd name="connsiteY38" fmla="*/ 35336 h 57150"/>
                    <a:gd name="connsiteX39" fmla="*/ 9507 w 114300"/>
                    <a:gd name="connsiteY39" fmla="*/ 27955 h 57150"/>
                    <a:gd name="connsiteX40" fmla="*/ 13193 w 114300"/>
                    <a:gd name="connsiteY40" fmla="*/ 24264 h 57150"/>
                    <a:gd name="connsiteX41" fmla="*/ 20575 w 114300"/>
                    <a:gd name="connsiteY41" fmla="*/ 20574 h 57150"/>
                    <a:gd name="connsiteX42" fmla="*/ 20575 w 114300"/>
                    <a:gd name="connsiteY42" fmla="*/ 16883 h 57150"/>
                    <a:gd name="connsiteX43" fmla="*/ 20575 w 114300"/>
                    <a:gd name="connsiteY43" fmla="*/ 16883 h 57150"/>
                    <a:gd name="connsiteX44" fmla="*/ 16879 w 114300"/>
                    <a:gd name="connsiteY44" fmla="*/ 16883 h 57150"/>
                    <a:gd name="connsiteX45" fmla="*/ 13193 w 114300"/>
                    <a:gd name="connsiteY45" fmla="*/ 16883 h 57150"/>
                    <a:gd name="connsiteX46" fmla="*/ 9507 w 114300"/>
                    <a:gd name="connsiteY46" fmla="*/ 16883 h 57150"/>
                    <a:gd name="connsiteX47" fmla="*/ 9507 w 114300"/>
                    <a:gd name="connsiteY47" fmla="*/ 16883 h 57150"/>
                    <a:gd name="connsiteX48" fmla="*/ 5812 w 114300"/>
                    <a:gd name="connsiteY48" fmla="*/ 16883 h 57150"/>
                    <a:gd name="connsiteX49" fmla="*/ 9507 w 114300"/>
                    <a:gd name="connsiteY49" fmla="*/ 16883 h 57150"/>
                    <a:gd name="connsiteX50" fmla="*/ 9507 w 114300"/>
                    <a:gd name="connsiteY50" fmla="*/ 16883 h 57150"/>
                    <a:gd name="connsiteX51" fmla="*/ 13193 w 114300"/>
                    <a:gd name="connsiteY51" fmla="*/ 13193 h 57150"/>
                    <a:gd name="connsiteX52" fmla="*/ 20575 w 114300"/>
                    <a:gd name="connsiteY52" fmla="*/ 16883 h 57150"/>
                    <a:gd name="connsiteX53" fmla="*/ 31643 w 114300"/>
                    <a:gd name="connsiteY53" fmla="*/ 16883 h 57150"/>
                    <a:gd name="connsiteX54" fmla="*/ 68534 w 114300"/>
                    <a:gd name="connsiteY54" fmla="*/ 13193 h 57150"/>
                    <a:gd name="connsiteX55" fmla="*/ 79602 w 114300"/>
                    <a:gd name="connsiteY55" fmla="*/ 13193 h 57150"/>
                    <a:gd name="connsiteX56" fmla="*/ 101738 w 114300"/>
                    <a:gd name="connsiteY56" fmla="*/ 9502 h 57150"/>
                    <a:gd name="connsiteX57" fmla="*/ 109110 w 114300"/>
                    <a:gd name="connsiteY57" fmla="*/ 5812 h 57150"/>
                    <a:gd name="connsiteX58" fmla="*/ 112806 w 114300"/>
                    <a:gd name="connsiteY58" fmla="*/ 950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14300" h="57150">
                      <a:moveTo>
                        <a:pt x="112806" y="9502"/>
                      </a:moveTo>
                      <a:lnTo>
                        <a:pt x="112806" y="16883"/>
                      </a:lnTo>
                      <a:lnTo>
                        <a:pt x="109110" y="16883"/>
                      </a:lnTo>
                      <a:lnTo>
                        <a:pt x="105424" y="16883"/>
                      </a:lnTo>
                      <a:lnTo>
                        <a:pt x="101738" y="16883"/>
                      </a:lnTo>
                      <a:lnTo>
                        <a:pt x="98042" y="16883"/>
                      </a:lnTo>
                      <a:lnTo>
                        <a:pt x="90670" y="20574"/>
                      </a:lnTo>
                      <a:lnTo>
                        <a:pt x="90670" y="20574"/>
                      </a:lnTo>
                      <a:lnTo>
                        <a:pt x="79602" y="24264"/>
                      </a:lnTo>
                      <a:lnTo>
                        <a:pt x="75906" y="27955"/>
                      </a:lnTo>
                      <a:lnTo>
                        <a:pt x="75906" y="31646"/>
                      </a:lnTo>
                      <a:lnTo>
                        <a:pt x="68534" y="35336"/>
                      </a:lnTo>
                      <a:lnTo>
                        <a:pt x="64838" y="35336"/>
                      </a:lnTo>
                      <a:lnTo>
                        <a:pt x="57466" y="35336"/>
                      </a:lnTo>
                      <a:lnTo>
                        <a:pt x="57466" y="35336"/>
                      </a:lnTo>
                      <a:lnTo>
                        <a:pt x="53770" y="35336"/>
                      </a:lnTo>
                      <a:lnTo>
                        <a:pt x="53770" y="35336"/>
                      </a:lnTo>
                      <a:lnTo>
                        <a:pt x="42702" y="39027"/>
                      </a:lnTo>
                      <a:lnTo>
                        <a:pt x="39016" y="39027"/>
                      </a:lnTo>
                      <a:lnTo>
                        <a:pt x="39016" y="39027"/>
                      </a:lnTo>
                      <a:lnTo>
                        <a:pt x="27948" y="39027"/>
                      </a:lnTo>
                      <a:lnTo>
                        <a:pt x="24261" y="39027"/>
                      </a:lnTo>
                      <a:lnTo>
                        <a:pt x="20575" y="46408"/>
                      </a:lnTo>
                      <a:lnTo>
                        <a:pt x="20575" y="50098"/>
                      </a:lnTo>
                      <a:lnTo>
                        <a:pt x="16879" y="50098"/>
                      </a:lnTo>
                      <a:lnTo>
                        <a:pt x="16879" y="53789"/>
                      </a:lnTo>
                      <a:lnTo>
                        <a:pt x="16879" y="53789"/>
                      </a:lnTo>
                      <a:lnTo>
                        <a:pt x="13193" y="53789"/>
                      </a:lnTo>
                      <a:lnTo>
                        <a:pt x="13193" y="53789"/>
                      </a:lnTo>
                      <a:lnTo>
                        <a:pt x="9507" y="53789"/>
                      </a:lnTo>
                      <a:lnTo>
                        <a:pt x="9507" y="57480"/>
                      </a:lnTo>
                      <a:lnTo>
                        <a:pt x="9507" y="57480"/>
                      </a:lnTo>
                      <a:lnTo>
                        <a:pt x="5812" y="50098"/>
                      </a:lnTo>
                      <a:lnTo>
                        <a:pt x="5812" y="50098"/>
                      </a:lnTo>
                      <a:lnTo>
                        <a:pt x="5812" y="46408"/>
                      </a:lnTo>
                      <a:lnTo>
                        <a:pt x="9507" y="46408"/>
                      </a:lnTo>
                      <a:lnTo>
                        <a:pt x="13193" y="42717"/>
                      </a:lnTo>
                      <a:lnTo>
                        <a:pt x="9507" y="39027"/>
                      </a:lnTo>
                      <a:lnTo>
                        <a:pt x="9507" y="35336"/>
                      </a:lnTo>
                      <a:lnTo>
                        <a:pt x="9507" y="27955"/>
                      </a:lnTo>
                      <a:lnTo>
                        <a:pt x="13193" y="24264"/>
                      </a:lnTo>
                      <a:lnTo>
                        <a:pt x="20575" y="20574"/>
                      </a:lnTo>
                      <a:lnTo>
                        <a:pt x="20575" y="16883"/>
                      </a:lnTo>
                      <a:lnTo>
                        <a:pt x="20575" y="16883"/>
                      </a:lnTo>
                      <a:lnTo>
                        <a:pt x="16879" y="16883"/>
                      </a:lnTo>
                      <a:lnTo>
                        <a:pt x="13193" y="16883"/>
                      </a:lnTo>
                      <a:lnTo>
                        <a:pt x="9507" y="16883"/>
                      </a:lnTo>
                      <a:lnTo>
                        <a:pt x="9507" y="16883"/>
                      </a:lnTo>
                      <a:lnTo>
                        <a:pt x="5812" y="16883"/>
                      </a:lnTo>
                      <a:lnTo>
                        <a:pt x="9507" y="16883"/>
                      </a:lnTo>
                      <a:lnTo>
                        <a:pt x="9507" y="16883"/>
                      </a:lnTo>
                      <a:lnTo>
                        <a:pt x="13193" y="13193"/>
                      </a:lnTo>
                      <a:lnTo>
                        <a:pt x="20575" y="16883"/>
                      </a:lnTo>
                      <a:lnTo>
                        <a:pt x="31643" y="16883"/>
                      </a:lnTo>
                      <a:lnTo>
                        <a:pt x="68534" y="13193"/>
                      </a:lnTo>
                      <a:lnTo>
                        <a:pt x="79602" y="13193"/>
                      </a:lnTo>
                      <a:lnTo>
                        <a:pt x="101738" y="9502"/>
                      </a:lnTo>
                      <a:lnTo>
                        <a:pt x="109110" y="5812"/>
                      </a:lnTo>
                      <a:lnTo>
                        <a:pt x="112806" y="950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65CBEBD0-3BE5-4912-870D-C1838886CD02}"/>
                    </a:ext>
                  </a:extLst>
                </p:cNvPr>
                <p:cNvSpPr/>
                <p:nvPr/>
              </p:nvSpPr>
              <p:spPr>
                <a:xfrm>
                  <a:off x="3182688" y="1623963"/>
                  <a:ext cx="43320" cy="21660"/>
                </a:xfrm>
                <a:custGeom>
                  <a:avLst/>
                  <a:gdLst>
                    <a:gd name="connsiteX0" fmla="*/ 9501 w 19050"/>
                    <a:gd name="connsiteY0" fmla="*/ 9503 h 9525"/>
                    <a:gd name="connsiteX1" fmla="*/ 9501 w 19050"/>
                    <a:gd name="connsiteY1" fmla="*/ 9503 h 9525"/>
                    <a:gd name="connsiteX2" fmla="*/ 9501 w 19050"/>
                    <a:gd name="connsiteY2" fmla="*/ 9503 h 9525"/>
                    <a:gd name="connsiteX3" fmla="*/ 5812 w 19050"/>
                    <a:gd name="connsiteY3" fmla="*/ 5812 h 9525"/>
                    <a:gd name="connsiteX4" fmla="*/ 9501 w 19050"/>
                    <a:gd name="connsiteY4" fmla="*/ 5812 h 9525"/>
                    <a:gd name="connsiteX5" fmla="*/ 9501 w 19050"/>
                    <a:gd name="connsiteY5" fmla="*/ 5812 h 9525"/>
                    <a:gd name="connsiteX6" fmla="*/ 16877 w 19050"/>
                    <a:gd name="connsiteY6" fmla="*/ 5812 h 9525"/>
                    <a:gd name="connsiteX7" fmla="*/ 20573 w 19050"/>
                    <a:gd name="connsiteY7" fmla="*/ 5812 h 9525"/>
                    <a:gd name="connsiteX8" fmla="*/ 20573 w 19050"/>
                    <a:gd name="connsiteY8" fmla="*/ 5812 h 9525"/>
                    <a:gd name="connsiteX9" fmla="*/ 16877 w 19050"/>
                    <a:gd name="connsiteY9" fmla="*/ 5812 h 9525"/>
                    <a:gd name="connsiteX10" fmla="*/ 16877 w 19050"/>
                    <a:gd name="connsiteY10" fmla="*/ 9503 h 9525"/>
                    <a:gd name="connsiteX11" fmla="*/ 13191 w 19050"/>
                    <a:gd name="connsiteY11" fmla="*/ 9503 h 9525"/>
                    <a:gd name="connsiteX12" fmla="*/ 13191 w 19050"/>
                    <a:gd name="connsiteY12" fmla="*/ 9503 h 9525"/>
                    <a:gd name="connsiteX13" fmla="*/ 9501 w 19050"/>
                    <a:gd name="connsiteY13" fmla="*/ 9503 h 9525"/>
                    <a:gd name="connsiteX14" fmla="*/ 9501 w 19050"/>
                    <a:gd name="connsiteY14" fmla="*/ 5812 h 9525"/>
                    <a:gd name="connsiteX15" fmla="*/ 9501 w 19050"/>
                    <a:gd name="connsiteY15" fmla="*/ 5812 h 9525"/>
                    <a:gd name="connsiteX16" fmla="*/ 9501 w 19050"/>
                    <a:gd name="connsiteY16" fmla="*/ 5812 h 9525"/>
                    <a:gd name="connsiteX17" fmla="*/ 9501 w 19050"/>
                    <a:gd name="connsiteY17" fmla="*/ 5812 h 9525"/>
                    <a:gd name="connsiteX18" fmla="*/ 9501 w 19050"/>
                    <a:gd name="connsiteY18" fmla="*/ 950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050" h="9525">
                      <a:moveTo>
                        <a:pt x="9501" y="9503"/>
                      </a:moveTo>
                      <a:lnTo>
                        <a:pt x="9501" y="9503"/>
                      </a:lnTo>
                      <a:lnTo>
                        <a:pt x="9501" y="9503"/>
                      </a:lnTo>
                      <a:lnTo>
                        <a:pt x="5812" y="5812"/>
                      </a:lnTo>
                      <a:lnTo>
                        <a:pt x="9501" y="5812"/>
                      </a:lnTo>
                      <a:lnTo>
                        <a:pt x="9501" y="5812"/>
                      </a:lnTo>
                      <a:lnTo>
                        <a:pt x="16877" y="5812"/>
                      </a:lnTo>
                      <a:lnTo>
                        <a:pt x="20573" y="5812"/>
                      </a:lnTo>
                      <a:lnTo>
                        <a:pt x="20573" y="5812"/>
                      </a:lnTo>
                      <a:lnTo>
                        <a:pt x="16877" y="5812"/>
                      </a:lnTo>
                      <a:lnTo>
                        <a:pt x="16877" y="9503"/>
                      </a:lnTo>
                      <a:lnTo>
                        <a:pt x="13191" y="9503"/>
                      </a:lnTo>
                      <a:lnTo>
                        <a:pt x="13191" y="9503"/>
                      </a:lnTo>
                      <a:lnTo>
                        <a:pt x="9501" y="9503"/>
                      </a:lnTo>
                      <a:lnTo>
                        <a:pt x="9501" y="5812"/>
                      </a:lnTo>
                      <a:lnTo>
                        <a:pt x="9501" y="5812"/>
                      </a:lnTo>
                      <a:lnTo>
                        <a:pt x="9501" y="5812"/>
                      </a:lnTo>
                      <a:lnTo>
                        <a:pt x="9501" y="5812"/>
                      </a:lnTo>
                      <a:lnTo>
                        <a:pt x="9501" y="950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7979026C-6A9D-4C76-8C07-F27F86974A3D}"/>
                    </a:ext>
                  </a:extLst>
                </p:cNvPr>
                <p:cNvSpPr/>
                <p:nvPr/>
              </p:nvSpPr>
              <p:spPr>
                <a:xfrm>
                  <a:off x="3090406" y="1263091"/>
                  <a:ext cx="454860" cy="216600"/>
                </a:xfrm>
                <a:custGeom>
                  <a:avLst/>
                  <a:gdLst>
                    <a:gd name="connsiteX0" fmla="*/ 138621 w 200025"/>
                    <a:gd name="connsiteY0" fmla="*/ 42717 h 95250"/>
                    <a:gd name="connsiteX1" fmla="*/ 123866 w 200025"/>
                    <a:gd name="connsiteY1" fmla="*/ 42717 h 95250"/>
                    <a:gd name="connsiteX2" fmla="*/ 116484 w 200025"/>
                    <a:gd name="connsiteY2" fmla="*/ 46408 h 95250"/>
                    <a:gd name="connsiteX3" fmla="*/ 112798 w 200025"/>
                    <a:gd name="connsiteY3" fmla="*/ 46408 h 95250"/>
                    <a:gd name="connsiteX4" fmla="*/ 109112 w 200025"/>
                    <a:gd name="connsiteY4" fmla="*/ 50098 h 95250"/>
                    <a:gd name="connsiteX5" fmla="*/ 109112 w 200025"/>
                    <a:gd name="connsiteY5" fmla="*/ 50098 h 95250"/>
                    <a:gd name="connsiteX6" fmla="*/ 101730 w 200025"/>
                    <a:gd name="connsiteY6" fmla="*/ 57480 h 95250"/>
                    <a:gd name="connsiteX7" fmla="*/ 98044 w 200025"/>
                    <a:gd name="connsiteY7" fmla="*/ 61170 h 95250"/>
                    <a:gd name="connsiteX8" fmla="*/ 98044 w 200025"/>
                    <a:gd name="connsiteY8" fmla="*/ 61170 h 95250"/>
                    <a:gd name="connsiteX9" fmla="*/ 94348 w 200025"/>
                    <a:gd name="connsiteY9" fmla="*/ 61170 h 95250"/>
                    <a:gd name="connsiteX10" fmla="*/ 90662 w 200025"/>
                    <a:gd name="connsiteY10" fmla="*/ 61170 h 95250"/>
                    <a:gd name="connsiteX11" fmla="*/ 90662 w 200025"/>
                    <a:gd name="connsiteY11" fmla="*/ 64861 h 95250"/>
                    <a:gd name="connsiteX12" fmla="*/ 86976 w 200025"/>
                    <a:gd name="connsiteY12" fmla="*/ 64861 h 95250"/>
                    <a:gd name="connsiteX13" fmla="*/ 83280 w 200025"/>
                    <a:gd name="connsiteY13" fmla="*/ 61170 h 95250"/>
                    <a:gd name="connsiteX14" fmla="*/ 83280 w 200025"/>
                    <a:gd name="connsiteY14" fmla="*/ 64861 h 95250"/>
                    <a:gd name="connsiteX15" fmla="*/ 79594 w 200025"/>
                    <a:gd name="connsiteY15" fmla="*/ 64861 h 95250"/>
                    <a:gd name="connsiteX16" fmla="*/ 75908 w 200025"/>
                    <a:gd name="connsiteY16" fmla="*/ 68552 h 95250"/>
                    <a:gd name="connsiteX17" fmla="*/ 75908 w 200025"/>
                    <a:gd name="connsiteY17" fmla="*/ 68552 h 95250"/>
                    <a:gd name="connsiteX18" fmla="*/ 75908 w 200025"/>
                    <a:gd name="connsiteY18" fmla="*/ 68552 h 95250"/>
                    <a:gd name="connsiteX19" fmla="*/ 72222 w 200025"/>
                    <a:gd name="connsiteY19" fmla="*/ 68552 h 95250"/>
                    <a:gd name="connsiteX20" fmla="*/ 72222 w 200025"/>
                    <a:gd name="connsiteY20" fmla="*/ 72242 h 95250"/>
                    <a:gd name="connsiteX21" fmla="*/ 72222 w 200025"/>
                    <a:gd name="connsiteY21" fmla="*/ 72242 h 95250"/>
                    <a:gd name="connsiteX22" fmla="*/ 68526 w 200025"/>
                    <a:gd name="connsiteY22" fmla="*/ 68552 h 95250"/>
                    <a:gd name="connsiteX23" fmla="*/ 64840 w 200025"/>
                    <a:gd name="connsiteY23" fmla="*/ 68552 h 95250"/>
                    <a:gd name="connsiteX24" fmla="*/ 64840 w 200025"/>
                    <a:gd name="connsiteY24" fmla="*/ 68552 h 95250"/>
                    <a:gd name="connsiteX25" fmla="*/ 61154 w 200025"/>
                    <a:gd name="connsiteY25" fmla="*/ 68552 h 95250"/>
                    <a:gd name="connsiteX26" fmla="*/ 57458 w 200025"/>
                    <a:gd name="connsiteY26" fmla="*/ 68552 h 95250"/>
                    <a:gd name="connsiteX27" fmla="*/ 57458 w 200025"/>
                    <a:gd name="connsiteY27" fmla="*/ 68552 h 95250"/>
                    <a:gd name="connsiteX28" fmla="*/ 53772 w 200025"/>
                    <a:gd name="connsiteY28" fmla="*/ 72242 h 95250"/>
                    <a:gd name="connsiteX29" fmla="*/ 50082 w 200025"/>
                    <a:gd name="connsiteY29" fmla="*/ 75933 h 95250"/>
                    <a:gd name="connsiteX30" fmla="*/ 46393 w 200025"/>
                    <a:gd name="connsiteY30" fmla="*/ 72242 h 95250"/>
                    <a:gd name="connsiteX31" fmla="*/ 42704 w 200025"/>
                    <a:gd name="connsiteY31" fmla="*/ 75933 h 95250"/>
                    <a:gd name="connsiteX32" fmla="*/ 39015 w 200025"/>
                    <a:gd name="connsiteY32" fmla="*/ 75933 h 95250"/>
                    <a:gd name="connsiteX33" fmla="*/ 35326 w 200025"/>
                    <a:gd name="connsiteY33" fmla="*/ 79623 h 95250"/>
                    <a:gd name="connsiteX34" fmla="*/ 35326 w 200025"/>
                    <a:gd name="connsiteY34" fmla="*/ 83314 h 95250"/>
                    <a:gd name="connsiteX35" fmla="*/ 35326 w 200025"/>
                    <a:gd name="connsiteY35" fmla="*/ 83314 h 95250"/>
                    <a:gd name="connsiteX36" fmla="*/ 35326 w 200025"/>
                    <a:gd name="connsiteY36" fmla="*/ 83314 h 95250"/>
                    <a:gd name="connsiteX37" fmla="*/ 31637 w 200025"/>
                    <a:gd name="connsiteY37" fmla="*/ 83314 h 95250"/>
                    <a:gd name="connsiteX38" fmla="*/ 24258 w 200025"/>
                    <a:gd name="connsiteY38" fmla="*/ 87004 h 95250"/>
                    <a:gd name="connsiteX39" fmla="*/ 27947 w 200025"/>
                    <a:gd name="connsiteY39" fmla="*/ 87004 h 95250"/>
                    <a:gd name="connsiteX40" fmla="*/ 24258 w 200025"/>
                    <a:gd name="connsiteY40" fmla="*/ 90694 h 95250"/>
                    <a:gd name="connsiteX41" fmla="*/ 20569 w 200025"/>
                    <a:gd name="connsiteY41" fmla="*/ 90694 h 95250"/>
                    <a:gd name="connsiteX42" fmla="*/ 13191 w 200025"/>
                    <a:gd name="connsiteY42" fmla="*/ 90694 h 95250"/>
                    <a:gd name="connsiteX43" fmla="*/ 9502 w 200025"/>
                    <a:gd name="connsiteY43" fmla="*/ 83314 h 95250"/>
                    <a:gd name="connsiteX44" fmla="*/ 5812 w 200025"/>
                    <a:gd name="connsiteY44" fmla="*/ 83314 h 95250"/>
                    <a:gd name="connsiteX45" fmla="*/ 5812 w 200025"/>
                    <a:gd name="connsiteY45" fmla="*/ 83314 h 95250"/>
                    <a:gd name="connsiteX46" fmla="*/ 5812 w 200025"/>
                    <a:gd name="connsiteY46" fmla="*/ 79623 h 95250"/>
                    <a:gd name="connsiteX47" fmla="*/ 9502 w 200025"/>
                    <a:gd name="connsiteY47" fmla="*/ 75933 h 95250"/>
                    <a:gd name="connsiteX48" fmla="*/ 16880 w 200025"/>
                    <a:gd name="connsiteY48" fmla="*/ 64861 h 95250"/>
                    <a:gd name="connsiteX49" fmla="*/ 24258 w 200025"/>
                    <a:gd name="connsiteY49" fmla="*/ 53789 h 95250"/>
                    <a:gd name="connsiteX50" fmla="*/ 24258 w 200025"/>
                    <a:gd name="connsiteY50" fmla="*/ 53789 h 95250"/>
                    <a:gd name="connsiteX51" fmla="*/ 31637 w 200025"/>
                    <a:gd name="connsiteY51" fmla="*/ 50098 h 95250"/>
                    <a:gd name="connsiteX52" fmla="*/ 39015 w 200025"/>
                    <a:gd name="connsiteY52" fmla="*/ 46408 h 95250"/>
                    <a:gd name="connsiteX53" fmla="*/ 53772 w 200025"/>
                    <a:gd name="connsiteY53" fmla="*/ 42717 h 95250"/>
                    <a:gd name="connsiteX54" fmla="*/ 75908 w 200025"/>
                    <a:gd name="connsiteY54" fmla="*/ 39027 h 95250"/>
                    <a:gd name="connsiteX55" fmla="*/ 83280 w 200025"/>
                    <a:gd name="connsiteY55" fmla="*/ 39027 h 95250"/>
                    <a:gd name="connsiteX56" fmla="*/ 105416 w 200025"/>
                    <a:gd name="connsiteY56" fmla="*/ 31645 h 95250"/>
                    <a:gd name="connsiteX57" fmla="*/ 123866 w 200025"/>
                    <a:gd name="connsiteY57" fmla="*/ 24264 h 95250"/>
                    <a:gd name="connsiteX58" fmla="*/ 164443 w 200025"/>
                    <a:gd name="connsiteY58" fmla="*/ 9502 h 95250"/>
                    <a:gd name="connsiteX59" fmla="*/ 175511 w 200025"/>
                    <a:gd name="connsiteY59" fmla="*/ 9502 h 95250"/>
                    <a:gd name="connsiteX60" fmla="*/ 186579 w 200025"/>
                    <a:gd name="connsiteY60" fmla="*/ 5812 h 95250"/>
                    <a:gd name="connsiteX61" fmla="*/ 190275 w 200025"/>
                    <a:gd name="connsiteY61" fmla="*/ 9502 h 95250"/>
                    <a:gd name="connsiteX62" fmla="*/ 193961 w 200025"/>
                    <a:gd name="connsiteY62" fmla="*/ 9502 h 95250"/>
                    <a:gd name="connsiteX63" fmla="*/ 197647 w 200025"/>
                    <a:gd name="connsiteY63" fmla="*/ 13192 h 95250"/>
                    <a:gd name="connsiteX64" fmla="*/ 197647 w 200025"/>
                    <a:gd name="connsiteY64" fmla="*/ 13192 h 95250"/>
                    <a:gd name="connsiteX65" fmla="*/ 197647 w 200025"/>
                    <a:gd name="connsiteY65" fmla="*/ 20574 h 95250"/>
                    <a:gd name="connsiteX66" fmla="*/ 197647 w 200025"/>
                    <a:gd name="connsiteY66" fmla="*/ 24264 h 95250"/>
                    <a:gd name="connsiteX67" fmla="*/ 197647 w 200025"/>
                    <a:gd name="connsiteY67" fmla="*/ 24264 h 95250"/>
                    <a:gd name="connsiteX68" fmla="*/ 197647 w 200025"/>
                    <a:gd name="connsiteY68" fmla="*/ 20574 h 95250"/>
                    <a:gd name="connsiteX69" fmla="*/ 197647 w 200025"/>
                    <a:gd name="connsiteY69" fmla="*/ 16883 h 95250"/>
                    <a:gd name="connsiteX70" fmla="*/ 193961 w 200025"/>
                    <a:gd name="connsiteY70" fmla="*/ 13192 h 95250"/>
                    <a:gd name="connsiteX71" fmla="*/ 193961 w 200025"/>
                    <a:gd name="connsiteY71" fmla="*/ 13192 h 95250"/>
                    <a:gd name="connsiteX72" fmla="*/ 193961 w 200025"/>
                    <a:gd name="connsiteY72" fmla="*/ 16883 h 95250"/>
                    <a:gd name="connsiteX73" fmla="*/ 190275 w 200025"/>
                    <a:gd name="connsiteY73" fmla="*/ 20574 h 95250"/>
                    <a:gd name="connsiteX74" fmla="*/ 190275 w 200025"/>
                    <a:gd name="connsiteY74" fmla="*/ 20574 h 95250"/>
                    <a:gd name="connsiteX75" fmla="*/ 186579 w 200025"/>
                    <a:gd name="connsiteY75" fmla="*/ 24264 h 95250"/>
                    <a:gd name="connsiteX76" fmla="*/ 179207 w 200025"/>
                    <a:gd name="connsiteY76" fmla="*/ 24264 h 95250"/>
                    <a:gd name="connsiteX77" fmla="*/ 175511 w 200025"/>
                    <a:gd name="connsiteY77" fmla="*/ 24264 h 95250"/>
                    <a:gd name="connsiteX78" fmla="*/ 168139 w 200025"/>
                    <a:gd name="connsiteY78" fmla="*/ 27955 h 95250"/>
                    <a:gd name="connsiteX79" fmla="*/ 168139 w 200025"/>
                    <a:gd name="connsiteY79" fmla="*/ 27955 h 95250"/>
                    <a:gd name="connsiteX80" fmla="*/ 168139 w 200025"/>
                    <a:gd name="connsiteY80" fmla="*/ 27955 h 95250"/>
                    <a:gd name="connsiteX81" fmla="*/ 164443 w 200025"/>
                    <a:gd name="connsiteY81" fmla="*/ 24264 h 95250"/>
                    <a:gd name="connsiteX82" fmla="*/ 164443 w 200025"/>
                    <a:gd name="connsiteY82" fmla="*/ 24264 h 95250"/>
                    <a:gd name="connsiteX83" fmla="*/ 164443 w 200025"/>
                    <a:gd name="connsiteY83" fmla="*/ 24264 h 95250"/>
                    <a:gd name="connsiteX84" fmla="*/ 164443 w 200025"/>
                    <a:gd name="connsiteY84" fmla="*/ 24264 h 95250"/>
                    <a:gd name="connsiteX85" fmla="*/ 164443 w 200025"/>
                    <a:gd name="connsiteY85" fmla="*/ 27955 h 95250"/>
                    <a:gd name="connsiteX86" fmla="*/ 168139 w 200025"/>
                    <a:gd name="connsiteY86" fmla="*/ 27955 h 95250"/>
                    <a:gd name="connsiteX87" fmla="*/ 164443 w 200025"/>
                    <a:gd name="connsiteY87" fmla="*/ 31645 h 95250"/>
                    <a:gd name="connsiteX88" fmla="*/ 160757 w 200025"/>
                    <a:gd name="connsiteY88" fmla="*/ 31645 h 95250"/>
                    <a:gd name="connsiteX89" fmla="*/ 160757 w 200025"/>
                    <a:gd name="connsiteY89" fmla="*/ 31645 h 95250"/>
                    <a:gd name="connsiteX90" fmla="*/ 157070 w 200025"/>
                    <a:gd name="connsiteY90" fmla="*/ 31645 h 95250"/>
                    <a:gd name="connsiteX91" fmla="*/ 157070 w 200025"/>
                    <a:gd name="connsiteY91" fmla="*/ 27955 h 95250"/>
                    <a:gd name="connsiteX92" fmla="*/ 153375 w 200025"/>
                    <a:gd name="connsiteY92" fmla="*/ 27955 h 95250"/>
                    <a:gd name="connsiteX93" fmla="*/ 153375 w 200025"/>
                    <a:gd name="connsiteY93" fmla="*/ 27955 h 95250"/>
                    <a:gd name="connsiteX94" fmla="*/ 157070 w 200025"/>
                    <a:gd name="connsiteY94" fmla="*/ 31645 h 95250"/>
                    <a:gd name="connsiteX95" fmla="*/ 157070 w 200025"/>
                    <a:gd name="connsiteY95" fmla="*/ 35336 h 95250"/>
                    <a:gd name="connsiteX96" fmla="*/ 153375 w 200025"/>
                    <a:gd name="connsiteY96" fmla="*/ 35336 h 95250"/>
                    <a:gd name="connsiteX97" fmla="*/ 149689 w 200025"/>
                    <a:gd name="connsiteY97" fmla="*/ 35336 h 95250"/>
                    <a:gd name="connsiteX98" fmla="*/ 149689 w 200025"/>
                    <a:gd name="connsiteY98" fmla="*/ 35336 h 95250"/>
                    <a:gd name="connsiteX99" fmla="*/ 146002 w 200025"/>
                    <a:gd name="connsiteY99" fmla="*/ 31645 h 95250"/>
                    <a:gd name="connsiteX100" fmla="*/ 146002 w 200025"/>
                    <a:gd name="connsiteY100" fmla="*/ 31645 h 95250"/>
                    <a:gd name="connsiteX101" fmla="*/ 146002 w 200025"/>
                    <a:gd name="connsiteY101" fmla="*/ 31645 h 95250"/>
                    <a:gd name="connsiteX102" fmla="*/ 149689 w 200025"/>
                    <a:gd name="connsiteY102" fmla="*/ 35336 h 95250"/>
                    <a:gd name="connsiteX103" fmla="*/ 153375 w 200025"/>
                    <a:gd name="connsiteY103" fmla="*/ 39027 h 95250"/>
                    <a:gd name="connsiteX104" fmla="*/ 157070 w 200025"/>
                    <a:gd name="connsiteY104" fmla="*/ 39027 h 95250"/>
                    <a:gd name="connsiteX105" fmla="*/ 160757 w 200025"/>
                    <a:gd name="connsiteY105" fmla="*/ 39027 h 95250"/>
                    <a:gd name="connsiteX106" fmla="*/ 160757 w 200025"/>
                    <a:gd name="connsiteY106" fmla="*/ 39027 h 95250"/>
                    <a:gd name="connsiteX107" fmla="*/ 157070 w 200025"/>
                    <a:gd name="connsiteY107" fmla="*/ 42717 h 95250"/>
                    <a:gd name="connsiteX108" fmla="*/ 149689 w 200025"/>
                    <a:gd name="connsiteY108" fmla="*/ 42717 h 95250"/>
                    <a:gd name="connsiteX109" fmla="*/ 142316 w 200025"/>
                    <a:gd name="connsiteY109" fmla="*/ 42717 h 95250"/>
                    <a:gd name="connsiteX110" fmla="*/ 138621 w 200025"/>
                    <a:gd name="connsiteY110" fmla="*/ 42717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00025" h="95250">
                      <a:moveTo>
                        <a:pt x="138621" y="42717"/>
                      </a:moveTo>
                      <a:lnTo>
                        <a:pt x="123866" y="42717"/>
                      </a:lnTo>
                      <a:lnTo>
                        <a:pt x="116484" y="46408"/>
                      </a:lnTo>
                      <a:lnTo>
                        <a:pt x="112798" y="46408"/>
                      </a:lnTo>
                      <a:lnTo>
                        <a:pt x="109112" y="50098"/>
                      </a:lnTo>
                      <a:lnTo>
                        <a:pt x="109112" y="50098"/>
                      </a:lnTo>
                      <a:lnTo>
                        <a:pt x="101730" y="57480"/>
                      </a:lnTo>
                      <a:lnTo>
                        <a:pt x="98044" y="61170"/>
                      </a:lnTo>
                      <a:lnTo>
                        <a:pt x="98044" y="61170"/>
                      </a:lnTo>
                      <a:lnTo>
                        <a:pt x="94348" y="61170"/>
                      </a:lnTo>
                      <a:lnTo>
                        <a:pt x="90662" y="61170"/>
                      </a:lnTo>
                      <a:lnTo>
                        <a:pt x="90662" y="64861"/>
                      </a:lnTo>
                      <a:lnTo>
                        <a:pt x="86976" y="64861"/>
                      </a:lnTo>
                      <a:lnTo>
                        <a:pt x="83280" y="61170"/>
                      </a:lnTo>
                      <a:lnTo>
                        <a:pt x="83280" y="64861"/>
                      </a:lnTo>
                      <a:lnTo>
                        <a:pt x="79594" y="64861"/>
                      </a:lnTo>
                      <a:lnTo>
                        <a:pt x="75908" y="68552"/>
                      </a:lnTo>
                      <a:lnTo>
                        <a:pt x="75908" y="68552"/>
                      </a:lnTo>
                      <a:lnTo>
                        <a:pt x="75908" y="68552"/>
                      </a:lnTo>
                      <a:lnTo>
                        <a:pt x="72222" y="68552"/>
                      </a:lnTo>
                      <a:lnTo>
                        <a:pt x="72222" y="72242"/>
                      </a:lnTo>
                      <a:lnTo>
                        <a:pt x="72222" y="72242"/>
                      </a:lnTo>
                      <a:lnTo>
                        <a:pt x="68526" y="68552"/>
                      </a:lnTo>
                      <a:lnTo>
                        <a:pt x="64840" y="68552"/>
                      </a:lnTo>
                      <a:lnTo>
                        <a:pt x="64840" y="68552"/>
                      </a:lnTo>
                      <a:lnTo>
                        <a:pt x="61154" y="68552"/>
                      </a:lnTo>
                      <a:lnTo>
                        <a:pt x="57458" y="68552"/>
                      </a:lnTo>
                      <a:lnTo>
                        <a:pt x="57458" y="68552"/>
                      </a:lnTo>
                      <a:lnTo>
                        <a:pt x="53772" y="72242"/>
                      </a:lnTo>
                      <a:lnTo>
                        <a:pt x="50082" y="75933"/>
                      </a:lnTo>
                      <a:lnTo>
                        <a:pt x="46393" y="72242"/>
                      </a:lnTo>
                      <a:lnTo>
                        <a:pt x="42704" y="75933"/>
                      </a:lnTo>
                      <a:lnTo>
                        <a:pt x="39015" y="75933"/>
                      </a:lnTo>
                      <a:lnTo>
                        <a:pt x="35326" y="79623"/>
                      </a:lnTo>
                      <a:lnTo>
                        <a:pt x="35326" y="83314"/>
                      </a:lnTo>
                      <a:lnTo>
                        <a:pt x="35326" y="83314"/>
                      </a:lnTo>
                      <a:lnTo>
                        <a:pt x="35326" y="83314"/>
                      </a:lnTo>
                      <a:lnTo>
                        <a:pt x="31637" y="83314"/>
                      </a:lnTo>
                      <a:lnTo>
                        <a:pt x="24258" y="87004"/>
                      </a:lnTo>
                      <a:lnTo>
                        <a:pt x="27947" y="87004"/>
                      </a:lnTo>
                      <a:lnTo>
                        <a:pt x="24258" y="90694"/>
                      </a:lnTo>
                      <a:lnTo>
                        <a:pt x="20569" y="90694"/>
                      </a:lnTo>
                      <a:lnTo>
                        <a:pt x="13191" y="90694"/>
                      </a:lnTo>
                      <a:lnTo>
                        <a:pt x="9502" y="83314"/>
                      </a:lnTo>
                      <a:lnTo>
                        <a:pt x="5812" y="83314"/>
                      </a:lnTo>
                      <a:lnTo>
                        <a:pt x="5812" y="83314"/>
                      </a:lnTo>
                      <a:lnTo>
                        <a:pt x="5812" y="79623"/>
                      </a:lnTo>
                      <a:lnTo>
                        <a:pt x="9502" y="75933"/>
                      </a:lnTo>
                      <a:lnTo>
                        <a:pt x="16880" y="64861"/>
                      </a:lnTo>
                      <a:lnTo>
                        <a:pt x="24258" y="53789"/>
                      </a:lnTo>
                      <a:lnTo>
                        <a:pt x="24258" y="53789"/>
                      </a:lnTo>
                      <a:lnTo>
                        <a:pt x="31637" y="50098"/>
                      </a:lnTo>
                      <a:lnTo>
                        <a:pt x="39015" y="46408"/>
                      </a:lnTo>
                      <a:lnTo>
                        <a:pt x="53772" y="42717"/>
                      </a:lnTo>
                      <a:lnTo>
                        <a:pt x="75908" y="39027"/>
                      </a:lnTo>
                      <a:lnTo>
                        <a:pt x="83280" y="39027"/>
                      </a:lnTo>
                      <a:lnTo>
                        <a:pt x="105416" y="31645"/>
                      </a:lnTo>
                      <a:lnTo>
                        <a:pt x="123866" y="24264"/>
                      </a:lnTo>
                      <a:lnTo>
                        <a:pt x="164443" y="9502"/>
                      </a:lnTo>
                      <a:lnTo>
                        <a:pt x="175511" y="9502"/>
                      </a:lnTo>
                      <a:lnTo>
                        <a:pt x="186579" y="5812"/>
                      </a:lnTo>
                      <a:lnTo>
                        <a:pt x="190275" y="9502"/>
                      </a:lnTo>
                      <a:lnTo>
                        <a:pt x="193961" y="9502"/>
                      </a:lnTo>
                      <a:lnTo>
                        <a:pt x="197647" y="13192"/>
                      </a:lnTo>
                      <a:lnTo>
                        <a:pt x="197647" y="13192"/>
                      </a:lnTo>
                      <a:lnTo>
                        <a:pt x="197647" y="20574"/>
                      </a:lnTo>
                      <a:lnTo>
                        <a:pt x="197647" y="24264"/>
                      </a:lnTo>
                      <a:lnTo>
                        <a:pt x="197647" y="24264"/>
                      </a:lnTo>
                      <a:lnTo>
                        <a:pt x="197647" y="20574"/>
                      </a:lnTo>
                      <a:lnTo>
                        <a:pt x="197647" y="16883"/>
                      </a:lnTo>
                      <a:lnTo>
                        <a:pt x="193961" y="13192"/>
                      </a:lnTo>
                      <a:lnTo>
                        <a:pt x="193961" y="13192"/>
                      </a:lnTo>
                      <a:lnTo>
                        <a:pt x="193961" y="16883"/>
                      </a:lnTo>
                      <a:lnTo>
                        <a:pt x="190275" y="20574"/>
                      </a:lnTo>
                      <a:lnTo>
                        <a:pt x="190275" y="20574"/>
                      </a:lnTo>
                      <a:lnTo>
                        <a:pt x="186579" y="24264"/>
                      </a:lnTo>
                      <a:lnTo>
                        <a:pt x="179207" y="24264"/>
                      </a:lnTo>
                      <a:lnTo>
                        <a:pt x="175511" y="24264"/>
                      </a:lnTo>
                      <a:lnTo>
                        <a:pt x="168139" y="27955"/>
                      </a:lnTo>
                      <a:lnTo>
                        <a:pt x="168139" y="27955"/>
                      </a:lnTo>
                      <a:lnTo>
                        <a:pt x="168139" y="27955"/>
                      </a:lnTo>
                      <a:lnTo>
                        <a:pt x="164443" y="24264"/>
                      </a:lnTo>
                      <a:lnTo>
                        <a:pt x="164443" y="24264"/>
                      </a:lnTo>
                      <a:lnTo>
                        <a:pt x="164443" y="24264"/>
                      </a:lnTo>
                      <a:lnTo>
                        <a:pt x="164443" y="24264"/>
                      </a:lnTo>
                      <a:lnTo>
                        <a:pt x="164443" y="27955"/>
                      </a:lnTo>
                      <a:lnTo>
                        <a:pt x="168139" y="27955"/>
                      </a:lnTo>
                      <a:lnTo>
                        <a:pt x="164443" y="31645"/>
                      </a:lnTo>
                      <a:lnTo>
                        <a:pt x="160757" y="31645"/>
                      </a:lnTo>
                      <a:lnTo>
                        <a:pt x="160757" y="31645"/>
                      </a:lnTo>
                      <a:lnTo>
                        <a:pt x="157070" y="31645"/>
                      </a:lnTo>
                      <a:lnTo>
                        <a:pt x="157070" y="27955"/>
                      </a:lnTo>
                      <a:lnTo>
                        <a:pt x="153375" y="27955"/>
                      </a:lnTo>
                      <a:lnTo>
                        <a:pt x="153375" y="27955"/>
                      </a:lnTo>
                      <a:lnTo>
                        <a:pt x="157070" y="31645"/>
                      </a:lnTo>
                      <a:lnTo>
                        <a:pt x="157070" y="35336"/>
                      </a:lnTo>
                      <a:lnTo>
                        <a:pt x="153375" y="35336"/>
                      </a:lnTo>
                      <a:lnTo>
                        <a:pt x="149689" y="35336"/>
                      </a:lnTo>
                      <a:lnTo>
                        <a:pt x="149689" y="35336"/>
                      </a:lnTo>
                      <a:lnTo>
                        <a:pt x="146002" y="31645"/>
                      </a:lnTo>
                      <a:lnTo>
                        <a:pt x="146002" y="31645"/>
                      </a:lnTo>
                      <a:lnTo>
                        <a:pt x="146002" y="31645"/>
                      </a:lnTo>
                      <a:lnTo>
                        <a:pt x="149689" y="35336"/>
                      </a:lnTo>
                      <a:lnTo>
                        <a:pt x="153375" y="39027"/>
                      </a:lnTo>
                      <a:lnTo>
                        <a:pt x="157070" y="39027"/>
                      </a:lnTo>
                      <a:lnTo>
                        <a:pt x="160757" y="39027"/>
                      </a:lnTo>
                      <a:lnTo>
                        <a:pt x="160757" y="39027"/>
                      </a:lnTo>
                      <a:lnTo>
                        <a:pt x="157070" y="42717"/>
                      </a:lnTo>
                      <a:lnTo>
                        <a:pt x="149689" y="42717"/>
                      </a:lnTo>
                      <a:lnTo>
                        <a:pt x="142316" y="42717"/>
                      </a:lnTo>
                      <a:lnTo>
                        <a:pt x="138621" y="42717"/>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A5025320-9A7F-44F8-96C4-60A0386ABFD2}"/>
                    </a:ext>
                  </a:extLst>
                </p:cNvPr>
                <p:cNvSpPr/>
                <p:nvPr/>
              </p:nvSpPr>
              <p:spPr>
                <a:xfrm>
                  <a:off x="3048462" y="1540039"/>
                  <a:ext cx="64980" cy="43320"/>
                </a:xfrm>
                <a:custGeom>
                  <a:avLst/>
                  <a:gdLst>
                    <a:gd name="connsiteX0" fmla="*/ 27947 w 28575"/>
                    <a:gd name="connsiteY0" fmla="*/ 5812 h 19050"/>
                    <a:gd name="connsiteX1" fmla="*/ 27947 w 28575"/>
                    <a:gd name="connsiteY1" fmla="*/ 5812 h 19050"/>
                    <a:gd name="connsiteX2" fmla="*/ 24257 w 28575"/>
                    <a:gd name="connsiteY2" fmla="*/ 9503 h 19050"/>
                    <a:gd name="connsiteX3" fmla="*/ 20568 w 28575"/>
                    <a:gd name="connsiteY3" fmla="*/ 13193 h 19050"/>
                    <a:gd name="connsiteX4" fmla="*/ 16879 w 28575"/>
                    <a:gd name="connsiteY4" fmla="*/ 13193 h 19050"/>
                    <a:gd name="connsiteX5" fmla="*/ 13190 w 28575"/>
                    <a:gd name="connsiteY5" fmla="*/ 13193 h 19050"/>
                    <a:gd name="connsiteX6" fmla="*/ 9501 w 28575"/>
                    <a:gd name="connsiteY6" fmla="*/ 13193 h 19050"/>
                    <a:gd name="connsiteX7" fmla="*/ 9501 w 28575"/>
                    <a:gd name="connsiteY7" fmla="*/ 13193 h 19050"/>
                    <a:gd name="connsiteX8" fmla="*/ 9501 w 28575"/>
                    <a:gd name="connsiteY8" fmla="*/ 16883 h 19050"/>
                    <a:gd name="connsiteX9" fmla="*/ 9501 w 28575"/>
                    <a:gd name="connsiteY9" fmla="*/ 16883 h 19050"/>
                    <a:gd name="connsiteX10" fmla="*/ 5812 w 28575"/>
                    <a:gd name="connsiteY10" fmla="*/ 16883 h 19050"/>
                    <a:gd name="connsiteX11" fmla="*/ 5812 w 28575"/>
                    <a:gd name="connsiteY11" fmla="*/ 16883 h 19050"/>
                    <a:gd name="connsiteX12" fmla="*/ 5812 w 28575"/>
                    <a:gd name="connsiteY12" fmla="*/ 13193 h 19050"/>
                    <a:gd name="connsiteX13" fmla="*/ 5812 w 28575"/>
                    <a:gd name="connsiteY13" fmla="*/ 13193 h 19050"/>
                    <a:gd name="connsiteX14" fmla="*/ 9501 w 28575"/>
                    <a:gd name="connsiteY14" fmla="*/ 13193 h 19050"/>
                    <a:gd name="connsiteX15" fmla="*/ 5812 w 28575"/>
                    <a:gd name="connsiteY15" fmla="*/ 13193 h 19050"/>
                    <a:gd name="connsiteX16" fmla="*/ 9501 w 28575"/>
                    <a:gd name="connsiteY16" fmla="*/ 9503 h 19050"/>
                    <a:gd name="connsiteX17" fmla="*/ 13190 w 28575"/>
                    <a:gd name="connsiteY17" fmla="*/ 5812 h 19050"/>
                    <a:gd name="connsiteX18" fmla="*/ 20568 w 28575"/>
                    <a:gd name="connsiteY18" fmla="*/ 5812 h 19050"/>
                    <a:gd name="connsiteX19" fmla="*/ 27947 w 28575"/>
                    <a:gd name="connsiteY19" fmla="*/ 5812 h 19050"/>
                    <a:gd name="connsiteX20" fmla="*/ 27947 w 28575"/>
                    <a:gd name="connsiteY20"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8575" h="19050">
                      <a:moveTo>
                        <a:pt x="27947" y="5812"/>
                      </a:moveTo>
                      <a:lnTo>
                        <a:pt x="27947" y="5812"/>
                      </a:lnTo>
                      <a:lnTo>
                        <a:pt x="24257" y="9503"/>
                      </a:lnTo>
                      <a:lnTo>
                        <a:pt x="20568" y="13193"/>
                      </a:lnTo>
                      <a:lnTo>
                        <a:pt x="16879" y="13193"/>
                      </a:lnTo>
                      <a:lnTo>
                        <a:pt x="13190" y="13193"/>
                      </a:lnTo>
                      <a:lnTo>
                        <a:pt x="9501" y="13193"/>
                      </a:lnTo>
                      <a:lnTo>
                        <a:pt x="9501" y="13193"/>
                      </a:lnTo>
                      <a:lnTo>
                        <a:pt x="9501" y="16883"/>
                      </a:lnTo>
                      <a:lnTo>
                        <a:pt x="9501" y="16883"/>
                      </a:lnTo>
                      <a:lnTo>
                        <a:pt x="5812" y="16883"/>
                      </a:lnTo>
                      <a:lnTo>
                        <a:pt x="5812" y="16883"/>
                      </a:lnTo>
                      <a:lnTo>
                        <a:pt x="5812" y="13193"/>
                      </a:lnTo>
                      <a:lnTo>
                        <a:pt x="5812" y="13193"/>
                      </a:lnTo>
                      <a:lnTo>
                        <a:pt x="9501" y="13193"/>
                      </a:lnTo>
                      <a:lnTo>
                        <a:pt x="5812" y="13193"/>
                      </a:lnTo>
                      <a:lnTo>
                        <a:pt x="9501" y="9503"/>
                      </a:lnTo>
                      <a:lnTo>
                        <a:pt x="13190" y="5812"/>
                      </a:lnTo>
                      <a:lnTo>
                        <a:pt x="20568" y="5812"/>
                      </a:lnTo>
                      <a:lnTo>
                        <a:pt x="27947" y="5812"/>
                      </a:lnTo>
                      <a:lnTo>
                        <a:pt x="27947"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A839948A-8243-473D-A32B-07F40E241FE3}"/>
                    </a:ext>
                  </a:extLst>
                </p:cNvPr>
                <p:cNvSpPr/>
                <p:nvPr/>
              </p:nvSpPr>
              <p:spPr>
                <a:xfrm>
                  <a:off x="2763225" y="1523254"/>
                  <a:ext cx="281580" cy="194940"/>
                </a:xfrm>
                <a:custGeom>
                  <a:avLst/>
                  <a:gdLst>
                    <a:gd name="connsiteX0" fmla="*/ 105420 w 123825"/>
                    <a:gd name="connsiteY0" fmla="*/ 16883 h 85725"/>
                    <a:gd name="connsiteX1" fmla="*/ 105420 w 123825"/>
                    <a:gd name="connsiteY1" fmla="*/ 20574 h 85725"/>
                    <a:gd name="connsiteX2" fmla="*/ 101730 w 123825"/>
                    <a:gd name="connsiteY2" fmla="*/ 24264 h 85725"/>
                    <a:gd name="connsiteX3" fmla="*/ 94352 w 123825"/>
                    <a:gd name="connsiteY3" fmla="*/ 27955 h 85725"/>
                    <a:gd name="connsiteX4" fmla="*/ 72217 w 123825"/>
                    <a:gd name="connsiteY4" fmla="*/ 35336 h 85725"/>
                    <a:gd name="connsiteX5" fmla="*/ 64839 w 123825"/>
                    <a:gd name="connsiteY5" fmla="*/ 39027 h 85725"/>
                    <a:gd name="connsiteX6" fmla="*/ 64839 w 123825"/>
                    <a:gd name="connsiteY6" fmla="*/ 42717 h 85725"/>
                    <a:gd name="connsiteX7" fmla="*/ 64839 w 123825"/>
                    <a:gd name="connsiteY7" fmla="*/ 50098 h 85725"/>
                    <a:gd name="connsiteX8" fmla="*/ 68528 w 123825"/>
                    <a:gd name="connsiteY8" fmla="*/ 50098 h 85725"/>
                    <a:gd name="connsiteX9" fmla="*/ 68528 w 123825"/>
                    <a:gd name="connsiteY9" fmla="*/ 46408 h 85725"/>
                    <a:gd name="connsiteX10" fmla="*/ 68528 w 123825"/>
                    <a:gd name="connsiteY10" fmla="*/ 46408 h 85725"/>
                    <a:gd name="connsiteX11" fmla="*/ 68528 w 123825"/>
                    <a:gd name="connsiteY11" fmla="*/ 46408 h 85725"/>
                    <a:gd name="connsiteX12" fmla="*/ 68528 w 123825"/>
                    <a:gd name="connsiteY12" fmla="*/ 46408 h 85725"/>
                    <a:gd name="connsiteX13" fmla="*/ 72217 w 123825"/>
                    <a:gd name="connsiteY13" fmla="*/ 46408 h 85725"/>
                    <a:gd name="connsiteX14" fmla="*/ 68528 w 123825"/>
                    <a:gd name="connsiteY14" fmla="*/ 50098 h 85725"/>
                    <a:gd name="connsiteX15" fmla="*/ 64839 w 123825"/>
                    <a:gd name="connsiteY15" fmla="*/ 57480 h 85725"/>
                    <a:gd name="connsiteX16" fmla="*/ 64839 w 123825"/>
                    <a:gd name="connsiteY16" fmla="*/ 57480 h 85725"/>
                    <a:gd name="connsiteX17" fmla="*/ 64839 w 123825"/>
                    <a:gd name="connsiteY17" fmla="*/ 57480 h 85725"/>
                    <a:gd name="connsiteX18" fmla="*/ 53771 w 123825"/>
                    <a:gd name="connsiteY18" fmla="*/ 64861 h 85725"/>
                    <a:gd name="connsiteX19" fmla="*/ 50082 w 123825"/>
                    <a:gd name="connsiteY19" fmla="*/ 68552 h 85725"/>
                    <a:gd name="connsiteX20" fmla="*/ 46393 w 123825"/>
                    <a:gd name="connsiteY20" fmla="*/ 68552 h 85725"/>
                    <a:gd name="connsiteX21" fmla="*/ 46393 w 123825"/>
                    <a:gd name="connsiteY21" fmla="*/ 72242 h 85725"/>
                    <a:gd name="connsiteX22" fmla="*/ 42704 w 123825"/>
                    <a:gd name="connsiteY22" fmla="*/ 75933 h 85725"/>
                    <a:gd name="connsiteX23" fmla="*/ 35326 w 123825"/>
                    <a:gd name="connsiteY23" fmla="*/ 79623 h 85725"/>
                    <a:gd name="connsiteX24" fmla="*/ 35326 w 123825"/>
                    <a:gd name="connsiteY24" fmla="*/ 79623 h 85725"/>
                    <a:gd name="connsiteX25" fmla="*/ 35326 w 123825"/>
                    <a:gd name="connsiteY25" fmla="*/ 79623 h 85725"/>
                    <a:gd name="connsiteX26" fmla="*/ 31636 w 123825"/>
                    <a:gd name="connsiteY26" fmla="*/ 79623 h 85725"/>
                    <a:gd name="connsiteX27" fmla="*/ 24258 w 123825"/>
                    <a:gd name="connsiteY27" fmla="*/ 79623 h 85725"/>
                    <a:gd name="connsiteX28" fmla="*/ 13191 w 123825"/>
                    <a:gd name="connsiteY28" fmla="*/ 79623 h 85725"/>
                    <a:gd name="connsiteX29" fmla="*/ 9502 w 123825"/>
                    <a:gd name="connsiteY29" fmla="*/ 83314 h 85725"/>
                    <a:gd name="connsiteX30" fmla="*/ 9502 w 123825"/>
                    <a:gd name="connsiteY30" fmla="*/ 83314 h 85725"/>
                    <a:gd name="connsiteX31" fmla="*/ 9502 w 123825"/>
                    <a:gd name="connsiteY31" fmla="*/ 87005 h 85725"/>
                    <a:gd name="connsiteX32" fmla="*/ 13191 w 123825"/>
                    <a:gd name="connsiteY32" fmla="*/ 87005 h 85725"/>
                    <a:gd name="connsiteX33" fmla="*/ 9502 w 123825"/>
                    <a:gd name="connsiteY33" fmla="*/ 87005 h 85725"/>
                    <a:gd name="connsiteX34" fmla="*/ 5812 w 123825"/>
                    <a:gd name="connsiteY34" fmla="*/ 87005 h 85725"/>
                    <a:gd name="connsiteX35" fmla="*/ 5812 w 123825"/>
                    <a:gd name="connsiteY35" fmla="*/ 87005 h 85725"/>
                    <a:gd name="connsiteX36" fmla="*/ 5812 w 123825"/>
                    <a:gd name="connsiteY36" fmla="*/ 79623 h 85725"/>
                    <a:gd name="connsiteX37" fmla="*/ 5812 w 123825"/>
                    <a:gd name="connsiteY37" fmla="*/ 75933 h 85725"/>
                    <a:gd name="connsiteX38" fmla="*/ 5812 w 123825"/>
                    <a:gd name="connsiteY38" fmla="*/ 72242 h 85725"/>
                    <a:gd name="connsiteX39" fmla="*/ 27947 w 123825"/>
                    <a:gd name="connsiteY39" fmla="*/ 61170 h 85725"/>
                    <a:gd name="connsiteX40" fmla="*/ 39015 w 123825"/>
                    <a:gd name="connsiteY40" fmla="*/ 50098 h 85725"/>
                    <a:gd name="connsiteX41" fmla="*/ 46393 w 123825"/>
                    <a:gd name="connsiteY41" fmla="*/ 46408 h 85725"/>
                    <a:gd name="connsiteX42" fmla="*/ 53771 w 123825"/>
                    <a:gd name="connsiteY42" fmla="*/ 39027 h 85725"/>
                    <a:gd name="connsiteX43" fmla="*/ 57460 w 123825"/>
                    <a:gd name="connsiteY43" fmla="*/ 35336 h 85725"/>
                    <a:gd name="connsiteX44" fmla="*/ 72217 w 123825"/>
                    <a:gd name="connsiteY44" fmla="*/ 24264 h 85725"/>
                    <a:gd name="connsiteX45" fmla="*/ 79595 w 123825"/>
                    <a:gd name="connsiteY45" fmla="*/ 20574 h 85725"/>
                    <a:gd name="connsiteX46" fmla="*/ 83285 w 123825"/>
                    <a:gd name="connsiteY46" fmla="*/ 16883 h 85725"/>
                    <a:gd name="connsiteX47" fmla="*/ 83285 w 123825"/>
                    <a:gd name="connsiteY47" fmla="*/ 16883 h 85725"/>
                    <a:gd name="connsiteX48" fmla="*/ 94352 w 123825"/>
                    <a:gd name="connsiteY48" fmla="*/ 13192 h 85725"/>
                    <a:gd name="connsiteX49" fmla="*/ 101730 w 123825"/>
                    <a:gd name="connsiteY49" fmla="*/ 9503 h 85725"/>
                    <a:gd name="connsiteX50" fmla="*/ 109109 w 123825"/>
                    <a:gd name="connsiteY50" fmla="*/ 5812 h 85725"/>
                    <a:gd name="connsiteX51" fmla="*/ 112798 w 123825"/>
                    <a:gd name="connsiteY51" fmla="*/ 5812 h 85725"/>
                    <a:gd name="connsiteX52" fmla="*/ 123865 w 123825"/>
                    <a:gd name="connsiteY52" fmla="*/ 9503 h 85725"/>
                    <a:gd name="connsiteX53" fmla="*/ 123865 w 123825"/>
                    <a:gd name="connsiteY53" fmla="*/ 13192 h 85725"/>
                    <a:gd name="connsiteX54" fmla="*/ 120176 w 123825"/>
                    <a:gd name="connsiteY54" fmla="*/ 16883 h 85725"/>
                    <a:gd name="connsiteX55" fmla="*/ 120176 w 123825"/>
                    <a:gd name="connsiteY55" fmla="*/ 16883 h 85725"/>
                    <a:gd name="connsiteX56" fmla="*/ 120176 w 123825"/>
                    <a:gd name="connsiteY56" fmla="*/ 16883 h 85725"/>
                    <a:gd name="connsiteX57" fmla="*/ 116487 w 123825"/>
                    <a:gd name="connsiteY57" fmla="*/ 16883 h 85725"/>
                    <a:gd name="connsiteX58" fmla="*/ 112798 w 123825"/>
                    <a:gd name="connsiteY58" fmla="*/ 16883 h 85725"/>
                    <a:gd name="connsiteX59" fmla="*/ 105420 w 123825"/>
                    <a:gd name="connsiteY59" fmla="*/ 16883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23825" h="85725">
                      <a:moveTo>
                        <a:pt x="105420" y="16883"/>
                      </a:moveTo>
                      <a:lnTo>
                        <a:pt x="105420" y="20574"/>
                      </a:lnTo>
                      <a:lnTo>
                        <a:pt x="101730" y="24264"/>
                      </a:lnTo>
                      <a:lnTo>
                        <a:pt x="94352" y="27955"/>
                      </a:lnTo>
                      <a:lnTo>
                        <a:pt x="72217" y="35336"/>
                      </a:lnTo>
                      <a:lnTo>
                        <a:pt x="64839" y="39027"/>
                      </a:lnTo>
                      <a:lnTo>
                        <a:pt x="64839" y="42717"/>
                      </a:lnTo>
                      <a:lnTo>
                        <a:pt x="64839" y="50098"/>
                      </a:lnTo>
                      <a:lnTo>
                        <a:pt x="68528" y="50098"/>
                      </a:lnTo>
                      <a:lnTo>
                        <a:pt x="68528" y="46408"/>
                      </a:lnTo>
                      <a:lnTo>
                        <a:pt x="68528" y="46408"/>
                      </a:lnTo>
                      <a:lnTo>
                        <a:pt x="68528" y="46408"/>
                      </a:lnTo>
                      <a:lnTo>
                        <a:pt x="68528" y="46408"/>
                      </a:lnTo>
                      <a:lnTo>
                        <a:pt x="72217" y="46408"/>
                      </a:lnTo>
                      <a:lnTo>
                        <a:pt x="68528" y="50098"/>
                      </a:lnTo>
                      <a:lnTo>
                        <a:pt x="64839" y="57480"/>
                      </a:lnTo>
                      <a:lnTo>
                        <a:pt x="64839" y="57480"/>
                      </a:lnTo>
                      <a:lnTo>
                        <a:pt x="64839" y="57480"/>
                      </a:lnTo>
                      <a:lnTo>
                        <a:pt x="53771" y="64861"/>
                      </a:lnTo>
                      <a:lnTo>
                        <a:pt x="50082" y="68552"/>
                      </a:lnTo>
                      <a:lnTo>
                        <a:pt x="46393" y="68552"/>
                      </a:lnTo>
                      <a:lnTo>
                        <a:pt x="46393" y="72242"/>
                      </a:lnTo>
                      <a:lnTo>
                        <a:pt x="42704" y="75933"/>
                      </a:lnTo>
                      <a:lnTo>
                        <a:pt x="35326" y="79623"/>
                      </a:lnTo>
                      <a:lnTo>
                        <a:pt x="35326" y="79623"/>
                      </a:lnTo>
                      <a:lnTo>
                        <a:pt x="35326" y="79623"/>
                      </a:lnTo>
                      <a:lnTo>
                        <a:pt x="31636" y="79623"/>
                      </a:lnTo>
                      <a:lnTo>
                        <a:pt x="24258" y="79623"/>
                      </a:lnTo>
                      <a:lnTo>
                        <a:pt x="13191" y="79623"/>
                      </a:lnTo>
                      <a:lnTo>
                        <a:pt x="9502" y="83314"/>
                      </a:lnTo>
                      <a:lnTo>
                        <a:pt x="9502" y="83314"/>
                      </a:lnTo>
                      <a:lnTo>
                        <a:pt x="9502" y="87005"/>
                      </a:lnTo>
                      <a:lnTo>
                        <a:pt x="13191" y="87005"/>
                      </a:lnTo>
                      <a:lnTo>
                        <a:pt x="9502" y="87005"/>
                      </a:lnTo>
                      <a:lnTo>
                        <a:pt x="5812" y="87005"/>
                      </a:lnTo>
                      <a:lnTo>
                        <a:pt x="5812" y="87005"/>
                      </a:lnTo>
                      <a:lnTo>
                        <a:pt x="5812" y="79623"/>
                      </a:lnTo>
                      <a:lnTo>
                        <a:pt x="5812" y="75933"/>
                      </a:lnTo>
                      <a:lnTo>
                        <a:pt x="5812" y="72242"/>
                      </a:lnTo>
                      <a:lnTo>
                        <a:pt x="27947" y="61170"/>
                      </a:lnTo>
                      <a:lnTo>
                        <a:pt x="39015" y="50098"/>
                      </a:lnTo>
                      <a:lnTo>
                        <a:pt x="46393" y="46408"/>
                      </a:lnTo>
                      <a:lnTo>
                        <a:pt x="53771" y="39027"/>
                      </a:lnTo>
                      <a:lnTo>
                        <a:pt x="57460" y="35336"/>
                      </a:lnTo>
                      <a:lnTo>
                        <a:pt x="72217" y="24264"/>
                      </a:lnTo>
                      <a:lnTo>
                        <a:pt x="79595" y="20574"/>
                      </a:lnTo>
                      <a:lnTo>
                        <a:pt x="83285" y="16883"/>
                      </a:lnTo>
                      <a:lnTo>
                        <a:pt x="83285" y="16883"/>
                      </a:lnTo>
                      <a:lnTo>
                        <a:pt x="94352" y="13192"/>
                      </a:lnTo>
                      <a:lnTo>
                        <a:pt x="101730" y="9503"/>
                      </a:lnTo>
                      <a:lnTo>
                        <a:pt x="109109" y="5812"/>
                      </a:lnTo>
                      <a:lnTo>
                        <a:pt x="112798" y="5812"/>
                      </a:lnTo>
                      <a:lnTo>
                        <a:pt x="123865" y="9503"/>
                      </a:lnTo>
                      <a:lnTo>
                        <a:pt x="123865" y="13192"/>
                      </a:lnTo>
                      <a:lnTo>
                        <a:pt x="120176" y="16883"/>
                      </a:lnTo>
                      <a:lnTo>
                        <a:pt x="120176" y="16883"/>
                      </a:lnTo>
                      <a:lnTo>
                        <a:pt x="120176" y="16883"/>
                      </a:lnTo>
                      <a:lnTo>
                        <a:pt x="116487" y="16883"/>
                      </a:lnTo>
                      <a:lnTo>
                        <a:pt x="112798" y="16883"/>
                      </a:lnTo>
                      <a:lnTo>
                        <a:pt x="105420" y="1688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9A3FCFFB-4947-43CC-B2D3-0F723BC44808}"/>
                    </a:ext>
                  </a:extLst>
                </p:cNvPr>
                <p:cNvSpPr/>
                <p:nvPr/>
              </p:nvSpPr>
              <p:spPr>
                <a:xfrm>
                  <a:off x="4382359" y="1153991"/>
                  <a:ext cx="21660" cy="21660"/>
                </a:xfrm>
                <a:custGeom>
                  <a:avLst/>
                  <a:gdLst>
                    <a:gd name="connsiteX0" fmla="*/ 5812 w 9525"/>
                    <a:gd name="connsiteY0" fmla="*/ 5812 h 9525"/>
                    <a:gd name="connsiteX1" fmla="*/ 13184 w 9525"/>
                    <a:gd name="connsiteY1" fmla="*/ 5812 h 9525"/>
                    <a:gd name="connsiteX2" fmla="*/ 13184 w 9525"/>
                    <a:gd name="connsiteY2" fmla="*/ 5812 h 9525"/>
                    <a:gd name="connsiteX3" fmla="*/ 13184 w 9525"/>
                    <a:gd name="connsiteY3" fmla="*/ 9502 h 9525"/>
                    <a:gd name="connsiteX4" fmla="*/ 13184 w 9525"/>
                    <a:gd name="connsiteY4" fmla="*/ 9502 h 9525"/>
                    <a:gd name="connsiteX5" fmla="*/ 5812 w 9525"/>
                    <a:gd name="connsiteY5" fmla="*/ 13193 h 9525"/>
                    <a:gd name="connsiteX6" fmla="*/ 5812 w 9525"/>
                    <a:gd name="connsiteY6"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5812"/>
                      </a:moveTo>
                      <a:lnTo>
                        <a:pt x="13184" y="5812"/>
                      </a:lnTo>
                      <a:lnTo>
                        <a:pt x="13184" y="5812"/>
                      </a:lnTo>
                      <a:lnTo>
                        <a:pt x="13184" y="9502"/>
                      </a:lnTo>
                      <a:lnTo>
                        <a:pt x="13184" y="9502"/>
                      </a:lnTo>
                      <a:lnTo>
                        <a:pt x="5812" y="13193"/>
                      </a:lnTo>
                      <a:lnTo>
                        <a:pt x="5812"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1CDD3029-D26F-4C79-B33B-21C8A3C5E893}"/>
                    </a:ext>
                  </a:extLst>
                </p:cNvPr>
                <p:cNvSpPr/>
                <p:nvPr/>
              </p:nvSpPr>
              <p:spPr>
                <a:xfrm>
                  <a:off x="4491420" y="1070068"/>
                  <a:ext cx="86640" cy="86640"/>
                </a:xfrm>
                <a:custGeom>
                  <a:avLst/>
                  <a:gdLst>
                    <a:gd name="connsiteX0" fmla="*/ 24252 w 38100"/>
                    <a:gd name="connsiteY0" fmla="*/ 9502 h 38100"/>
                    <a:gd name="connsiteX1" fmla="*/ 24252 w 38100"/>
                    <a:gd name="connsiteY1" fmla="*/ 13193 h 38100"/>
                    <a:gd name="connsiteX2" fmla="*/ 24252 w 38100"/>
                    <a:gd name="connsiteY2" fmla="*/ 13193 h 38100"/>
                    <a:gd name="connsiteX3" fmla="*/ 27948 w 38100"/>
                    <a:gd name="connsiteY3" fmla="*/ 16883 h 38100"/>
                    <a:gd name="connsiteX4" fmla="*/ 31634 w 38100"/>
                    <a:gd name="connsiteY4" fmla="*/ 20574 h 38100"/>
                    <a:gd name="connsiteX5" fmla="*/ 35320 w 38100"/>
                    <a:gd name="connsiteY5" fmla="*/ 24264 h 38100"/>
                    <a:gd name="connsiteX6" fmla="*/ 31634 w 38100"/>
                    <a:gd name="connsiteY6" fmla="*/ 20574 h 38100"/>
                    <a:gd name="connsiteX7" fmla="*/ 27948 w 38100"/>
                    <a:gd name="connsiteY7" fmla="*/ 20574 h 38100"/>
                    <a:gd name="connsiteX8" fmla="*/ 20566 w 38100"/>
                    <a:gd name="connsiteY8" fmla="*/ 20574 h 38100"/>
                    <a:gd name="connsiteX9" fmla="*/ 16880 w 38100"/>
                    <a:gd name="connsiteY9" fmla="*/ 20574 h 38100"/>
                    <a:gd name="connsiteX10" fmla="*/ 16880 w 38100"/>
                    <a:gd name="connsiteY10" fmla="*/ 20574 h 38100"/>
                    <a:gd name="connsiteX11" fmla="*/ 16880 w 38100"/>
                    <a:gd name="connsiteY11" fmla="*/ 24264 h 38100"/>
                    <a:gd name="connsiteX12" fmla="*/ 16880 w 38100"/>
                    <a:gd name="connsiteY12" fmla="*/ 27955 h 38100"/>
                    <a:gd name="connsiteX13" fmla="*/ 20566 w 38100"/>
                    <a:gd name="connsiteY13" fmla="*/ 27955 h 38100"/>
                    <a:gd name="connsiteX14" fmla="*/ 20566 w 38100"/>
                    <a:gd name="connsiteY14" fmla="*/ 27955 h 38100"/>
                    <a:gd name="connsiteX15" fmla="*/ 16880 w 38100"/>
                    <a:gd name="connsiteY15" fmla="*/ 35336 h 38100"/>
                    <a:gd name="connsiteX16" fmla="*/ 13184 w 38100"/>
                    <a:gd name="connsiteY16" fmla="*/ 31646 h 38100"/>
                    <a:gd name="connsiteX17" fmla="*/ 9498 w 38100"/>
                    <a:gd name="connsiteY17" fmla="*/ 20574 h 38100"/>
                    <a:gd name="connsiteX18" fmla="*/ 5812 w 38100"/>
                    <a:gd name="connsiteY18" fmla="*/ 16883 h 38100"/>
                    <a:gd name="connsiteX19" fmla="*/ 5812 w 38100"/>
                    <a:gd name="connsiteY19" fmla="*/ 13193 h 38100"/>
                    <a:gd name="connsiteX20" fmla="*/ 9498 w 38100"/>
                    <a:gd name="connsiteY20" fmla="*/ 5812 h 38100"/>
                    <a:gd name="connsiteX21" fmla="*/ 13184 w 38100"/>
                    <a:gd name="connsiteY21" fmla="*/ 5812 h 38100"/>
                    <a:gd name="connsiteX22" fmla="*/ 16880 w 38100"/>
                    <a:gd name="connsiteY22" fmla="*/ 5812 h 38100"/>
                    <a:gd name="connsiteX23" fmla="*/ 20566 w 38100"/>
                    <a:gd name="connsiteY23" fmla="*/ 5812 h 38100"/>
                    <a:gd name="connsiteX24" fmla="*/ 24252 w 38100"/>
                    <a:gd name="connsiteY24" fmla="*/ 9502 h 38100"/>
                    <a:gd name="connsiteX25" fmla="*/ 24252 w 38100"/>
                    <a:gd name="connsiteY25" fmla="*/ 9502 h 38100"/>
                    <a:gd name="connsiteX26" fmla="*/ 24252 w 38100"/>
                    <a:gd name="connsiteY26" fmla="*/ 9502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8100" h="38100">
                      <a:moveTo>
                        <a:pt x="24252" y="9502"/>
                      </a:moveTo>
                      <a:lnTo>
                        <a:pt x="24252" y="13193"/>
                      </a:lnTo>
                      <a:lnTo>
                        <a:pt x="24252" y="13193"/>
                      </a:lnTo>
                      <a:lnTo>
                        <a:pt x="27948" y="16883"/>
                      </a:lnTo>
                      <a:lnTo>
                        <a:pt x="31634" y="20574"/>
                      </a:lnTo>
                      <a:lnTo>
                        <a:pt x="35320" y="24264"/>
                      </a:lnTo>
                      <a:lnTo>
                        <a:pt x="31634" y="20574"/>
                      </a:lnTo>
                      <a:lnTo>
                        <a:pt x="27948" y="20574"/>
                      </a:lnTo>
                      <a:lnTo>
                        <a:pt x="20566" y="20574"/>
                      </a:lnTo>
                      <a:lnTo>
                        <a:pt x="16880" y="20574"/>
                      </a:lnTo>
                      <a:lnTo>
                        <a:pt x="16880" y="20574"/>
                      </a:lnTo>
                      <a:lnTo>
                        <a:pt x="16880" y="24264"/>
                      </a:lnTo>
                      <a:lnTo>
                        <a:pt x="16880" y="27955"/>
                      </a:lnTo>
                      <a:lnTo>
                        <a:pt x="20566" y="27955"/>
                      </a:lnTo>
                      <a:lnTo>
                        <a:pt x="20566" y="27955"/>
                      </a:lnTo>
                      <a:lnTo>
                        <a:pt x="16880" y="35336"/>
                      </a:lnTo>
                      <a:lnTo>
                        <a:pt x="13184" y="31646"/>
                      </a:lnTo>
                      <a:lnTo>
                        <a:pt x="9498" y="20574"/>
                      </a:lnTo>
                      <a:lnTo>
                        <a:pt x="5812" y="16883"/>
                      </a:lnTo>
                      <a:lnTo>
                        <a:pt x="5812" y="13193"/>
                      </a:lnTo>
                      <a:lnTo>
                        <a:pt x="9498" y="5812"/>
                      </a:lnTo>
                      <a:lnTo>
                        <a:pt x="13184" y="5812"/>
                      </a:lnTo>
                      <a:lnTo>
                        <a:pt x="16880" y="5812"/>
                      </a:lnTo>
                      <a:lnTo>
                        <a:pt x="20566" y="5812"/>
                      </a:lnTo>
                      <a:lnTo>
                        <a:pt x="24252" y="9502"/>
                      </a:lnTo>
                      <a:lnTo>
                        <a:pt x="24252" y="9502"/>
                      </a:lnTo>
                      <a:lnTo>
                        <a:pt x="24252" y="950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CB3A8FC4-EFB6-4DC5-93C2-81C321B73940}"/>
                    </a:ext>
                  </a:extLst>
                </p:cNvPr>
                <p:cNvSpPr/>
                <p:nvPr/>
              </p:nvSpPr>
              <p:spPr>
                <a:xfrm>
                  <a:off x="4608857" y="1086853"/>
                  <a:ext cx="64980" cy="21660"/>
                </a:xfrm>
                <a:custGeom>
                  <a:avLst/>
                  <a:gdLst>
                    <a:gd name="connsiteX0" fmla="*/ 9498 w 28575"/>
                    <a:gd name="connsiteY0" fmla="*/ 5812 h 9525"/>
                    <a:gd name="connsiteX1" fmla="*/ 16880 w 28575"/>
                    <a:gd name="connsiteY1" fmla="*/ 5812 h 9525"/>
                    <a:gd name="connsiteX2" fmla="*/ 24262 w 28575"/>
                    <a:gd name="connsiteY2" fmla="*/ 5812 h 9525"/>
                    <a:gd name="connsiteX3" fmla="*/ 31634 w 28575"/>
                    <a:gd name="connsiteY3" fmla="*/ 9502 h 9525"/>
                    <a:gd name="connsiteX4" fmla="*/ 31634 w 28575"/>
                    <a:gd name="connsiteY4" fmla="*/ 13193 h 9525"/>
                    <a:gd name="connsiteX5" fmla="*/ 31634 w 28575"/>
                    <a:gd name="connsiteY5" fmla="*/ 9502 h 9525"/>
                    <a:gd name="connsiteX6" fmla="*/ 24262 w 28575"/>
                    <a:gd name="connsiteY6" fmla="*/ 9502 h 9525"/>
                    <a:gd name="connsiteX7" fmla="*/ 16880 w 28575"/>
                    <a:gd name="connsiteY7" fmla="*/ 9502 h 9525"/>
                    <a:gd name="connsiteX8" fmla="*/ 13194 w 28575"/>
                    <a:gd name="connsiteY8" fmla="*/ 9502 h 9525"/>
                    <a:gd name="connsiteX9" fmla="*/ 13194 w 28575"/>
                    <a:gd name="connsiteY9" fmla="*/ 9502 h 9525"/>
                    <a:gd name="connsiteX10" fmla="*/ 9498 w 28575"/>
                    <a:gd name="connsiteY10" fmla="*/ 9502 h 9525"/>
                    <a:gd name="connsiteX11" fmla="*/ 5812 w 28575"/>
                    <a:gd name="connsiteY11" fmla="*/ 13193 h 9525"/>
                    <a:gd name="connsiteX12" fmla="*/ 5812 w 28575"/>
                    <a:gd name="connsiteY12" fmla="*/ 13193 h 9525"/>
                    <a:gd name="connsiteX13" fmla="*/ 5812 w 28575"/>
                    <a:gd name="connsiteY13" fmla="*/ 9502 h 9525"/>
                    <a:gd name="connsiteX14" fmla="*/ 9498 w 28575"/>
                    <a:gd name="connsiteY14" fmla="*/ 5812 h 9525"/>
                    <a:gd name="connsiteX15" fmla="*/ 9498 w 28575"/>
                    <a:gd name="connsiteY15"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8575" h="9525">
                      <a:moveTo>
                        <a:pt x="9498" y="5812"/>
                      </a:moveTo>
                      <a:lnTo>
                        <a:pt x="16880" y="5812"/>
                      </a:lnTo>
                      <a:lnTo>
                        <a:pt x="24262" y="5812"/>
                      </a:lnTo>
                      <a:lnTo>
                        <a:pt x="31634" y="9502"/>
                      </a:lnTo>
                      <a:lnTo>
                        <a:pt x="31634" y="13193"/>
                      </a:lnTo>
                      <a:lnTo>
                        <a:pt x="31634" y="9502"/>
                      </a:lnTo>
                      <a:lnTo>
                        <a:pt x="24262" y="9502"/>
                      </a:lnTo>
                      <a:lnTo>
                        <a:pt x="16880" y="9502"/>
                      </a:lnTo>
                      <a:lnTo>
                        <a:pt x="13194" y="9502"/>
                      </a:lnTo>
                      <a:lnTo>
                        <a:pt x="13194" y="9502"/>
                      </a:lnTo>
                      <a:lnTo>
                        <a:pt x="9498" y="9502"/>
                      </a:lnTo>
                      <a:lnTo>
                        <a:pt x="5812" y="13193"/>
                      </a:lnTo>
                      <a:lnTo>
                        <a:pt x="5812" y="13193"/>
                      </a:lnTo>
                      <a:lnTo>
                        <a:pt x="5812" y="9502"/>
                      </a:lnTo>
                      <a:lnTo>
                        <a:pt x="9498" y="5812"/>
                      </a:lnTo>
                      <a:lnTo>
                        <a:pt x="9498"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79" name="Freeform: Shape 78">
                  <a:extLst>
                    <a:ext uri="{FF2B5EF4-FFF2-40B4-BE49-F238E27FC236}">
                      <a16:creationId xmlns:a16="http://schemas.microsoft.com/office/drawing/2014/main" id="{D9E7B0B0-31CE-4624-9CD1-7B8E610B02C5}"/>
                    </a:ext>
                  </a:extLst>
                </p:cNvPr>
                <p:cNvSpPr/>
                <p:nvPr/>
              </p:nvSpPr>
              <p:spPr>
                <a:xfrm>
                  <a:off x="4206179" y="1397371"/>
                  <a:ext cx="43320" cy="21660"/>
                </a:xfrm>
                <a:custGeom>
                  <a:avLst/>
                  <a:gdLst>
                    <a:gd name="connsiteX0" fmla="*/ 5812 w 19050"/>
                    <a:gd name="connsiteY0" fmla="*/ 5812 h 9525"/>
                    <a:gd name="connsiteX1" fmla="*/ 9498 w 19050"/>
                    <a:gd name="connsiteY1" fmla="*/ 9503 h 9525"/>
                    <a:gd name="connsiteX2" fmla="*/ 9498 w 19050"/>
                    <a:gd name="connsiteY2" fmla="*/ 5812 h 9525"/>
                    <a:gd name="connsiteX3" fmla="*/ 9498 w 19050"/>
                    <a:gd name="connsiteY3" fmla="*/ 5812 h 9525"/>
                    <a:gd name="connsiteX4" fmla="*/ 16879 w 19050"/>
                    <a:gd name="connsiteY4" fmla="*/ 9503 h 9525"/>
                    <a:gd name="connsiteX5" fmla="*/ 16879 w 19050"/>
                    <a:gd name="connsiteY5" fmla="*/ 9503 h 9525"/>
                    <a:gd name="connsiteX6" fmla="*/ 16879 w 19050"/>
                    <a:gd name="connsiteY6" fmla="*/ 13192 h 9525"/>
                    <a:gd name="connsiteX7" fmla="*/ 16879 w 19050"/>
                    <a:gd name="connsiteY7" fmla="*/ 13192 h 9525"/>
                    <a:gd name="connsiteX8" fmla="*/ 13184 w 19050"/>
                    <a:gd name="connsiteY8" fmla="*/ 13192 h 9525"/>
                    <a:gd name="connsiteX9" fmla="*/ 9498 w 19050"/>
                    <a:gd name="connsiteY9" fmla="*/ 13192 h 9525"/>
                    <a:gd name="connsiteX10" fmla="*/ 5812 w 19050"/>
                    <a:gd name="connsiteY10" fmla="*/ 9503 h 9525"/>
                    <a:gd name="connsiteX11" fmla="*/ 5812 w 19050"/>
                    <a:gd name="connsiteY11" fmla="*/ 5812 h 9525"/>
                    <a:gd name="connsiteX12" fmla="*/ 5812 w 19050"/>
                    <a:gd name="connsiteY12"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050" h="9525">
                      <a:moveTo>
                        <a:pt x="5812" y="5812"/>
                      </a:moveTo>
                      <a:lnTo>
                        <a:pt x="9498" y="9503"/>
                      </a:lnTo>
                      <a:lnTo>
                        <a:pt x="9498" y="5812"/>
                      </a:lnTo>
                      <a:lnTo>
                        <a:pt x="9498" y="5812"/>
                      </a:lnTo>
                      <a:lnTo>
                        <a:pt x="16879" y="9503"/>
                      </a:lnTo>
                      <a:lnTo>
                        <a:pt x="16879" y="9503"/>
                      </a:lnTo>
                      <a:lnTo>
                        <a:pt x="16879" y="13192"/>
                      </a:lnTo>
                      <a:lnTo>
                        <a:pt x="16879" y="13192"/>
                      </a:lnTo>
                      <a:lnTo>
                        <a:pt x="13184" y="13192"/>
                      </a:lnTo>
                      <a:lnTo>
                        <a:pt x="9498" y="13192"/>
                      </a:lnTo>
                      <a:lnTo>
                        <a:pt x="5812" y="9503"/>
                      </a:lnTo>
                      <a:lnTo>
                        <a:pt x="5812" y="5812"/>
                      </a:lnTo>
                      <a:lnTo>
                        <a:pt x="5812"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grpSp>
          <p:sp>
            <p:nvSpPr>
              <p:cNvPr id="80" name="Freeform: Shape 79">
                <a:extLst>
                  <a:ext uri="{FF2B5EF4-FFF2-40B4-BE49-F238E27FC236}">
                    <a16:creationId xmlns:a16="http://schemas.microsoft.com/office/drawing/2014/main" id="{EF3FF37A-B771-44BF-ADF2-F1A0CD497BD2}"/>
                  </a:ext>
                </a:extLst>
              </p:cNvPr>
              <p:cNvSpPr/>
              <p:nvPr/>
            </p:nvSpPr>
            <p:spPr>
              <a:xfrm>
                <a:off x="3950943" y="4379727"/>
                <a:ext cx="553302" cy="276651"/>
              </a:xfrm>
              <a:custGeom>
                <a:avLst/>
                <a:gdLst>
                  <a:gd name="connsiteX0" fmla="*/ 131243 w 247650"/>
                  <a:gd name="connsiteY0" fmla="*/ 105462 h 123825"/>
                  <a:gd name="connsiteX1" fmla="*/ 127554 w 247650"/>
                  <a:gd name="connsiteY1" fmla="*/ 109148 h 123825"/>
                  <a:gd name="connsiteX2" fmla="*/ 123865 w 247650"/>
                  <a:gd name="connsiteY2" fmla="*/ 109148 h 123825"/>
                  <a:gd name="connsiteX3" fmla="*/ 123865 w 247650"/>
                  <a:gd name="connsiteY3" fmla="*/ 109148 h 123825"/>
                  <a:gd name="connsiteX4" fmla="*/ 120176 w 247650"/>
                  <a:gd name="connsiteY4" fmla="*/ 109148 h 123825"/>
                  <a:gd name="connsiteX5" fmla="*/ 120176 w 247650"/>
                  <a:gd name="connsiteY5" fmla="*/ 109148 h 123825"/>
                  <a:gd name="connsiteX6" fmla="*/ 112798 w 247650"/>
                  <a:gd name="connsiteY6" fmla="*/ 105462 h 123825"/>
                  <a:gd name="connsiteX7" fmla="*/ 109108 w 247650"/>
                  <a:gd name="connsiteY7" fmla="*/ 105462 h 123825"/>
                  <a:gd name="connsiteX8" fmla="*/ 109108 w 247650"/>
                  <a:gd name="connsiteY8" fmla="*/ 105462 h 123825"/>
                  <a:gd name="connsiteX9" fmla="*/ 116487 w 247650"/>
                  <a:gd name="connsiteY9" fmla="*/ 101766 h 123825"/>
                  <a:gd name="connsiteX10" fmla="*/ 116487 w 247650"/>
                  <a:gd name="connsiteY10" fmla="*/ 98080 h 123825"/>
                  <a:gd name="connsiteX11" fmla="*/ 116487 w 247650"/>
                  <a:gd name="connsiteY11" fmla="*/ 101766 h 123825"/>
                  <a:gd name="connsiteX12" fmla="*/ 109108 w 247650"/>
                  <a:gd name="connsiteY12" fmla="*/ 105462 h 123825"/>
                  <a:gd name="connsiteX13" fmla="*/ 105419 w 247650"/>
                  <a:gd name="connsiteY13" fmla="*/ 105462 h 123825"/>
                  <a:gd name="connsiteX14" fmla="*/ 109108 w 247650"/>
                  <a:gd name="connsiteY14" fmla="*/ 98080 h 123825"/>
                  <a:gd name="connsiteX15" fmla="*/ 105419 w 247650"/>
                  <a:gd name="connsiteY15" fmla="*/ 94385 h 123825"/>
                  <a:gd name="connsiteX16" fmla="*/ 105419 w 247650"/>
                  <a:gd name="connsiteY16" fmla="*/ 87003 h 123825"/>
                  <a:gd name="connsiteX17" fmla="*/ 101730 w 247650"/>
                  <a:gd name="connsiteY17" fmla="*/ 87003 h 123825"/>
                  <a:gd name="connsiteX18" fmla="*/ 101730 w 247650"/>
                  <a:gd name="connsiteY18" fmla="*/ 83317 h 123825"/>
                  <a:gd name="connsiteX19" fmla="*/ 101730 w 247650"/>
                  <a:gd name="connsiteY19" fmla="*/ 79621 h 123825"/>
                  <a:gd name="connsiteX20" fmla="*/ 98041 w 247650"/>
                  <a:gd name="connsiteY20" fmla="*/ 72248 h 123825"/>
                  <a:gd name="connsiteX21" fmla="*/ 90663 w 247650"/>
                  <a:gd name="connsiteY21" fmla="*/ 68553 h 123825"/>
                  <a:gd name="connsiteX22" fmla="*/ 86973 w 247650"/>
                  <a:gd name="connsiteY22" fmla="*/ 72248 h 123825"/>
                  <a:gd name="connsiteX23" fmla="*/ 86973 w 247650"/>
                  <a:gd name="connsiteY23" fmla="*/ 68553 h 123825"/>
                  <a:gd name="connsiteX24" fmla="*/ 75906 w 247650"/>
                  <a:gd name="connsiteY24" fmla="*/ 64867 h 123825"/>
                  <a:gd name="connsiteX25" fmla="*/ 75906 w 247650"/>
                  <a:gd name="connsiteY25" fmla="*/ 64867 h 123825"/>
                  <a:gd name="connsiteX26" fmla="*/ 75906 w 247650"/>
                  <a:gd name="connsiteY26" fmla="*/ 64867 h 123825"/>
                  <a:gd name="connsiteX27" fmla="*/ 75906 w 247650"/>
                  <a:gd name="connsiteY27" fmla="*/ 61171 h 123825"/>
                  <a:gd name="connsiteX28" fmla="*/ 75906 w 247650"/>
                  <a:gd name="connsiteY28" fmla="*/ 61171 h 123825"/>
                  <a:gd name="connsiteX29" fmla="*/ 75906 w 247650"/>
                  <a:gd name="connsiteY29" fmla="*/ 57485 h 123825"/>
                  <a:gd name="connsiteX30" fmla="*/ 72217 w 247650"/>
                  <a:gd name="connsiteY30" fmla="*/ 53789 h 123825"/>
                  <a:gd name="connsiteX31" fmla="*/ 64838 w 247650"/>
                  <a:gd name="connsiteY31" fmla="*/ 53789 h 123825"/>
                  <a:gd name="connsiteX32" fmla="*/ 61149 w 247650"/>
                  <a:gd name="connsiteY32" fmla="*/ 53789 h 123825"/>
                  <a:gd name="connsiteX33" fmla="*/ 57460 w 247650"/>
                  <a:gd name="connsiteY33" fmla="*/ 57485 h 123825"/>
                  <a:gd name="connsiteX34" fmla="*/ 57460 w 247650"/>
                  <a:gd name="connsiteY34" fmla="*/ 61171 h 123825"/>
                  <a:gd name="connsiteX35" fmla="*/ 61149 w 247650"/>
                  <a:gd name="connsiteY35" fmla="*/ 61171 h 123825"/>
                  <a:gd name="connsiteX36" fmla="*/ 64838 w 247650"/>
                  <a:gd name="connsiteY36" fmla="*/ 57485 h 123825"/>
                  <a:gd name="connsiteX37" fmla="*/ 68528 w 247650"/>
                  <a:gd name="connsiteY37" fmla="*/ 61171 h 123825"/>
                  <a:gd name="connsiteX38" fmla="*/ 64838 w 247650"/>
                  <a:gd name="connsiteY38" fmla="*/ 57485 h 123825"/>
                  <a:gd name="connsiteX39" fmla="*/ 61149 w 247650"/>
                  <a:gd name="connsiteY39" fmla="*/ 61171 h 123825"/>
                  <a:gd name="connsiteX40" fmla="*/ 53771 w 247650"/>
                  <a:gd name="connsiteY40" fmla="*/ 61171 h 123825"/>
                  <a:gd name="connsiteX41" fmla="*/ 50082 w 247650"/>
                  <a:gd name="connsiteY41" fmla="*/ 68553 h 123825"/>
                  <a:gd name="connsiteX42" fmla="*/ 42704 w 247650"/>
                  <a:gd name="connsiteY42" fmla="*/ 72248 h 123825"/>
                  <a:gd name="connsiteX43" fmla="*/ 42704 w 247650"/>
                  <a:gd name="connsiteY43" fmla="*/ 72248 h 123825"/>
                  <a:gd name="connsiteX44" fmla="*/ 42704 w 247650"/>
                  <a:gd name="connsiteY44" fmla="*/ 72248 h 123825"/>
                  <a:gd name="connsiteX45" fmla="*/ 42704 w 247650"/>
                  <a:gd name="connsiteY45" fmla="*/ 72248 h 123825"/>
                  <a:gd name="connsiteX46" fmla="*/ 39014 w 247650"/>
                  <a:gd name="connsiteY46" fmla="*/ 72248 h 123825"/>
                  <a:gd name="connsiteX47" fmla="*/ 35325 w 247650"/>
                  <a:gd name="connsiteY47" fmla="*/ 72248 h 123825"/>
                  <a:gd name="connsiteX48" fmla="*/ 27947 w 247650"/>
                  <a:gd name="connsiteY48" fmla="*/ 75935 h 123825"/>
                  <a:gd name="connsiteX49" fmla="*/ 24258 w 247650"/>
                  <a:gd name="connsiteY49" fmla="*/ 79621 h 123825"/>
                  <a:gd name="connsiteX50" fmla="*/ 24258 w 247650"/>
                  <a:gd name="connsiteY50" fmla="*/ 87003 h 123825"/>
                  <a:gd name="connsiteX51" fmla="*/ 24258 w 247650"/>
                  <a:gd name="connsiteY51" fmla="*/ 87003 h 123825"/>
                  <a:gd name="connsiteX52" fmla="*/ 27947 w 247650"/>
                  <a:gd name="connsiteY52" fmla="*/ 87003 h 123825"/>
                  <a:gd name="connsiteX53" fmla="*/ 27947 w 247650"/>
                  <a:gd name="connsiteY53" fmla="*/ 90698 h 123825"/>
                  <a:gd name="connsiteX54" fmla="*/ 24258 w 247650"/>
                  <a:gd name="connsiteY54" fmla="*/ 90698 h 123825"/>
                  <a:gd name="connsiteX55" fmla="*/ 24258 w 247650"/>
                  <a:gd name="connsiteY55" fmla="*/ 90698 h 123825"/>
                  <a:gd name="connsiteX56" fmla="*/ 24258 w 247650"/>
                  <a:gd name="connsiteY56" fmla="*/ 90698 h 123825"/>
                  <a:gd name="connsiteX57" fmla="*/ 20569 w 247650"/>
                  <a:gd name="connsiteY57" fmla="*/ 87003 h 123825"/>
                  <a:gd name="connsiteX58" fmla="*/ 20569 w 247650"/>
                  <a:gd name="connsiteY58" fmla="*/ 87003 h 123825"/>
                  <a:gd name="connsiteX59" fmla="*/ 20569 w 247650"/>
                  <a:gd name="connsiteY59" fmla="*/ 87003 h 123825"/>
                  <a:gd name="connsiteX60" fmla="*/ 24258 w 247650"/>
                  <a:gd name="connsiteY60" fmla="*/ 87003 h 123825"/>
                  <a:gd name="connsiteX61" fmla="*/ 24258 w 247650"/>
                  <a:gd name="connsiteY61" fmla="*/ 87003 h 123825"/>
                  <a:gd name="connsiteX62" fmla="*/ 24258 w 247650"/>
                  <a:gd name="connsiteY62" fmla="*/ 79621 h 123825"/>
                  <a:gd name="connsiteX63" fmla="*/ 24258 w 247650"/>
                  <a:gd name="connsiteY63" fmla="*/ 79621 h 123825"/>
                  <a:gd name="connsiteX64" fmla="*/ 20569 w 247650"/>
                  <a:gd name="connsiteY64" fmla="*/ 75935 h 123825"/>
                  <a:gd name="connsiteX65" fmla="*/ 16879 w 247650"/>
                  <a:gd name="connsiteY65" fmla="*/ 75935 h 123825"/>
                  <a:gd name="connsiteX66" fmla="*/ 13190 w 247650"/>
                  <a:gd name="connsiteY66" fmla="*/ 75935 h 123825"/>
                  <a:gd name="connsiteX67" fmla="*/ 13190 w 247650"/>
                  <a:gd name="connsiteY67" fmla="*/ 72248 h 123825"/>
                  <a:gd name="connsiteX68" fmla="*/ 9501 w 247650"/>
                  <a:gd name="connsiteY68" fmla="*/ 68553 h 123825"/>
                  <a:gd name="connsiteX69" fmla="*/ 5812 w 247650"/>
                  <a:gd name="connsiteY69" fmla="*/ 61171 h 123825"/>
                  <a:gd name="connsiteX70" fmla="*/ 5812 w 247650"/>
                  <a:gd name="connsiteY70" fmla="*/ 53789 h 123825"/>
                  <a:gd name="connsiteX71" fmla="*/ 5812 w 247650"/>
                  <a:gd name="connsiteY71" fmla="*/ 46407 h 123825"/>
                  <a:gd name="connsiteX72" fmla="*/ 5812 w 247650"/>
                  <a:gd name="connsiteY72" fmla="*/ 42721 h 123825"/>
                  <a:gd name="connsiteX73" fmla="*/ 9501 w 247650"/>
                  <a:gd name="connsiteY73" fmla="*/ 35339 h 123825"/>
                  <a:gd name="connsiteX74" fmla="*/ 16879 w 247650"/>
                  <a:gd name="connsiteY74" fmla="*/ 27957 h 123825"/>
                  <a:gd name="connsiteX75" fmla="*/ 24258 w 247650"/>
                  <a:gd name="connsiteY75" fmla="*/ 24271 h 123825"/>
                  <a:gd name="connsiteX76" fmla="*/ 27947 w 247650"/>
                  <a:gd name="connsiteY76" fmla="*/ 24271 h 123825"/>
                  <a:gd name="connsiteX77" fmla="*/ 31636 w 247650"/>
                  <a:gd name="connsiteY77" fmla="*/ 24271 h 123825"/>
                  <a:gd name="connsiteX78" fmla="*/ 46393 w 247650"/>
                  <a:gd name="connsiteY78" fmla="*/ 20575 h 123825"/>
                  <a:gd name="connsiteX79" fmla="*/ 50082 w 247650"/>
                  <a:gd name="connsiteY79" fmla="*/ 16889 h 123825"/>
                  <a:gd name="connsiteX80" fmla="*/ 57460 w 247650"/>
                  <a:gd name="connsiteY80" fmla="*/ 16889 h 123825"/>
                  <a:gd name="connsiteX81" fmla="*/ 64838 w 247650"/>
                  <a:gd name="connsiteY81" fmla="*/ 16889 h 123825"/>
                  <a:gd name="connsiteX82" fmla="*/ 75906 w 247650"/>
                  <a:gd name="connsiteY82" fmla="*/ 20575 h 123825"/>
                  <a:gd name="connsiteX83" fmla="*/ 75906 w 247650"/>
                  <a:gd name="connsiteY83" fmla="*/ 16889 h 123825"/>
                  <a:gd name="connsiteX84" fmla="*/ 75906 w 247650"/>
                  <a:gd name="connsiteY84" fmla="*/ 16889 h 123825"/>
                  <a:gd name="connsiteX85" fmla="*/ 75906 w 247650"/>
                  <a:gd name="connsiteY85" fmla="*/ 13194 h 123825"/>
                  <a:gd name="connsiteX86" fmla="*/ 79595 w 247650"/>
                  <a:gd name="connsiteY86" fmla="*/ 9507 h 123825"/>
                  <a:gd name="connsiteX87" fmla="*/ 79595 w 247650"/>
                  <a:gd name="connsiteY87" fmla="*/ 5812 h 123825"/>
                  <a:gd name="connsiteX88" fmla="*/ 83284 w 247650"/>
                  <a:gd name="connsiteY88" fmla="*/ 5812 h 123825"/>
                  <a:gd name="connsiteX89" fmla="*/ 86973 w 247650"/>
                  <a:gd name="connsiteY89" fmla="*/ 5812 h 123825"/>
                  <a:gd name="connsiteX90" fmla="*/ 83284 w 247650"/>
                  <a:gd name="connsiteY90" fmla="*/ 9507 h 123825"/>
                  <a:gd name="connsiteX91" fmla="*/ 86973 w 247650"/>
                  <a:gd name="connsiteY91" fmla="*/ 9507 h 123825"/>
                  <a:gd name="connsiteX92" fmla="*/ 83284 w 247650"/>
                  <a:gd name="connsiteY92" fmla="*/ 13194 h 123825"/>
                  <a:gd name="connsiteX93" fmla="*/ 83284 w 247650"/>
                  <a:gd name="connsiteY93" fmla="*/ 13194 h 123825"/>
                  <a:gd name="connsiteX94" fmla="*/ 83284 w 247650"/>
                  <a:gd name="connsiteY94" fmla="*/ 13194 h 123825"/>
                  <a:gd name="connsiteX95" fmla="*/ 83284 w 247650"/>
                  <a:gd name="connsiteY95" fmla="*/ 13194 h 123825"/>
                  <a:gd name="connsiteX96" fmla="*/ 83284 w 247650"/>
                  <a:gd name="connsiteY96" fmla="*/ 9507 h 123825"/>
                  <a:gd name="connsiteX97" fmla="*/ 83284 w 247650"/>
                  <a:gd name="connsiteY97" fmla="*/ 9507 h 123825"/>
                  <a:gd name="connsiteX98" fmla="*/ 79595 w 247650"/>
                  <a:gd name="connsiteY98" fmla="*/ 9507 h 123825"/>
                  <a:gd name="connsiteX99" fmla="*/ 79595 w 247650"/>
                  <a:gd name="connsiteY99" fmla="*/ 13194 h 123825"/>
                  <a:gd name="connsiteX100" fmla="*/ 75906 w 247650"/>
                  <a:gd name="connsiteY100" fmla="*/ 20575 h 123825"/>
                  <a:gd name="connsiteX101" fmla="*/ 79595 w 247650"/>
                  <a:gd name="connsiteY101" fmla="*/ 20575 h 123825"/>
                  <a:gd name="connsiteX102" fmla="*/ 83284 w 247650"/>
                  <a:gd name="connsiteY102" fmla="*/ 20575 h 123825"/>
                  <a:gd name="connsiteX103" fmla="*/ 86973 w 247650"/>
                  <a:gd name="connsiteY103" fmla="*/ 20575 h 123825"/>
                  <a:gd name="connsiteX104" fmla="*/ 90663 w 247650"/>
                  <a:gd name="connsiteY104" fmla="*/ 20575 h 123825"/>
                  <a:gd name="connsiteX105" fmla="*/ 90663 w 247650"/>
                  <a:gd name="connsiteY105" fmla="*/ 20575 h 123825"/>
                  <a:gd name="connsiteX106" fmla="*/ 90663 w 247650"/>
                  <a:gd name="connsiteY106" fmla="*/ 20575 h 123825"/>
                  <a:gd name="connsiteX107" fmla="*/ 101730 w 247650"/>
                  <a:gd name="connsiteY107" fmla="*/ 20575 h 123825"/>
                  <a:gd name="connsiteX108" fmla="*/ 109108 w 247650"/>
                  <a:gd name="connsiteY108" fmla="*/ 16889 h 123825"/>
                  <a:gd name="connsiteX109" fmla="*/ 109108 w 247650"/>
                  <a:gd name="connsiteY109" fmla="*/ 16889 h 123825"/>
                  <a:gd name="connsiteX110" fmla="*/ 112798 w 247650"/>
                  <a:gd name="connsiteY110" fmla="*/ 20575 h 123825"/>
                  <a:gd name="connsiteX111" fmla="*/ 112798 w 247650"/>
                  <a:gd name="connsiteY111" fmla="*/ 20575 h 123825"/>
                  <a:gd name="connsiteX112" fmla="*/ 116487 w 247650"/>
                  <a:gd name="connsiteY112" fmla="*/ 24271 h 123825"/>
                  <a:gd name="connsiteX113" fmla="*/ 116487 w 247650"/>
                  <a:gd name="connsiteY113" fmla="*/ 27957 h 123825"/>
                  <a:gd name="connsiteX114" fmla="*/ 120176 w 247650"/>
                  <a:gd name="connsiteY114" fmla="*/ 27957 h 123825"/>
                  <a:gd name="connsiteX115" fmla="*/ 120176 w 247650"/>
                  <a:gd name="connsiteY115" fmla="*/ 27957 h 123825"/>
                  <a:gd name="connsiteX116" fmla="*/ 123865 w 247650"/>
                  <a:gd name="connsiteY116" fmla="*/ 27957 h 123825"/>
                  <a:gd name="connsiteX117" fmla="*/ 127554 w 247650"/>
                  <a:gd name="connsiteY117" fmla="*/ 27957 h 123825"/>
                  <a:gd name="connsiteX118" fmla="*/ 134932 w 247650"/>
                  <a:gd name="connsiteY118" fmla="*/ 24271 h 123825"/>
                  <a:gd name="connsiteX119" fmla="*/ 138622 w 247650"/>
                  <a:gd name="connsiteY119" fmla="*/ 27957 h 123825"/>
                  <a:gd name="connsiteX120" fmla="*/ 149690 w 247650"/>
                  <a:gd name="connsiteY120" fmla="*/ 27957 h 123825"/>
                  <a:gd name="connsiteX121" fmla="*/ 149690 w 247650"/>
                  <a:gd name="connsiteY121" fmla="*/ 27957 h 123825"/>
                  <a:gd name="connsiteX122" fmla="*/ 149690 w 247650"/>
                  <a:gd name="connsiteY122" fmla="*/ 31643 h 123825"/>
                  <a:gd name="connsiteX123" fmla="*/ 149690 w 247650"/>
                  <a:gd name="connsiteY123" fmla="*/ 31643 h 123825"/>
                  <a:gd name="connsiteX124" fmla="*/ 149690 w 247650"/>
                  <a:gd name="connsiteY124" fmla="*/ 27957 h 123825"/>
                  <a:gd name="connsiteX125" fmla="*/ 153379 w 247650"/>
                  <a:gd name="connsiteY125" fmla="*/ 31643 h 123825"/>
                  <a:gd name="connsiteX126" fmla="*/ 153379 w 247650"/>
                  <a:gd name="connsiteY126" fmla="*/ 39025 h 123825"/>
                  <a:gd name="connsiteX127" fmla="*/ 153379 w 247650"/>
                  <a:gd name="connsiteY127" fmla="*/ 39025 h 123825"/>
                  <a:gd name="connsiteX128" fmla="*/ 157068 w 247650"/>
                  <a:gd name="connsiteY128" fmla="*/ 42721 h 123825"/>
                  <a:gd name="connsiteX129" fmla="*/ 164447 w 247650"/>
                  <a:gd name="connsiteY129" fmla="*/ 50103 h 123825"/>
                  <a:gd name="connsiteX130" fmla="*/ 168136 w 247650"/>
                  <a:gd name="connsiteY130" fmla="*/ 57485 h 123825"/>
                  <a:gd name="connsiteX131" fmla="*/ 168136 w 247650"/>
                  <a:gd name="connsiteY131" fmla="*/ 64867 h 123825"/>
                  <a:gd name="connsiteX132" fmla="*/ 171825 w 247650"/>
                  <a:gd name="connsiteY132" fmla="*/ 64867 h 123825"/>
                  <a:gd name="connsiteX133" fmla="*/ 179203 w 247650"/>
                  <a:gd name="connsiteY133" fmla="*/ 64867 h 123825"/>
                  <a:gd name="connsiteX134" fmla="*/ 182893 w 247650"/>
                  <a:gd name="connsiteY134" fmla="*/ 64867 h 123825"/>
                  <a:gd name="connsiteX135" fmla="*/ 190271 w 247650"/>
                  <a:gd name="connsiteY135" fmla="*/ 68553 h 123825"/>
                  <a:gd name="connsiteX136" fmla="*/ 190271 w 247650"/>
                  <a:gd name="connsiteY136" fmla="*/ 68553 h 123825"/>
                  <a:gd name="connsiteX137" fmla="*/ 201338 w 247650"/>
                  <a:gd name="connsiteY137" fmla="*/ 75935 h 123825"/>
                  <a:gd name="connsiteX138" fmla="*/ 205028 w 247650"/>
                  <a:gd name="connsiteY138" fmla="*/ 75935 h 123825"/>
                  <a:gd name="connsiteX139" fmla="*/ 205028 w 247650"/>
                  <a:gd name="connsiteY139" fmla="*/ 75935 h 123825"/>
                  <a:gd name="connsiteX140" fmla="*/ 205028 w 247650"/>
                  <a:gd name="connsiteY140" fmla="*/ 79621 h 123825"/>
                  <a:gd name="connsiteX141" fmla="*/ 208717 w 247650"/>
                  <a:gd name="connsiteY141" fmla="*/ 79621 h 123825"/>
                  <a:gd name="connsiteX142" fmla="*/ 216095 w 247650"/>
                  <a:gd name="connsiteY142" fmla="*/ 72248 h 123825"/>
                  <a:gd name="connsiteX143" fmla="*/ 219784 w 247650"/>
                  <a:gd name="connsiteY143" fmla="*/ 72248 h 123825"/>
                  <a:gd name="connsiteX144" fmla="*/ 223473 w 247650"/>
                  <a:gd name="connsiteY144" fmla="*/ 72248 h 123825"/>
                  <a:gd name="connsiteX145" fmla="*/ 223473 w 247650"/>
                  <a:gd name="connsiteY145" fmla="*/ 72248 h 123825"/>
                  <a:gd name="connsiteX146" fmla="*/ 234541 w 247650"/>
                  <a:gd name="connsiteY146" fmla="*/ 72248 h 123825"/>
                  <a:gd name="connsiteX147" fmla="*/ 234541 w 247650"/>
                  <a:gd name="connsiteY147" fmla="*/ 72248 h 123825"/>
                  <a:gd name="connsiteX148" fmla="*/ 238230 w 247650"/>
                  <a:gd name="connsiteY148" fmla="*/ 68553 h 123825"/>
                  <a:gd name="connsiteX149" fmla="*/ 241919 w 247650"/>
                  <a:gd name="connsiteY149" fmla="*/ 68553 h 123825"/>
                  <a:gd name="connsiteX150" fmla="*/ 241919 w 247650"/>
                  <a:gd name="connsiteY150" fmla="*/ 75935 h 123825"/>
                  <a:gd name="connsiteX151" fmla="*/ 241919 w 247650"/>
                  <a:gd name="connsiteY151" fmla="*/ 79621 h 123825"/>
                  <a:gd name="connsiteX152" fmla="*/ 245608 w 247650"/>
                  <a:gd name="connsiteY152" fmla="*/ 79621 h 123825"/>
                  <a:gd name="connsiteX153" fmla="*/ 245608 w 247650"/>
                  <a:gd name="connsiteY153" fmla="*/ 79621 h 123825"/>
                  <a:gd name="connsiteX154" fmla="*/ 241919 w 247650"/>
                  <a:gd name="connsiteY154" fmla="*/ 83317 h 123825"/>
                  <a:gd name="connsiteX155" fmla="*/ 241919 w 247650"/>
                  <a:gd name="connsiteY155" fmla="*/ 83317 h 123825"/>
                  <a:gd name="connsiteX156" fmla="*/ 238230 w 247650"/>
                  <a:gd name="connsiteY156" fmla="*/ 83317 h 123825"/>
                  <a:gd name="connsiteX157" fmla="*/ 241919 w 247650"/>
                  <a:gd name="connsiteY157" fmla="*/ 79621 h 123825"/>
                  <a:gd name="connsiteX158" fmla="*/ 241919 w 247650"/>
                  <a:gd name="connsiteY158" fmla="*/ 79621 h 123825"/>
                  <a:gd name="connsiteX159" fmla="*/ 238230 w 247650"/>
                  <a:gd name="connsiteY159" fmla="*/ 75935 h 123825"/>
                  <a:gd name="connsiteX160" fmla="*/ 238230 w 247650"/>
                  <a:gd name="connsiteY160" fmla="*/ 72248 h 123825"/>
                  <a:gd name="connsiteX161" fmla="*/ 234541 w 247650"/>
                  <a:gd name="connsiteY161" fmla="*/ 72248 h 123825"/>
                  <a:gd name="connsiteX162" fmla="*/ 234541 w 247650"/>
                  <a:gd name="connsiteY162" fmla="*/ 75935 h 123825"/>
                  <a:gd name="connsiteX163" fmla="*/ 230852 w 247650"/>
                  <a:gd name="connsiteY163" fmla="*/ 72248 h 123825"/>
                  <a:gd name="connsiteX164" fmla="*/ 219784 w 247650"/>
                  <a:gd name="connsiteY164" fmla="*/ 75935 h 123825"/>
                  <a:gd name="connsiteX165" fmla="*/ 216095 w 247650"/>
                  <a:gd name="connsiteY165" fmla="*/ 75935 h 123825"/>
                  <a:gd name="connsiteX166" fmla="*/ 212406 w 247650"/>
                  <a:gd name="connsiteY166" fmla="*/ 79621 h 123825"/>
                  <a:gd name="connsiteX167" fmla="*/ 208717 w 247650"/>
                  <a:gd name="connsiteY167" fmla="*/ 79621 h 123825"/>
                  <a:gd name="connsiteX168" fmla="*/ 208717 w 247650"/>
                  <a:gd name="connsiteY168" fmla="*/ 83317 h 123825"/>
                  <a:gd name="connsiteX169" fmla="*/ 212406 w 247650"/>
                  <a:gd name="connsiteY169" fmla="*/ 87003 h 123825"/>
                  <a:gd name="connsiteX170" fmla="*/ 212406 w 247650"/>
                  <a:gd name="connsiteY170" fmla="*/ 87003 h 123825"/>
                  <a:gd name="connsiteX171" fmla="*/ 212406 w 247650"/>
                  <a:gd name="connsiteY171" fmla="*/ 90698 h 123825"/>
                  <a:gd name="connsiteX172" fmla="*/ 212406 w 247650"/>
                  <a:gd name="connsiteY172" fmla="*/ 90698 h 123825"/>
                  <a:gd name="connsiteX173" fmla="*/ 212406 w 247650"/>
                  <a:gd name="connsiteY173" fmla="*/ 90698 h 123825"/>
                  <a:gd name="connsiteX174" fmla="*/ 212406 w 247650"/>
                  <a:gd name="connsiteY174" fmla="*/ 90698 h 123825"/>
                  <a:gd name="connsiteX175" fmla="*/ 208717 w 247650"/>
                  <a:gd name="connsiteY175" fmla="*/ 94385 h 123825"/>
                  <a:gd name="connsiteX176" fmla="*/ 212406 w 247650"/>
                  <a:gd name="connsiteY176" fmla="*/ 94385 h 123825"/>
                  <a:gd name="connsiteX177" fmla="*/ 212406 w 247650"/>
                  <a:gd name="connsiteY177" fmla="*/ 90698 h 123825"/>
                  <a:gd name="connsiteX178" fmla="*/ 208717 w 247650"/>
                  <a:gd name="connsiteY178" fmla="*/ 94385 h 123825"/>
                  <a:gd name="connsiteX179" fmla="*/ 208717 w 247650"/>
                  <a:gd name="connsiteY179" fmla="*/ 98080 h 123825"/>
                  <a:gd name="connsiteX180" fmla="*/ 205028 w 247650"/>
                  <a:gd name="connsiteY180" fmla="*/ 98080 h 123825"/>
                  <a:gd name="connsiteX181" fmla="*/ 201338 w 247650"/>
                  <a:gd name="connsiteY181" fmla="*/ 101766 h 123825"/>
                  <a:gd name="connsiteX182" fmla="*/ 197649 w 247650"/>
                  <a:gd name="connsiteY182" fmla="*/ 109148 h 123825"/>
                  <a:gd name="connsiteX183" fmla="*/ 193960 w 247650"/>
                  <a:gd name="connsiteY183" fmla="*/ 109148 h 123825"/>
                  <a:gd name="connsiteX184" fmla="*/ 190271 w 247650"/>
                  <a:gd name="connsiteY184" fmla="*/ 112844 h 123825"/>
                  <a:gd name="connsiteX185" fmla="*/ 186582 w 247650"/>
                  <a:gd name="connsiteY185" fmla="*/ 109148 h 123825"/>
                  <a:gd name="connsiteX186" fmla="*/ 179203 w 247650"/>
                  <a:gd name="connsiteY186" fmla="*/ 112844 h 123825"/>
                  <a:gd name="connsiteX187" fmla="*/ 175514 w 247650"/>
                  <a:gd name="connsiteY187" fmla="*/ 116530 h 123825"/>
                  <a:gd name="connsiteX188" fmla="*/ 168136 w 247650"/>
                  <a:gd name="connsiteY188" fmla="*/ 116530 h 123825"/>
                  <a:gd name="connsiteX189" fmla="*/ 168136 w 247650"/>
                  <a:gd name="connsiteY189" fmla="*/ 120226 h 123825"/>
                  <a:gd name="connsiteX190" fmla="*/ 157068 w 247650"/>
                  <a:gd name="connsiteY190" fmla="*/ 120226 h 123825"/>
                  <a:gd name="connsiteX191" fmla="*/ 153379 w 247650"/>
                  <a:gd name="connsiteY191" fmla="*/ 120226 h 123825"/>
                  <a:gd name="connsiteX192" fmla="*/ 146000 w 247650"/>
                  <a:gd name="connsiteY192" fmla="*/ 120226 h 123825"/>
                  <a:gd name="connsiteX193" fmla="*/ 142311 w 247650"/>
                  <a:gd name="connsiteY193" fmla="*/ 120226 h 123825"/>
                  <a:gd name="connsiteX194" fmla="*/ 142311 w 247650"/>
                  <a:gd name="connsiteY194" fmla="*/ 120226 h 123825"/>
                  <a:gd name="connsiteX195" fmla="*/ 134932 w 247650"/>
                  <a:gd name="connsiteY195" fmla="*/ 112844 h 123825"/>
                  <a:gd name="connsiteX196" fmla="*/ 134932 w 247650"/>
                  <a:gd name="connsiteY196" fmla="*/ 112844 h 123825"/>
                  <a:gd name="connsiteX197" fmla="*/ 134932 w 247650"/>
                  <a:gd name="connsiteY197" fmla="*/ 112844 h 123825"/>
                  <a:gd name="connsiteX198" fmla="*/ 131243 w 247650"/>
                  <a:gd name="connsiteY198" fmla="*/ 105462 h 123825"/>
                  <a:gd name="connsiteX199" fmla="*/ 131243 w 247650"/>
                  <a:gd name="connsiteY199" fmla="*/ 105462 h 123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247650" h="123825">
                    <a:moveTo>
                      <a:pt x="131243" y="105462"/>
                    </a:moveTo>
                    <a:lnTo>
                      <a:pt x="127554" y="109148"/>
                    </a:lnTo>
                    <a:lnTo>
                      <a:pt x="123865" y="109148"/>
                    </a:lnTo>
                    <a:lnTo>
                      <a:pt x="123865" y="109148"/>
                    </a:lnTo>
                    <a:lnTo>
                      <a:pt x="120176" y="109148"/>
                    </a:lnTo>
                    <a:lnTo>
                      <a:pt x="120176" y="109148"/>
                    </a:lnTo>
                    <a:lnTo>
                      <a:pt x="112798" y="105462"/>
                    </a:lnTo>
                    <a:lnTo>
                      <a:pt x="109108" y="105462"/>
                    </a:lnTo>
                    <a:lnTo>
                      <a:pt x="109108" y="105462"/>
                    </a:lnTo>
                    <a:lnTo>
                      <a:pt x="116487" y="101766"/>
                    </a:lnTo>
                    <a:lnTo>
                      <a:pt x="116487" y="98080"/>
                    </a:lnTo>
                    <a:lnTo>
                      <a:pt x="116487" y="101766"/>
                    </a:lnTo>
                    <a:lnTo>
                      <a:pt x="109108" y="105462"/>
                    </a:lnTo>
                    <a:lnTo>
                      <a:pt x="105419" y="105462"/>
                    </a:lnTo>
                    <a:lnTo>
                      <a:pt x="109108" y="98080"/>
                    </a:lnTo>
                    <a:lnTo>
                      <a:pt x="105419" y="94385"/>
                    </a:lnTo>
                    <a:lnTo>
                      <a:pt x="105419" y="87003"/>
                    </a:lnTo>
                    <a:lnTo>
                      <a:pt x="101730" y="87003"/>
                    </a:lnTo>
                    <a:lnTo>
                      <a:pt x="101730" y="83317"/>
                    </a:lnTo>
                    <a:lnTo>
                      <a:pt x="101730" y="79621"/>
                    </a:lnTo>
                    <a:lnTo>
                      <a:pt x="98041" y="72248"/>
                    </a:lnTo>
                    <a:lnTo>
                      <a:pt x="90663" y="68553"/>
                    </a:lnTo>
                    <a:lnTo>
                      <a:pt x="86973" y="72248"/>
                    </a:lnTo>
                    <a:lnTo>
                      <a:pt x="86973" y="68553"/>
                    </a:lnTo>
                    <a:lnTo>
                      <a:pt x="75906" y="64867"/>
                    </a:lnTo>
                    <a:lnTo>
                      <a:pt x="75906" y="64867"/>
                    </a:lnTo>
                    <a:lnTo>
                      <a:pt x="75906" y="64867"/>
                    </a:lnTo>
                    <a:lnTo>
                      <a:pt x="75906" y="61171"/>
                    </a:lnTo>
                    <a:lnTo>
                      <a:pt x="75906" y="61171"/>
                    </a:lnTo>
                    <a:lnTo>
                      <a:pt x="75906" y="57485"/>
                    </a:lnTo>
                    <a:lnTo>
                      <a:pt x="72217" y="53789"/>
                    </a:lnTo>
                    <a:lnTo>
                      <a:pt x="64838" y="53789"/>
                    </a:lnTo>
                    <a:lnTo>
                      <a:pt x="61149" y="53789"/>
                    </a:lnTo>
                    <a:lnTo>
                      <a:pt x="57460" y="57485"/>
                    </a:lnTo>
                    <a:lnTo>
                      <a:pt x="57460" y="61171"/>
                    </a:lnTo>
                    <a:lnTo>
                      <a:pt x="61149" y="61171"/>
                    </a:lnTo>
                    <a:lnTo>
                      <a:pt x="64838" y="57485"/>
                    </a:lnTo>
                    <a:lnTo>
                      <a:pt x="68528" y="61171"/>
                    </a:lnTo>
                    <a:lnTo>
                      <a:pt x="64838" y="57485"/>
                    </a:lnTo>
                    <a:lnTo>
                      <a:pt x="61149" y="61171"/>
                    </a:lnTo>
                    <a:lnTo>
                      <a:pt x="53771" y="61171"/>
                    </a:lnTo>
                    <a:lnTo>
                      <a:pt x="50082" y="68553"/>
                    </a:lnTo>
                    <a:lnTo>
                      <a:pt x="42704" y="72248"/>
                    </a:lnTo>
                    <a:lnTo>
                      <a:pt x="42704" y="72248"/>
                    </a:lnTo>
                    <a:lnTo>
                      <a:pt x="42704" y="72248"/>
                    </a:lnTo>
                    <a:lnTo>
                      <a:pt x="42704" y="72248"/>
                    </a:lnTo>
                    <a:lnTo>
                      <a:pt x="39014" y="72248"/>
                    </a:lnTo>
                    <a:lnTo>
                      <a:pt x="35325" y="72248"/>
                    </a:lnTo>
                    <a:lnTo>
                      <a:pt x="27947" y="75935"/>
                    </a:lnTo>
                    <a:lnTo>
                      <a:pt x="24258" y="79621"/>
                    </a:lnTo>
                    <a:lnTo>
                      <a:pt x="24258" y="87003"/>
                    </a:lnTo>
                    <a:lnTo>
                      <a:pt x="24258" y="87003"/>
                    </a:lnTo>
                    <a:lnTo>
                      <a:pt x="27947" y="87003"/>
                    </a:lnTo>
                    <a:lnTo>
                      <a:pt x="27947" y="90698"/>
                    </a:lnTo>
                    <a:lnTo>
                      <a:pt x="24258" y="90698"/>
                    </a:lnTo>
                    <a:lnTo>
                      <a:pt x="24258" y="90698"/>
                    </a:lnTo>
                    <a:lnTo>
                      <a:pt x="24258" y="90698"/>
                    </a:lnTo>
                    <a:lnTo>
                      <a:pt x="20569" y="87003"/>
                    </a:lnTo>
                    <a:lnTo>
                      <a:pt x="20569" y="87003"/>
                    </a:lnTo>
                    <a:lnTo>
                      <a:pt x="20569" y="87003"/>
                    </a:lnTo>
                    <a:lnTo>
                      <a:pt x="24258" y="87003"/>
                    </a:lnTo>
                    <a:lnTo>
                      <a:pt x="24258" y="87003"/>
                    </a:lnTo>
                    <a:lnTo>
                      <a:pt x="24258" y="79621"/>
                    </a:lnTo>
                    <a:lnTo>
                      <a:pt x="24258" y="79621"/>
                    </a:lnTo>
                    <a:lnTo>
                      <a:pt x="20569" y="75935"/>
                    </a:lnTo>
                    <a:lnTo>
                      <a:pt x="16879" y="75935"/>
                    </a:lnTo>
                    <a:lnTo>
                      <a:pt x="13190" y="75935"/>
                    </a:lnTo>
                    <a:lnTo>
                      <a:pt x="13190" y="72248"/>
                    </a:lnTo>
                    <a:lnTo>
                      <a:pt x="9501" y="68553"/>
                    </a:lnTo>
                    <a:lnTo>
                      <a:pt x="5812" y="61171"/>
                    </a:lnTo>
                    <a:lnTo>
                      <a:pt x="5812" y="53789"/>
                    </a:lnTo>
                    <a:lnTo>
                      <a:pt x="5812" y="46407"/>
                    </a:lnTo>
                    <a:lnTo>
                      <a:pt x="5812" y="42721"/>
                    </a:lnTo>
                    <a:lnTo>
                      <a:pt x="9501" y="35339"/>
                    </a:lnTo>
                    <a:lnTo>
                      <a:pt x="16879" y="27957"/>
                    </a:lnTo>
                    <a:lnTo>
                      <a:pt x="24258" y="24271"/>
                    </a:lnTo>
                    <a:lnTo>
                      <a:pt x="27947" y="24271"/>
                    </a:lnTo>
                    <a:lnTo>
                      <a:pt x="31636" y="24271"/>
                    </a:lnTo>
                    <a:lnTo>
                      <a:pt x="46393" y="20575"/>
                    </a:lnTo>
                    <a:lnTo>
                      <a:pt x="50082" y="16889"/>
                    </a:lnTo>
                    <a:lnTo>
                      <a:pt x="57460" y="16889"/>
                    </a:lnTo>
                    <a:lnTo>
                      <a:pt x="64838" y="16889"/>
                    </a:lnTo>
                    <a:lnTo>
                      <a:pt x="75906" y="20575"/>
                    </a:lnTo>
                    <a:lnTo>
                      <a:pt x="75906" y="16889"/>
                    </a:lnTo>
                    <a:lnTo>
                      <a:pt x="75906" y="16889"/>
                    </a:lnTo>
                    <a:lnTo>
                      <a:pt x="75906" y="13194"/>
                    </a:lnTo>
                    <a:lnTo>
                      <a:pt x="79595" y="9507"/>
                    </a:lnTo>
                    <a:lnTo>
                      <a:pt x="79595" y="5812"/>
                    </a:lnTo>
                    <a:lnTo>
                      <a:pt x="83284" y="5812"/>
                    </a:lnTo>
                    <a:lnTo>
                      <a:pt x="86973" y="5812"/>
                    </a:lnTo>
                    <a:lnTo>
                      <a:pt x="83284" y="9507"/>
                    </a:lnTo>
                    <a:lnTo>
                      <a:pt x="86973" y="9507"/>
                    </a:lnTo>
                    <a:lnTo>
                      <a:pt x="83284" y="13194"/>
                    </a:lnTo>
                    <a:lnTo>
                      <a:pt x="83284" y="13194"/>
                    </a:lnTo>
                    <a:lnTo>
                      <a:pt x="83284" y="13194"/>
                    </a:lnTo>
                    <a:lnTo>
                      <a:pt x="83284" y="13194"/>
                    </a:lnTo>
                    <a:lnTo>
                      <a:pt x="83284" y="9507"/>
                    </a:lnTo>
                    <a:lnTo>
                      <a:pt x="83284" y="9507"/>
                    </a:lnTo>
                    <a:lnTo>
                      <a:pt x="79595" y="9507"/>
                    </a:lnTo>
                    <a:lnTo>
                      <a:pt x="79595" y="13194"/>
                    </a:lnTo>
                    <a:lnTo>
                      <a:pt x="75906" y="20575"/>
                    </a:lnTo>
                    <a:lnTo>
                      <a:pt x="79595" y="20575"/>
                    </a:lnTo>
                    <a:lnTo>
                      <a:pt x="83284" y="20575"/>
                    </a:lnTo>
                    <a:lnTo>
                      <a:pt x="86973" y="20575"/>
                    </a:lnTo>
                    <a:lnTo>
                      <a:pt x="90663" y="20575"/>
                    </a:lnTo>
                    <a:lnTo>
                      <a:pt x="90663" y="20575"/>
                    </a:lnTo>
                    <a:lnTo>
                      <a:pt x="90663" y="20575"/>
                    </a:lnTo>
                    <a:lnTo>
                      <a:pt x="101730" y="20575"/>
                    </a:lnTo>
                    <a:lnTo>
                      <a:pt x="109108" y="16889"/>
                    </a:lnTo>
                    <a:lnTo>
                      <a:pt x="109108" y="16889"/>
                    </a:lnTo>
                    <a:lnTo>
                      <a:pt x="112798" y="20575"/>
                    </a:lnTo>
                    <a:lnTo>
                      <a:pt x="112798" y="20575"/>
                    </a:lnTo>
                    <a:lnTo>
                      <a:pt x="116487" y="24271"/>
                    </a:lnTo>
                    <a:lnTo>
                      <a:pt x="116487" y="27957"/>
                    </a:lnTo>
                    <a:lnTo>
                      <a:pt x="120176" y="27957"/>
                    </a:lnTo>
                    <a:lnTo>
                      <a:pt x="120176" y="27957"/>
                    </a:lnTo>
                    <a:lnTo>
                      <a:pt x="123865" y="27957"/>
                    </a:lnTo>
                    <a:lnTo>
                      <a:pt x="127554" y="27957"/>
                    </a:lnTo>
                    <a:lnTo>
                      <a:pt x="134932" y="24271"/>
                    </a:lnTo>
                    <a:lnTo>
                      <a:pt x="138622" y="27957"/>
                    </a:lnTo>
                    <a:lnTo>
                      <a:pt x="149690" y="27957"/>
                    </a:lnTo>
                    <a:lnTo>
                      <a:pt x="149690" y="27957"/>
                    </a:lnTo>
                    <a:lnTo>
                      <a:pt x="149690" y="31643"/>
                    </a:lnTo>
                    <a:lnTo>
                      <a:pt x="149690" y="31643"/>
                    </a:lnTo>
                    <a:lnTo>
                      <a:pt x="149690" y="27957"/>
                    </a:lnTo>
                    <a:lnTo>
                      <a:pt x="153379" y="31643"/>
                    </a:lnTo>
                    <a:lnTo>
                      <a:pt x="153379" y="39025"/>
                    </a:lnTo>
                    <a:lnTo>
                      <a:pt x="153379" y="39025"/>
                    </a:lnTo>
                    <a:lnTo>
                      <a:pt x="157068" y="42721"/>
                    </a:lnTo>
                    <a:lnTo>
                      <a:pt x="164447" y="50103"/>
                    </a:lnTo>
                    <a:lnTo>
                      <a:pt x="168136" y="57485"/>
                    </a:lnTo>
                    <a:lnTo>
                      <a:pt x="168136" y="64867"/>
                    </a:lnTo>
                    <a:lnTo>
                      <a:pt x="171825" y="64867"/>
                    </a:lnTo>
                    <a:lnTo>
                      <a:pt x="179203" y="64867"/>
                    </a:lnTo>
                    <a:lnTo>
                      <a:pt x="182893" y="64867"/>
                    </a:lnTo>
                    <a:lnTo>
                      <a:pt x="190271" y="68553"/>
                    </a:lnTo>
                    <a:lnTo>
                      <a:pt x="190271" y="68553"/>
                    </a:lnTo>
                    <a:lnTo>
                      <a:pt x="201338" y="75935"/>
                    </a:lnTo>
                    <a:lnTo>
                      <a:pt x="205028" y="75935"/>
                    </a:lnTo>
                    <a:lnTo>
                      <a:pt x="205028" y="75935"/>
                    </a:lnTo>
                    <a:lnTo>
                      <a:pt x="205028" y="79621"/>
                    </a:lnTo>
                    <a:lnTo>
                      <a:pt x="208717" y="79621"/>
                    </a:lnTo>
                    <a:lnTo>
                      <a:pt x="216095" y="72248"/>
                    </a:lnTo>
                    <a:lnTo>
                      <a:pt x="219784" y="72248"/>
                    </a:lnTo>
                    <a:lnTo>
                      <a:pt x="223473" y="72248"/>
                    </a:lnTo>
                    <a:lnTo>
                      <a:pt x="223473" y="72248"/>
                    </a:lnTo>
                    <a:lnTo>
                      <a:pt x="234541" y="72248"/>
                    </a:lnTo>
                    <a:lnTo>
                      <a:pt x="234541" y="72248"/>
                    </a:lnTo>
                    <a:lnTo>
                      <a:pt x="238230" y="68553"/>
                    </a:lnTo>
                    <a:lnTo>
                      <a:pt x="241919" y="68553"/>
                    </a:lnTo>
                    <a:lnTo>
                      <a:pt x="241919" y="75935"/>
                    </a:lnTo>
                    <a:lnTo>
                      <a:pt x="241919" y="79621"/>
                    </a:lnTo>
                    <a:lnTo>
                      <a:pt x="245608" y="79621"/>
                    </a:lnTo>
                    <a:lnTo>
                      <a:pt x="245608" y="79621"/>
                    </a:lnTo>
                    <a:lnTo>
                      <a:pt x="241919" y="83317"/>
                    </a:lnTo>
                    <a:lnTo>
                      <a:pt x="241919" y="83317"/>
                    </a:lnTo>
                    <a:lnTo>
                      <a:pt x="238230" y="83317"/>
                    </a:lnTo>
                    <a:lnTo>
                      <a:pt x="241919" y="79621"/>
                    </a:lnTo>
                    <a:lnTo>
                      <a:pt x="241919" y="79621"/>
                    </a:lnTo>
                    <a:lnTo>
                      <a:pt x="238230" y="75935"/>
                    </a:lnTo>
                    <a:lnTo>
                      <a:pt x="238230" y="72248"/>
                    </a:lnTo>
                    <a:lnTo>
                      <a:pt x="234541" y="72248"/>
                    </a:lnTo>
                    <a:lnTo>
                      <a:pt x="234541" y="75935"/>
                    </a:lnTo>
                    <a:lnTo>
                      <a:pt x="230852" y="72248"/>
                    </a:lnTo>
                    <a:lnTo>
                      <a:pt x="219784" y="75935"/>
                    </a:lnTo>
                    <a:lnTo>
                      <a:pt x="216095" y="75935"/>
                    </a:lnTo>
                    <a:lnTo>
                      <a:pt x="212406" y="79621"/>
                    </a:lnTo>
                    <a:lnTo>
                      <a:pt x="208717" y="79621"/>
                    </a:lnTo>
                    <a:lnTo>
                      <a:pt x="208717" y="83317"/>
                    </a:lnTo>
                    <a:lnTo>
                      <a:pt x="212406" y="87003"/>
                    </a:lnTo>
                    <a:lnTo>
                      <a:pt x="212406" y="87003"/>
                    </a:lnTo>
                    <a:lnTo>
                      <a:pt x="212406" y="90698"/>
                    </a:lnTo>
                    <a:lnTo>
                      <a:pt x="212406" y="90698"/>
                    </a:lnTo>
                    <a:lnTo>
                      <a:pt x="212406" y="90698"/>
                    </a:lnTo>
                    <a:lnTo>
                      <a:pt x="212406" y="90698"/>
                    </a:lnTo>
                    <a:lnTo>
                      <a:pt x="208717" y="94385"/>
                    </a:lnTo>
                    <a:lnTo>
                      <a:pt x="212406" y="94385"/>
                    </a:lnTo>
                    <a:lnTo>
                      <a:pt x="212406" y="90698"/>
                    </a:lnTo>
                    <a:lnTo>
                      <a:pt x="208717" y="94385"/>
                    </a:lnTo>
                    <a:lnTo>
                      <a:pt x="208717" y="98080"/>
                    </a:lnTo>
                    <a:lnTo>
                      <a:pt x="205028" y="98080"/>
                    </a:lnTo>
                    <a:lnTo>
                      <a:pt x="201338" y="101766"/>
                    </a:lnTo>
                    <a:lnTo>
                      <a:pt x="197649" y="109148"/>
                    </a:lnTo>
                    <a:lnTo>
                      <a:pt x="193960" y="109148"/>
                    </a:lnTo>
                    <a:lnTo>
                      <a:pt x="190271" y="112844"/>
                    </a:lnTo>
                    <a:lnTo>
                      <a:pt x="186582" y="109148"/>
                    </a:lnTo>
                    <a:lnTo>
                      <a:pt x="179203" y="112844"/>
                    </a:lnTo>
                    <a:lnTo>
                      <a:pt x="175514" y="116530"/>
                    </a:lnTo>
                    <a:lnTo>
                      <a:pt x="168136" y="116530"/>
                    </a:lnTo>
                    <a:lnTo>
                      <a:pt x="168136" y="120226"/>
                    </a:lnTo>
                    <a:lnTo>
                      <a:pt x="157068" y="120226"/>
                    </a:lnTo>
                    <a:lnTo>
                      <a:pt x="153379" y="120226"/>
                    </a:lnTo>
                    <a:lnTo>
                      <a:pt x="146000" y="120226"/>
                    </a:lnTo>
                    <a:lnTo>
                      <a:pt x="142311" y="120226"/>
                    </a:lnTo>
                    <a:lnTo>
                      <a:pt x="142311" y="120226"/>
                    </a:lnTo>
                    <a:lnTo>
                      <a:pt x="134932" y="112844"/>
                    </a:lnTo>
                    <a:lnTo>
                      <a:pt x="134932" y="112844"/>
                    </a:lnTo>
                    <a:lnTo>
                      <a:pt x="134932" y="112844"/>
                    </a:lnTo>
                    <a:lnTo>
                      <a:pt x="131243" y="105462"/>
                    </a:lnTo>
                    <a:lnTo>
                      <a:pt x="131243" y="10546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grpSp>
            <p:nvGrpSpPr>
              <p:cNvPr id="81" name="Group 80">
                <a:extLst>
                  <a:ext uri="{FF2B5EF4-FFF2-40B4-BE49-F238E27FC236}">
                    <a16:creationId xmlns:a16="http://schemas.microsoft.com/office/drawing/2014/main" id="{04FF5348-6496-4673-9285-C5E9DA730C40}"/>
                  </a:ext>
                </a:extLst>
              </p:cNvPr>
              <p:cNvGrpSpPr/>
              <p:nvPr/>
            </p:nvGrpSpPr>
            <p:grpSpPr>
              <a:xfrm>
                <a:off x="3571793" y="4412713"/>
                <a:ext cx="1035266" cy="968488"/>
                <a:chOff x="1043430" y="4343098"/>
                <a:chExt cx="1053711" cy="985743"/>
              </a:xfrm>
              <a:grpFill/>
            </p:grpSpPr>
            <p:sp>
              <p:nvSpPr>
                <p:cNvPr id="82" name="Freeform: Shape 81">
                  <a:extLst>
                    <a:ext uri="{FF2B5EF4-FFF2-40B4-BE49-F238E27FC236}">
                      <a16:creationId xmlns:a16="http://schemas.microsoft.com/office/drawing/2014/main" id="{983FE690-3DA2-4091-91F0-FFB578D2DE81}"/>
                    </a:ext>
                  </a:extLst>
                </p:cNvPr>
                <p:cNvSpPr/>
                <p:nvPr/>
              </p:nvSpPr>
              <p:spPr>
                <a:xfrm>
                  <a:off x="1144103" y="4502561"/>
                  <a:ext cx="953038" cy="519840"/>
                </a:xfrm>
                <a:custGeom>
                  <a:avLst/>
                  <a:gdLst>
                    <a:gd name="connsiteX0" fmla="*/ 345216 w 419100"/>
                    <a:gd name="connsiteY0" fmla="*/ 5812 h 228600"/>
                    <a:gd name="connsiteX1" fmla="*/ 345216 w 419100"/>
                    <a:gd name="connsiteY1" fmla="*/ 9498 h 228600"/>
                    <a:gd name="connsiteX2" fmla="*/ 337838 w 419100"/>
                    <a:gd name="connsiteY2" fmla="*/ 16880 h 228600"/>
                    <a:gd name="connsiteX3" fmla="*/ 334149 w 419100"/>
                    <a:gd name="connsiteY3" fmla="*/ 16880 h 228600"/>
                    <a:gd name="connsiteX4" fmla="*/ 337838 w 419100"/>
                    <a:gd name="connsiteY4" fmla="*/ 24261 h 228600"/>
                    <a:gd name="connsiteX5" fmla="*/ 341527 w 419100"/>
                    <a:gd name="connsiteY5" fmla="*/ 24261 h 228600"/>
                    <a:gd name="connsiteX6" fmla="*/ 345216 w 419100"/>
                    <a:gd name="connsiteY6" fmla="*/ 31643 h 228600"/>
                    <a:gd name="connsiteX7" fmla="*/ 348905 w 419100"/>
                    <a:gd name="connsiteY7" fmla="*/ 39025 h 228600"/>
                    <a:gd name="connsiteX8" fmla="*/ 356284 w 419100"/>
                    <a:gd name="connsiteY8" fmla="*/ 39025 h 228600"/>
                    <a:gd name="connsiteX9" fmla="*/ 363662 w 419100"/>
                    <a:gd name="connsiteY9" fmla="*/ 39025 h 228600"/>
                    <a:gd name="connsiteX10" fmla="*/ 367351 w 419100"/>
                    <a:gd name="connsiteY10" fmla="*/ 39025 h 228600"/>
                    <a:gd name="connsiteX11" fmla="*/ 371040 w 419100"/>
                    <a:gd name="connsiteY11" fmla="*/ 39025 h 228600"/>
                    <a:gd name="connsiteX12" fmla="*/ 371040 w 419100"/>
                    <a:gd name="connsiteY12" fmla="*/ 35339 h 228600"/>
                    <a:gd name="connsiteX13" fmla="*/ 374730 w 419100"/>
                    <a:gd name="connsiteY13" fmla="*/ 35339 h 228600"/>
                    <a:gd name="connsiteX14" fmla="*/ 374730 w 419100"/>
                    <a:gd name="connsiteY14" fmla="*/ 39025 h 228600"/>
                    <a:gd name="connsiteX15" fmla="*/ 374730 w 419100"/>
                    <a:gd name="connsiteY15" fmla="*/ 42711 h 228600"/>
                    <a:gd name="connsiteX16" fmla="*/ 371040 w 419100"/>
                    <a:gd name="connsiteY16" fmla="*/ 46407 h 228600"/>
                    <a:gd name="connsiteX17" fmla="*/ 367351 w 419100"/>
                    <a:gd name="connsiteY17" fmla="*/ 46407 h 228600"/>
                    <a:gd name="connsiteX18" fmla="*/ 363662 w 419100"/>
                    <a:gd name="connsiteY18" fmla="*/ 46407 h 228600"/>
                    <a:gd name="connsiteX19" fmla="*/ 359973 w 419100"/>
                    <a:gd name="connsiteY19" fmla="*/ 46407 h 228600"/>
                    <a:gd name="connsiteX20" fmla="*/ 356284 w 419100"/>
                    <a:gd name="connsiteY20" fmla="*/ 46407 h 228600"/>
                    <a:gd name="connsiteX21" fmla="*/ 352594 w 419100"/>
                    <a:gd name="connsiteY21" fmla="*/ 46407 h 228600"/>
                    <a:gd name="connsiteX22" fmla="*/ 348905 w 419100"/>
                    <a:gd name="connsiteY22" fmla="*/ 50093 h 228600"/>
                    <a:gd name="connsiteX23" fmla="*/ 345216 w 419100"/>
                    <a:gd name="connsiteY23" fmla="*/ 50093 h 228600"/>
                    <a:gd name="connsiteX24" fmla="*/ 337838 w 419100"/>
                    <a:gd name="connsiteY24" fmla="*/ 42711 h 228600"/>
                    <a:gd name="connsiteX25" fmla="*/ 323081 w 419100"/>
                    <a:gd name="connsiteY25" fmla="*/ 39025 h 228600"/>
                    <a:gd name="connsiteX26" fmla="*/ 319392 w 419100"/>
                    <a:gd name="connsiteY26" fmla="*/ 39025 h 228600"/>
                    <a:gd name="connsiteX27" fmla="*/ 312014 w 419100"/>
                    <a:gd name="connsiteY27" fmla="*/ 42711 h 228600"/>
                    <a:gd name="connsiteX28" fmla="*/ 308325 w 419100"/>
                    <a:gd name="connsiteY28" fmla="*/ 46407 h 228600"/>
                    <a:gd name="connsiteX29" fmla="*/ 304635 w 419100"/>
                    <a:gd name="connsiteY29" fmla="*/ 46407 h 228600"/>
                    <a:gd name="connsiteX30" fmla="*/ 297257 w 419100"/>
                    <a:gd name="connsiteY30" fmla="*/ 50093 h 228600"/>
                    <a:gd name="connsiteX31" fmla="*/ 293568 w 419100"/>
                    <a:gd name="connsiteY31" fmla="*/ 53789 h 228600"/>
                    <a:gd name="connsiteX32" fmla="*/ 289879 w 419100"/>
                    <a:gd name="connsiteY32" fmla="*/ 50093 h 228600"/>
                    <a:gd name="connsiteX33" fmla="*/ 282500 w 419100"/>
                    <a:gd name="connsiteY33" fmla="*/ 53789 h 228600"/>
                    <a:gd name="connsiteX34" fmla="*/ 278811 w 419100"/>
                    <a:gd name="connsiteY34" fmla="*/ 57475 h 228600"/>
                    <a:gd name="connsiteX35" fmla="*/ 278811 w 419100"/>
                    <a:gd name="connsiteY35" fmla="*/ 64857 h 228600"/>
                    <a:gd name="connsiteX36" fmla="*/ 282500 w 419100"/>
                    <a:gd name="connsiteY36" fmla="*/ 64857 h 228600"/>
                    <a:gd name="connsiteX37" fmla="*/ 282500 w 419100"/>
                    <a:gd name="connsiteY37" fmla="*/ 68553 h 228600"/>
                    <a:gd name="connsiteX38" fmla="*/ 286190 w 419100"/>
                    <a:gd name="connsiteY38" fmla="*/ 68553 h 228600"/>
                    <a:gd name="connsiteX39" fmla="*/ 289879 w 419100"/>
                    <a:gd name="connsiteY39" fmla="*/ 68553 h 228600"/>
                    <a:gd name="connsiteX40" fmla="*/ 293568 w 419100"/>
                    <a:gd name="connsiteY40" fmla="*/ 72239 h 228600"/>
                    <a:gd name="connsiteX41" fmla="*/ 297257 w 419100"/>
                    <a:gd name="connsiteY41" fmla="*/ 75935 h 228600"/>
                    <a:gd name="connsiteX42" fmla="*/ 300946 w 419100"/>
                    <a:gd name="connsiteY42" fmla="*/ 75935 h 228600"/>
                    <a:gd name="connsiteX43" fmla="*/ 300946 w 419100"/>
                    <a:gd name="connsiteY43" fmla="*/ 79621 h 228600"/>
                    <a:gd name="connsiteX44" fmla="*/ 300946 w 419100"/>
                    <a:gd name="connsiteY44" fmla="*/ 83317 h 228600"/>
                    <a:gd name="connsiteX45" fmla="*/ 304635 w 419100"/>
                    <a:gd name="connsiteY45" fmla="*/ 87003 h 228600"/>
                    <a:gd name="connsiteX46" fmla="*/ 308325 w 419100"/>
                    <a:gd name="connsiteY46" fmla="*/ 87003 h 228600"/>
                    <a:gd name="connsiteX47" fmla="*/ 312014 w 419100"/>
                    <a:gd name="connsiteY47" fmla="*/ 90689 h 228600"/>
                    <a:gd name="connsiteX48" fmla="*/ 315703 w 419100"/>
                    <a:gd name="connsiteY48" fmla="*/ 94384 h 228600"/>
                    <a:gd name="connsiteX49" fmla="*/ 315703 w 419100"/>
                    <a:gd name="connsiteY49" fmla="*/ 101766 h 228600"/>
                    <a:gd name="connsiteX50" fmla="*/ 319392 w 419100"/>
                    <a:gd name="connsiteY50" fmla="*/ 105453 h 228600"/>
                    <a:gd name="connsiteX51" fmla="*/ 323081 w 419100"/>
                    <a:gd name="connsiteY51" fmla="*/ 105453 h 228600"/>
                    <a:gd name="connsiteX52" fmla="*/ 323081 w 419100"/>
                    <a:gd name="connsiteY52" fmla="*/ 109148 h 228600"/>
                    <a:gd name="connsiteX53" fmla="*/ 326770 w 419100"/>
                    <a:gd name="connsiteY53" fmla="*/ 109148 h 228600"/>
                    <a:gd name="connsiteX54" fmla="*/ 330460 w 419100"/>
                    <a:gd name="connsiteY54" fmla="*/ 109148 h 228600"/>
                    <a:gd name="connsiteX55" fmla="*/ 345216 w 419100"/>
                    <a:gd name="connsiteY55" fmla="*/ 109148 h 228600"/>
                    <a:gd name="connsiteX56" fmla="*/ 348905 w 419100"/>
                    <a:gd name="connsiteY56" fmla="*/ 109148 h 228600"/>
                    <a:gd name="connsiteX57" fmla="*/ 352594 w 419100"/>
                    <a:gd name="connsiteY57" fmla="*/ 109148 h 228600"/>
                    <a:gd name="connsiteX58" fmla="*/ 356284 w 419100"/>
                    <a:gd name="connsiteY58" fmla="*/ 112835 h 228600"/>
                    <a:gd name="connsiteX59" fmla="*/ 359973 w 419100"/>
                    <a:gd name="connsiteY59" fmla="*/ 112835 h 228600"/>
                    <a:gd name="connsiteX60" fmla="*/ 359973 w 419100"/>
                    <a:gd name="connsiteY60" fmla="*/ 109148 h 228600"/>
                    <a:gd name="connsiteX61" fmla="*/ 367351 w 419100"/>
                    <a:gd name="connsiteY61" fmla="*/ 112835 h 228600"/>
                    <a:gd name="connsiteX62" fmla="*/ 374730 w 419100"/>
                    <a:gd name="connsiteY62" fmla="*/ 116530 h 228600"/>
                    <a:gd name="connsiteX63" fmla="*/ 371040 w 419100"/>
                    <a:gd name="connsiteY63" fmla="*/ 120216 h 228600"/>
                    <a:gd name="connsiteX64" fmla="*/ 371040 w 419100"/>
                    <a:gd name="connsiteY64" fmla="*/ 123912 h 228600"/>
                    <a:gd name="connsiteX65" fmla="*/ 371040 w 419100"/>
                    <a:gd name="connsiteY65" fmla="*/ 127598 h 228600"/>
                    <a:gd name="connsiteX66" fmla="*/ 374730 w 419100"/>
                    <a:gd name="connsiteY66" fmla="*/ 127598 h 228600"/>
                    <a:gd name="connsiteX67" fmla="*/ 389487 w 419100"/>
                    <a:gd name="connsiteY67" fmla="*/ 134980 h 228600"/>
                    <a:gd name="connsiteX68" fmla="*/ 393176 w 419100"/>
                    <a:gd name="connsiteY68" fmla="*/ 138666 h 228600"/>
                    <a:gd name="connsiteX69" fmla="*/ 393176 w 419100"/>
                    <a:gd name="connsiteY69" fmla="*/ 160812 h 228600"/>
                    <a:gd name="connsiteX70" fmla="*/ 393176 w 419100"/>
                    <a:gd name="connsiteY70" fmla="*/ 164508 h 228600"/>
                    <a:gd name="connsiteX71" fmla="*/ 396865 w 419100"/>
                    <a:gd name="connsiteY71" fmla="*/ 179271 h 228600"/>
                    <a:gd name="connsiteX72" fmla="*/ 393176 w 419100"/>
                    <a:gd name="connsiteY72" fmla="*/ 179271 h 228600"/>
                    <a:gd name="connsiteX73" fmla="*/ 389487 w 419100"/>
                    <a:gd name="connsiteY73" fmla="*/ 179271 h 228600"/>
                    <a:gd name="connsiteX74" fmla="*/ 385798 w 419100"/>
                    <a:gd name="connsiteY74" fmla="*/ 179271 h 228600"/>
                    <a:gd name="connsiteX75" fmla="*/ 382109 w 419100"/>
                    <a:gd name="connsiteY75" fmla="*/ 175576 h 228600"/>
                    <a:gd name="connsiteX76" fmla="*/ 378419 w 419100"/>
                    <a:gd name="connsiteY76" fmla="*/ 175576 h 228600"/>
                    <a:gd name="connsiteX77" fmla="*/ 374730 w 419100"/>
                    <a:gd name="connsiteY77" fmla="*/ 175576 h 228600"/>
                    <a:gd name="connsiteX78" fmla="*/ 371040 w 419100"/>
                    <a:gd name="connsiteY78" fmla="*/ 175576 h 228600"/>
                    <a:gd name="connsiteX79" fmla="*/ 367351 w 419100"/>
                    <a:gd name="connsiteY79" fmla="*/ 179271 h 228600"/>
                    <a:gd name="connsiteX80" fmla="*/ 363662 w 419100"/>
                    <a:gd name="connsiteY80" fmla="*/ 179271 h 228600"/>
                    <a:gd name="connsiteX81" fmla="*/ 359973 w 419100"/>
                    <a:gd name="connsiteY81" fmla="*/ 182958 h 228600"/>
                    <a:gd name="connsiteX82" fmla="*/ 356284 w 419100"/>
                    <a:gd name="connsiteY82" fmla="*/ 182958 h 228600"/>
                    <a:gd name="connsiteX83" fmla="*/ 352594 w 419100"/>
                    <a:gd name="connsiteY83" fmla="*/ 182958 h 228600"/>
                    <a:gd name="connsiteX84" fmla="*/ 348905 w 419100"/>
                    <a:gd name="connsiteY84" fmla="*/ 182958 h 228600"/>
                    <a:gd name="connsiteX85" fmla="*/ 348905 w 419100"/>
                    <a:gd name="connsiteY85" fmla="*/ 179271 h 228600"/>
                    <a:gd name="connsiteX86" fmla="*/ 345216 w 419100"/>
                    <a:gd name="connsiteY86" fmla="*/ 179271 h 228600"/>
                    <a:gd name="connsiteX87" fmla="*/ 334149 w 419100"/>
                    <a:gd name="connsiteY87" fmla="*/ 171890 h 228600"/>
                    <a:gd name="connsiteX88" fmla="*/ 330460 w 419100"/>
                    <a:gd name="connsiteY88" fmla="*/ 171890 h 228600"/>
                    <a:gd name="connsiteX89" fmla="*/ 326770 w 419100"/>
                    <a:gd name="connsiteY89" fmla="*/ 160812 h 228600"/>
                    <a:gd name="connsiteX90" fmla="*/ 323081 w 419100"/>
                    <a:gd name="connsiteY90" fmla="*/ 160812 h 228600"/>
                    <a:gd name="connsiteX91" fmla="*/ 315703 w 419100"/>
                    <a:gd name="connsiteY91" fmla="*/ 149744 h 228600"/>
                    <a:gd name="connsiteX92" fmla="*/ 315703 w 419100"/>
                    <a:gd name="connsiteY92" fmla="*/ 146048 h 228600"/>
                    <a:gd name="connsiteX93" fmla="*/ 312014 w 419100"/>
                    <a:gd name="connsiteY93" fmla="*/ 142362 h 228600"/>
                    <a:gd name="connsiteX94" fmla="*/ 315703 w 419100"/>
                    <a:gd name="connsiteY94" fmla="*/ 138666 h 228600"/>
                    <a:gd name="connsiteX95" fmla="*/ 312014 w 419100"/>
                    <a:gd name="connsiteY95" fmla="*/ 134980 h 228600"/>
                    <a:gd name="connsiteX96" fmla="*/ 312014 w 419100"/>
                    <a:gd name="connsiteY96" fmla="*/ 131294 h 228600"/>
                    <a:gd name="connsiteX97" fmla="*/ 312014 w 419100"/>
                    <a:gd name="connsiteY97" fmla="*/ 127598 h 228600"/>
                    <a:gd name="connsiteX98" fmla="*/ 308325 w 419100"/>
                    <a:gd name="connsiteY98" fmla="*/ 127598 h 228600"/>
                    <a:gd name="connsiteX99" fmla="*/ 304635 w 419100"/>
                    <a:gd name="connsiteY99" fmla="*/ 123912 h 228600"/>
                    <a:gd name="connsiteX100" fmla="*/ 297257 w 419100"/>
                    <a:gd name="connsiteY100" fmla="*/ 116530 h 228600"/>
                    <a:gd name="connsiteX101" fmla="*/ 293568 w 419100"/>
                    <a:gd name="connsiteY101" fmla="*/ 112835 h 228600"/>
                    <a:gd name="connsiteX102" fmla="*/ 289879 w 419100"/>
                    <a:gd name="connsiteY102" fmla="*/ 112835 h 228600"/>
                    <a:gd name="connsiteX103" fmla="*/ 286190 w 419100"/>
                    <a:gd name="connsiteY103" fmla="*/ 112835 h 228600"/>
                    <a:gd name="connsiteX104" fmla="*/ 282500 w 419100"/>
                    <a:gd name="connsiteY104" fmla="*/ 109148 h 228600"/>
                    <a:gd name="connsiteX105" fmla="*/ 278811 w 419100"/>
                    <a:gd name="connsiteY105" fmla="*/ 109148 h 228600"/>
                    <a:gd name="connsiteX106" fmla="*/ 271433 w 419100"/>
                    <a:gd name="connsiteY106" fmla="*/ 105453 h 228600"/>
                    <a:gd name="connsiteX107" fmla="*/ 267744 w 419100"/>
                    <a:gd name="connsiteY107" fmla="*/ 105453 h 228600"/>
                    <a:gd name="connsiteX108" fmla="*/ 264055 w 419100"/>
                    <a:gd name="connsiteY108" fmla="*/ 101766 h 228600"/>
                    <a:gd name="connsiteX109" fmla="*/ 260365 w 419100"/>
                    <a:gd name="connsiteY109" fmla="*/ 105453 h 228600"/>
                    <a:gd name="connsiteX110" fmla="*/ 256676 w 419100"/>
                    <a:gd name="connsiteY110" fmla="*/ 105453 h 228600"/>
                    <a:gd name="connsiteX111" fmla="*/ 256676 w 419100"/>
                    <a:gd name="connsiteY111" fmla="*/ 109148 h 228600"/>
                    <a:gd name="connsiteX112" fmla="*/ 249298 w 419100"/>
                    <a:gd name="connsiteY112" fmla="*/ 98071 h 228600"/>
                    <a:gd name="connsiteX113" fmla="*/ 252987 w 419100"/>
                    <a:gd name="connsiteY113" fmla="*/ 98071 h 228600"/>
                    <a:gd name="connsiteX114" fmla="*/ 249298 w 419100"/>
                    <a:gd name="connsiteY114" fmla="*/ 94384 h 228600"/>
                    <a:gd name="connsiteX115" fmla="*/ 249298 w 419100"/>
                    <a:gd name="connsiteY115" fmla="*/ 90689 h 228600"/>
                    <a:gd name="connsiteX116" fmla="*/ 245609 w 419100"/>
                    <a:gd name="connsiteY116" fmla="*/ 90689 h 228600"/>
                    <a:gd name="connsiteX117" fmla="*/ 241920 w 419100"/>
                    <a:gd name="connsiteY117" fmla="*/ 90689 h 228600"/>
                    <a:gd name="connsiteX118" fmla="*/ 238231 w 419100"/>
                    <a:gd name="connsiteY118" fmla="*/ 90689 h 228600"/>
                    <a:gd name="connsiteX119" fmla="*/ 234541 w 419100"/>
                    <a:gd name="connsiteY119" fmla="*/ 94384 h 228600"/>
                    <a:gd name="connsiteX120" fmla="*/ 230852 w 419100"/>
                    <a:gd name="connsiteY120" fmla="*/ 94384 h 228600"/>
                    <a:gd name="connsiteX121" fmla="*/ 227162 w 419100"/>
                    <a:gd name="connsiteY121" fmla="*/ 94384 h 228600"/>
                    <a:gd name="connsiteX122" fmla="*/ 219784 w 419100"/>
                    <a:gd name="connsiteY122" fmla="*/ 94384 h 228600"/>
                    <a:gd name="connsiteX123" fmla="*/ 216095 w 419100"/>
                    <a:gd name="connsiteY123" fmla="*/ 94384 h 228600"/>
                    <a:gd name="connsiteX124" fmla="*/ 212405 w 419100"/>
                    <a:gd name="connsiteY124" fmla="*/ 94384 h 228600"/>
                    <a:gd name="connsiteX125" fmla="*/ 208716 w 419100"/>
                    <a:gd name="connsiteY125" fmla="*/ 94384 h 228600"/>
                    <a:gd name="connsiteX126" fmla="*/ 208716 w 419100"/>
                    <a:gd name="connsiteY126" fmla="*/ 90689 h 228600"/>
                    <a:gd name="connsiteX127" fmla="*/ 205027 w 419100"/>
                    <a:gd name="connsiteY127" fmla="*/ 87003 h 228600"/>
                    <a:gd name="connsiteX128" fmla="*/ 197649 w 419100"/>
                    <a:gd name="connsiteY128" fmla="*/ 87003 h 228600"/>
                    <a:gd name="connsiteX129" fmla="*/ 190270 w 419100"/>
                    <a:gd name="connsiteY129" fmla="*/ 90689 h 228600"/>
                    <a:gd name="connsiteX130" fmla="*/ 186581 w 419100"/>
                    <a:gd name="connsiteY130" fmla="*/ 90689 h 228600"/>
                    <a:gd name="connsiteX131" fmla="*/ 182892 w 419100"/>
                    <a:gd name="connsiteY131" fmla="*/ 94384 h 228600"/>
                    <a:gd name="connsiteX132" fmla="*/ 171825 w 419100"/>
                    <a:gd name="connsiteY132" fmla="*/ 90689 h 228600"/>
                    <a:gd name="connsiteX133" fmla="*/ 168136 w 419100"/>
                    <a:gd name="connsiteY133" fmla="*/ 90689 h 228600"/>
                    <a:gd name="connsiteX134" fmla="*/ 164446 w 419100"/>
                    <a:gd name="connsiteY134" fmla="*/ 87003 h 228600"/>
                    <a:gd name="connsiteX135" fmla="*/ 160757 w 419100"/>
                    <a:gd name="connsiteY135" fmla="*/ 90689 h 228600"/>
                    <a:gd name="connsiteX136" fmla="*/ 153379 w 419100"/>
                    <a:gd name="connsiteY136" fmla="*/ 94384 h 228600"/>
                    <a:gd name="connsiteX137" fmla="*/ 153379 w 419100"/>
                    <a:gd name="connsiteY137" fmla="*/ 98071 h 228600"/>
                    <a:gd name="connsiteX138" fmla="*/ 149690 w 419100"/>
                    <a:gd name="connsiteY138" fmla="*/ 101766 h 228600"/>
                    <a:gd name="connsiteX139" fmla="*/ 149690 w 419100"/>
                    <a:gd name="connsiteY139" fmla="*/ 105453 h 228600"/>
                    <a:gd name="connsiteX140" fmla="*/ 146001 w 419100"/>
                    <a:gd name="connsiteY140" fmla="*/ 109148 h 228600"/>
                    <a:gd name="connsiteX141" fmla="*/ 142311 w 419100"/>
                    <a:gd name="connsiteY141" fmla="*/ 109148 h 228600"/>
                    <a:gd name="connsiteX142" fmla="*/ 138622 w 419100"/>
                    <a:gd name="connsiteY142" fmla="*/ 112835 h 228600"/>
                    <a:gd name="connsiteX143" fmla="*/ 142311 w 419100"/>
                    <a:gd name="connsiteY143" fmla="*/ 112835 h 228600"/>
                    <a:gd name="connsiteX144" fmla="*/ 146001 w 419100"/>
                    <a:gd name="connsiteY144" fmla="*/ 112835 h 228600"/>
                    <a:gd name="connsiteX145" fmla="*/ 138622 w 419100"/>
                    <a:gd name="connsiteY145" fmla="*/ 116530 h 228600"/>
                    <a:gd name="connsiteX146" fmla="*/ 138622 w 419100"/>
                    <a:gd name="connsiteY146" fmla="*/ 112835 h 228600"/>
                    <a:gd name="connsiteX147" fmla="*/ 131244 w 419100"/>
                    <a:gd name="connsiteY147" fmla="*/ 105453 h 228600"/>
                    <a:gd name="connsiteX148" fmla="*/ 127555 w 419100"/>
                    <a:gd name="connsiteY148" fmla="*/ 101766 h 228600"/>
                    <a:gd name="connsiteX149" fmla="*/ 127555 w 419100"/>
                    <a:gd name="connsiteY149" fmla="*/ 98071 h 228600"/>
                    <a:gd name="connsiteX150" fmla="*/ 123866 w 419100"/>
                    <a:gd name="connsiteY150" fmla="*/ 87003 h 228600"/>
                    <a:gd name="connsiteX151" fmla="*/ 123866 w 419100"/>
                    <a:gd name="connsiteY151" fmla="*/ 83317 h 228600"/>
                    <a:gd name="connsiteX152" fmla="*/ 120176 w 419100"/>
                    <a:gd name="connsiteY152" fmla="*/ 83317 h 228600"/>
                    <a:gd name="connsiteX153" fmla="*/ 116487 w 419100"/>
                    <a:gd name="connsiteY153" fmla="*/ 79621 h 228600"/>
                    <a:gd name="connsiteX154" fmla="*/ 109109 w 419100"/>
                    <a:gd name="connsiteY154" fmla="*/ 75935 h 228600"/>
                    <a:gd name="connsiteX155" fmla="*/ 105420 w 419100"/>
                    <a:gd name="connsiteY155" fmla="*/ 72239 h 228600"/>
                    <a:gd name="connsiteX156" fmla="*/ 101731 w 419100"/>
                    <a:gd name="connsiteY156" fmla="*/ 68553 h 228600"/>
                    <a:gd name="connsiteX157" fmla="*/ 101731 w 419100"/>
                    <a:gd name="connsiteY157" fmla="*/ 64857 h 228600"/>
                    <a:gd name="connsiteX158" fmla="*/ 101731 w 419100"/>
                    <a:gd name="connsiteY158" fmla="*/ 57475 h 228600"/>
                    <a:gd name="connsiteX159" fmla="*/ 105420 w 419100"/>
                    <a:gd name="connsiteY159" fmla="*/ 53789 h 228600"/>
                    <a:gd name="connsiteX160" fmla="*/ 101731 w 419100"/>
                    <a:gd name="connsiteY160" fmla="*/ 53789 h 228600"/>
                    <a:gd name="connsiteX161" fmla="*/ 98041 w 419100"/>
                    <a:gd name="connsiteY161" fmla="*/ 53789 h 228600"/>
                    <a:gd name="connsiteX162" fmla="*/ 94352 w 419100"/>
                    <a:gd name="connsiteY162" fmla="*/ 50093 h 228600"/>
                    <a:gd name="connsiteX163" fmla="*/ 83284 w 419100"/>
                    <a:gd name="connsiteY163" fmla="*/ 50093 h 228600"/>
                    <a:gd name="connsiteX164" fmla="*/ 79595 w 419100"/>
                    <a:gd name="connsiteY164" fmla="*/ 50093 h 228600"/>
                    <a:gd name="connsiteX165" fmla="*/ 75906 w 419100"/>
                    <a:gd name="connsiteY165" fmla="*/ 50093 h 228600"/>
                    <a:gd name="connsiteX166" fmla="*/ 68527 w 419100"/>
                    <a:gd name="connsiteY166" fmla="*/ 50093 h 228600"/>
                    <a:gd name="connsiteX167" fmla="*/ 68527 w 419100"/>
                    <a:gd name="connsiteY167" fmla="*/ 53789 h 228600"/>
                    <a:gd name="connsiteX168" fmla="*/ 64838 w 419100"/>
                    <a:gd name="connsiteY168" fmla="*/ 53789 h 228600"/>
                    <a:gd name="connsiteX169" fmla="*/ 61149 w 419100"/>
                    <a:gd name="connsiteY169" fmla="*/ 53789 h 228600"/>
                    <a:gd name="connsiteX170" fmla="*/ 57460 w 419100"/>
                    <a:gd name="connsiteY170" fmla="*/ 57475 h 228600"/>
                    <a:gd name="connsiteX171" fmla="*/ 50081 w 419100"/>
                    <a:gd name="connsiteY171" fmla="*/ 61171 h 228600"/>
                    <a:gd name="connsiteX172" fmla="*/ 46393 w 419100"/>
                    <a:gd name="connsiteY172" fmla="*/ 64857 h 228600"/>
                    <a:gd name="connsiteX173" fmla="*/ 39014 w 419100"/>
                    <a:gd name="connsiteY173" fmla="*/ 68553 h 228600"/>
                    <a:gd name="connsiteX174" fmla="*/ 35325 w 419100"/>
                    <a:gd name="connsiteY174" fmla="*/ 68553 h 228600"/>
                    <a:gd name="connsiteX175" fmla="*/ 31636 w 419100"/>
                    <a:gd name="connsiteY175" fmla="*/ 72239 h 228600"/>
                    <a:gd name="connsiteX176" fmla="*/ 27947 w 419100"/>
                    <a:gd name="connsiteY176" fmla="*/ 75935 h 228600"/>
                    <a:gd name="connsiteX177" fmla="*/ 20568 w 419100"/>
                    <a:gd name="connsiteY177" fmla="*/ 79621 h 228600"/>
                    <a:gd name="connsiteX178" fmla="*/ 16879 w 419100"/>
                    <a:gd name="connsiteY178" fmla="*/ 83317 h 228600"/>
                    <a:gd name="connsiteX179" fmla="*/ 13190 w 419100"/>
                    <a:gd name="connsiteY179" fmla="*/ 83317 h 228600"/>
                    <a:gd name="connsiteX180" fmla="*/ 9501 w 419100"/>
                    <a:gd name="connsiteY180" fmla="*/ 87003 h 228600"/>
                    <a:gd name="connsiteX181" fmla="*/ 5812 w 419100"/>
                    <a:gd name="connsiteY181" fmla="*/ 90689 h 228600"/>
                    <a:gd name="connsiteX182" fmla="*/ 5812 w 419100"/>
                    <a:gd name="connsiteY182" fmla="*/ 94384 h 228600"/>
                    <a:gd name="connsiteX183" fmla="*/ 5812 w 419100"/>
                    <a:gd name="connsiteY183" fmla="*/ 98071 h 228600"/>
                    <a:gd name="connsiteX184" fmla="*/ 5812 w 419100"/>
                    <a:gd name="connsiteY184" fmla="*/ 101766 h 228600"/>
                    <a:gd name="connsiteX185" fmla="*/ 9501 w 419100"/>
                    <a:gd name="connsiteY185" fmla="*/ 109148 h 228600"/>
                    <a:gd name="connsiteX186" fmla="*/ 13190 w 419100"/>
                    <a:gd name="connsiteY186" fmla="*/ 109148 h 228600"/>
                    <a:gd name="connsiteX187" fmla="*/ 16879 w 419100"/>
                    <a:gd name="connsiteY187" fmla="*/ 112835 h 228600"/>
                    <a:gd name="connsiteX188" fmla="*/ 20568 w 419100"/>
                    <a:gd name="connsiteY188" fmla="*/ 116530 h 228600"/>
                    <a:gd name="connsiteX189" fmla="*/ 27947 w 419100"/>
                    <a:gd name="connsiteY189" fmla="*/ 120216 h 228600"/>
                    <a:gd name="connsiteX190" fmla="*/ 27947 w 419100"/>
                    <a:gd name="connsiteY190" fmla="*/ 123912 h 228600"/>
                    <a:gd name="connsiteX191" fmla="*/ 31636 w 419100"/>
                    <a:gd name="connsiteY191" fmla="*/ 123912 h 228600"/>
                    <a:gd name="connsiteX192" fmla="*/ 35325 w 419100"/>
                    <a:gd name="connsiteY192" fmla="*/ 127598 h 228600"/>
                    <a:gd name="connsiteX193" fmla="*/ 39014 w 419100"/>
                    <a:gd name="connsiteY193" fmla="*/ 131294 h 228600"/>
                    <a:gd name="connsiteX194" fmla="*/ 39014 w 419100"/>
                    <a:gd name="connsiteY194" fmla="*/ 134980 h 228600"/>
                    <a:gd name="connsiteX195" fmla="*/ 42703 w 419100"/>
                    <a:gd name="connsiteY195" fmla="*/ 138666 h 228600"/>
                    <a:gd name="connsiteX196" fmla="*/ 42703 w 419100"/>
                    <a:gd name="connsiteY196" fmla="*/ 142362 h 228600"/>
                    <a:gd name="connsiteX197" fmla="*/ 46393 w 419100"/>
                    <a:gd name="connsiteY197" fmla="*/ 146048 h 228600"/>
                    <a:gd name="connsiteX198" fmla="*/ 46393 w 419100"/>
                    <a:gd name="connsiteY198" fmla="*/ 149744 h 228600"/>
                    <a:gd name="connsiteX199" fmla="*/ 50081 w 419100"/>
                    <a:gd name="connsiteY199" fmla="*/ 153430 h 228600"/>
                    <a:gd name="connsiteX200" fmla="*/ 53771 w 419100"/>
                    <a:gd name="connsiteY200" fmla="*/ 157126 h 228600"/>
                    <a:gd name="connsiteX201" fmla="*/ 61149 w 419100"/>
                    <a:gd name="connsiteY201" fmla="*/ 160812 h 228600"/>
                    <a:gd name="connsiteX202" fmla="*/ 61149 w 419100"/>
                    <a:gd name="connsiteY202" fmla="*/ 164508 h 228600"/>
                    <a:gd name="connsiteX203" fmla="*/ 64838 w 419100"/>
                    <a:gd name="connsiteY203" fmla="*/ 164508 h 228600"/>
                    <a:gd name="connsiteX204" fmla="*/ 68527 w 419100"/>
                    <a:gd name="connsiteY204" fmla="*/ 168194 h 228600"/>
                    <a:gd name="connsiteX205" fmla="*/ 68527 w 419100"/>
                    <a:gd name="connsiteY205" fmla="*/ 171890 h 228600"/>
                    <a:gd name="connsiteX206" fmla="*/ 72216 w 419100"/>
                    <a:gd name="connsiteY206" fmla="*/ 171890 h 228600"/>
                    <a:gd name="connsiteX207" fmla="*/ 79595 w 419100"/>
                    <a:gd name="connsiteY207" fmla="*/ 171890 h 228600"/>
                    <a:gd name="connsiteX208" fmla="*/ 83284 w 419100"/>
                    <a:gd name="connsiteY208" fmla="*/ 171890 h 228600"/>
                    <a:gd name="connsiteX209" fmla="*/ 83284 w 419100"/>
                    <a:gd name="connsiteY209" fmla="*/ 168194 h 228600"/>
                    <a:gd name="connsiteX210" fmla="*/ 83284 w 419100"/>
                    <a:gd name="connsiteY210" fmla="*/ 160812 h 228600"/>
                    <a:gd name="connsiteX211" fmla="*/ 86974 w 419100"/>
                    <a:gd name="connsiteY211" fmla="*/ 160812 h 228600"/>
                    <a:gd name="connsiteX212" fmla="*/ 86974 w 419100"/>
                    <a:gd name="connsiteY212" fmla="*/ 168194 h 228600"/>
                    <a:gd name="connsiteX213" fmla="*/ 90663 w 419100"/>
                    <a:gd name="connsiteY213" fmla="*/ 171890 h 228600"/>
                    <a:gd name="connsiteX214" fmla="*/ 94352 w 419100"/>
                    <a:gd name="connsiteY214" fmla="*/ 171890 h 228600"/>
                    <a:gd name="connsiteX215" fmla="*/ 101731 w 419100"/>
                    <a:gd name="connsiteY215" fmla="*/ 171890 h 228600"/>
                    <a:gd name="connsiteX216" fmla="*/ 105420 w 419100"/>
                    <a:gd name="connsiteY216" fmla="*/ 168194 h 228600"/>
                    <a:gd name="connsiteX217" fmla="*/ 105420 w 419100"/>
                    <a:gd name="connsiteY217" fmla="*/ 164508 h 228600"/>
                    <a:gd name="connsiteX218" fmla="*/ 109109 w 419100"/>
                    <a:gd name="connsiteY218" fmla="*/ 164508 h 228600"/>
                    <a:gd name="connsiteX219" fmla="*/ 116487 w 419100"/>
                    <a:gd name="connsiteY219" fmla="*/ 164508 h 228600"/>
                    <a:gd name="connsiteX220" fmla="*/ 120176 w 419100"/>
                    <a:gd name="connsiteY220" fmla="*/ 164508 h 228600"/>
                    <a:gd name="connsiteX221" fmla="*/ 112798 w 419100"/>
                    <a:gd name="connsiteY221" fmla="*/ 160812 h 228600"/>
                    <a:gd name="connsiteX222" fmla="*/ 116487 w 419100"/>
                    <a:gd name="connsiteY222" fmla="*/ 157126 h 228600"/>
                    <a:gd name="connsiteX223" fmla="*/ 123866 w 419100"/>
                    <a:gd name="connsiteY223" fmla="*/ 153430 h 228600"/>
                    <a:gd name="connsiteX224" fmla="*/ 127555 w 419100"/>
                    <a:gd name="connsiteY224" fmla="*/ 153430 h 228600"/>
                    <a:gd name="connsiteX225" fmla="*/ 127555 w 419100"/>
                    <a:gd name="connsiteY225" fmla="*/ 157126 h 228600"/>
                    <a:gd name="connsiteX226" fmla="*/ 138622 w 419100"/>
                    <a:gd name="connsiteY226" fmla="*/ 149744 h 228600"/>
                    <a:gd name="connsiteX227" fmla="*/ 138622 w 419100"/>
                    <a:gd name="connsiteY227" fmla="*/ 146048 h 228600"/>
                    <a:gd name="connsiteX228" fmla="*/ 138622 w 419100"/>
                    <a:gd name="connsiteY228" fmla="*/ 142362 h 228600"/>
                    <a:gd name="connsiteX229" fmla="*/ 142311 w 419100"/>
                    <a:gd name="connsiteY229" fmla="*/ 146048 h 228600"/>
                    <a:gd name="connsiteX230" fmla="*/ 142311 w 419100"/>
                    <a:gd name="connsiteY230" fmla="*/ 149744 h 228600"/>
                    <a:gd name="connsiteX231" fmla="*/ 146001 w 419100"/>
                    <a:gd name="connsiteY231" fmla="*/ 149744 h 228600"/>
                    <a:gd name="connsiteX232" fmla="*/ 142311 w 419100"/>
                    <a:gd name="connsiteY232" fmla="*/ 153430 h 228600"/>
                    <a:gd name="connsiteX233" fmla="*/ 142311 w 419100"/>
                    <a:gd name="connsiteY233" fmla="*/ 160812 h 228600"/>
                    <a:gd name="connsiteX234" fmla="*/ 146001 w 419100"/>
                    <a:gd name="connsiteY234" fmla="*/ 160812 h 228600"/>
                    <a:gd name="connsiteX235" fmla="*/ 142311 w 419100"/>
                    <a:gd name="connsiteY235" fmla="*/ 164508 h 228600"/>
                    <a:gd name="connsiteX236" fmla="*/ 146001 w 419100"/>
                    <a:gd name="connsiteY236" fmla="*/ 168194 h 228600"/>
                    <a:gd name="connsiteX237" fmla="*/ 146001 w 419100"/>
                    <a:gd name="connsiteY237" fmla="*/ 171890 h 228600"/>
                    <a:gd name="connsiteX238" fmla="*/ 142311 w 419100"/>
                    <a:gd name="connsiteY238" fmla="*/ 168194 h 228600"/>
                    <a:gd name="connsiteX239" fmla="*/ 138622 w 419100"/>
                    <a:gd name="connsiteY239" fmla="*/ 171890 h 228600"/>
                    <a:gd name="connsiteX240" fmla="*/ 134933 w 419100"/>
                    <a:gd name="connsiteY240" fmla="*/ 171890 h 228600"/>
                    <a:gd name="connsiteX241" fmla="*/ 138622 w 419100"/>
                    <a:gd name="connsiteY241" fmla="*/ 175576 h 228600"/>
                    <a:gd name="connsiteX242" fmla="*/ 142311 w 419100"/>
                    <a:gd name="connsiteY242" fmla="*/ 179271 h 228600"/>
                    <a:gd name="connsiteX243" fmla="*/ 142311 w 419100"/>
                    <a:gd name="connsiteY243" fmla="*/ 182958 h 228600"/>
                    <a:gd name="connsiteX244" fmla="*/ 146001 w 419100"/>
                    <a:gd name="connsiteY244" fmla="*/ 182958 h 228600"/>
                    <a:gd name="connsiteX245" fmla="*/ 146001 w 419100"/>
                    <a:gd name="connsiteY245" fmla="*/ 190339 h 228600"/>
                    <a:gd name="connsiteX246" fmla="*/ 146001 w 419100"/>
                    <a:gd name="connsiteY246" fmla="*/ 194026 h 228600"/>
                    <a:gd name="connsiteX247" fmla="*/ 149690 w 419100"/>
                    <a:gd name="connsiteY247" fmla="*/ 194026 h 228600"/>
                    <a:gd name="connsiteX248" fmla="*/ 153379 w 419100"/>
                    <a:gd name="connsiteY248" fmla="*/ 197721 h 228600"/>
                    <a:gd name="connsiteX249" fmla="*/ 157068 w 419100"/>
                    <a:gd name="connsiteY249" fmla="*/ 197721 h 228600"/>
                    <a:gd name="connsiteX250" fmla="*/ 157068 w 419100"/>
                    <a:gd name="connsiteY250" fmla="*/ 194026 h 228600"/>
                    <a:gd name="connsiteX251" fmla="*/ 160757 w 419100"/>
                    <a:gd name="connsiteY251" fmla="*/ 194026 h 228600"/>
                    <a:gd name="connsiteX252" fmla="*/ 168136 w 419100"/>
                    <a:gd name="connsiteY252" fmla="*/ 197721 h 228600"/>
                    <a:gd name="connsiteX253" fmla="*/ 171825 w 419100"/>
                    <a:gd name="connsiteY253" fmla="*/ 197721 h 228600"/>
                    <a:gd name="connsiteX254" fmla="*/ 171825 w 419100"/>
                    <a:gd name="connsiteY254" fmla="*/ 201407 h 228600"/>
                    <a:gd name="connsiteX255" fmla="*/ 179203 w 419100"/>
                    <a:gd name="connsiteY255" fmla="*/ 205103 h 228600"/>
                    <a:gd name="connsiteX256" fmla="*/ 179203 w 419100"/>
                    <a:gd name="connsiteY256" fmla="*/ 208789 h 228600"/>
                    <a:gd name="connsiteX257" fmla="*/ 182892 w 419100"/>
                    <a:gd name="connsiteY257" fmla="*/ 208789 h 228600"/>
                    <a:gd name="connsiteX258" fmla="*/ 190270 w 419100"/>
                    <a:gd name="connsiteY258" fmla="*/ 216171 h 228600"/>
                    <a:gd name="connsiteX259" fmla="*/ 193960 w 419100"/>
                    <a:gd name="connsiteY259" fmla="*/ 216171 h 228600"/>
                    <a:gd name="connsiteX260" fmla="*/ 201338 w 419100"/>
                    <a:gd name="connsiteY260" fmla="*/ 216171 h 228600"/>
                    <a:gd name="connsiteX261" fmla="*/ 208716 w 419100"/>
                    <a:gd name="connsiteY261" fmla="*/ 212485 h 228600"/>
                    <a:gd name="connsiteX262" fmla="*/ 212405 w 419100"/>
                    <a:gd name="connsiteY262" fmla="*/ 212485 h 228600"/>
                    <a:gd name="connsiteX263" fmla="*/ 216095 w 419100"/>
                    <a:gd name="connsiteY263" fmla="*/ 208789 h 228600"/>
                    <a:gd name="connsiteX264" fmla="*/ 223473 w 419100"/>
                    <a:gd name="connsiteY264" fmla="*/ 208789 h 228600"/>
                    <a:gd name="connsiteX265" fmla="*/ 227162 w 419100"/>
                    <a:gd name="connsiteY265" fmla="*/ 208789 h 228600"/>
                    <a:gd name="connsiteX266" fmla="*/ 230852 w 419100"/>
                    <a:gd name="connsiteY266" fmla="*/ 212485 h 228600"/>
                    <a:gd name="connsiteX267" fmla="*/ 234541 w 419100"/>
                    <a:gd name="connsiteY267" fmla="*/ 208789 h 228600"/>
                    <a:gd name="connsiteX268" fmla="*/ 238231 w 419100"/>
                    <a:gd name="connsiteY268" fmla="*/ 194026 h 228600"/>
                    <a:gd name="connsiteX269" fmla="*/ 241920 w 419100"/>
                    <a:gd name="connsiteY269" fmla="*/ 194026 h 228600"/>
                    <a:gd name="connsiteX270" fmla="*/ 241920 w 419100"/>
                    <a:gd name="connsiteY270" fmla="*/ 190339 h 228600"/>
                    <a:gd name="connsiteX271" fmla="*/ 241920 w 419100"/>
                    <a:gd name="connsiteY271" fmla="*/ 186644 h 228600"/>
                    <a:gd name="connsiteX272" fmla="*/ 245609 w 419100"/>
                    <a:gd name="connsiteY272" fmla="*/ 186644 h 228600"/>
                    <a:gd name="connsiteX273" fmla="*/ 245609 w 419100"/>
                    <a:gd name="connsiteY273" fmla="*/ 179271 h 228600"/>
                    <a:gd name="connsiteX274" fmla="*/ 245609 w 419100"/>
                    <a:gd name="connsiteY274" fmla="*/ 175576 h 228600"/>
                    <a:gd name="connsiteX275" fmla="*/ 245609 w 419100"/>
                    <a:gd name="connsiteY275" fmla="*/ 171890 h 228600"/>
                    <a:gd name="connsiteX276" fmla="*/ 245609 w 419100"/>
                    <a:gd name="connsiteY276" fmla="*/ 168194 h 228600"/>
                    <a:gd name="connsiteX277" fmla="*/ 245609 w 419100"/>
                    <a:gd name="connsiteY277" fmla="*/ 164508 h 228600"/>
                    <a:gd name="connsiteX278" fmla="*/ 252987 w 419100"/>
                    <a:gd name="connsiteY278" fmla="*/ 168194 h 228600"/>
                    <a:gd name="connsiteX279" fmla="*/ 260365 w 419100"/>
                    <a:gd name="connsiteY279" fmla="*/ 164508 h 228600"/>
                    <a:gd name="connsiteX280" fmla="*/ 264055 w 419100"/>
                    <a:gd name="connsiteY280" fmla="*/ 164508 h 228600"/>
                    <a:gd name="connsiteX281" fmla="*/ 271433 w 419100"/>
                    <a:gd name="connsiteY281" fmla="*/ 157126 h 228600"/>
                    <a:gd name="connsiteX282" fmla="*/ 275122 w 419100"/>
                    <a:gd name="connsiteY282" fmla="*/ 160812 h 228600"/>
                    <a:gd name="connsiteX283" fmla="*/ 278811 w 419100"/>
                    <a:gd name="connsiteY283" fmla="*/ 164508 h 228600"/>
                    <a:gd name="connsiteX284" fmla="*/ 282500 w 419100"/>
                    <a:gd name="connsiteY284" fmla="*/ 168194 h 228600"/>
                    <a:gd name="connsiteX285" fmla="*/ 282500 w 419100"/>
                    <a:gd name="connsiteY285" fmla="*/ 171890 h 228600"/>
                    <a:gd name="connsiteX286" fmla="*/ 286190 w 419100"/>
                    <a:gd name="connsiteY286" fmla="*/ 171890 h 228600"/>
                    <a:gd name="connsiteX287" fmla="*/ 286190 w 419100"/>
                    <a:gd name="connsiteY287" fmla="*/ 175576 h 228600"/>
                    <a:gd name="connsiteX288" fmla="*/ 289879 w 419100"/>
                    <a:gd name="connsiteY288" fmla="*/ 175576 h 228600"/>
                    <a:gd name="connsiteX289" fmla="*/ 293568 w 419100"/>
                    <a:gd name="connsiteY289" fmla="*/ 175576 h 228600"/>
                    <a:gd name="connsiteX290" fmla="*/ 297257 w 419100"/>
                    <a:gd name="connsiteY290" fmla="*/ 179271 h 228600"/>
                    <a:gd name="connsiteX291" fmla="*/ 300946 w 419100"/>
                    <a:gd name="connsiteY291" fmla="*/ 182958 h 228600"/>
                    <a:gd name="connsiteX292" fmla="*/ 308325 w 419100"/>
                    <a:gd name="connsiteY292" fmla="*/ 182958 h 228600"/>
                    <a:gd name="connsiteX293" fmla="*/ 308325 w 419100"/>
                    <a:gd name="connsiteY293" fmla="*/ 186644 h 228600"/>
                    <a:gd name="connsiteX294" fmla="*/ 308325 w 419100"/>
                    <a:gd name="connsiteY294" fmla="*/ 194026 h 228600"/>
                    <a:gd name="connsiteX295" fmla="*/ 315703 w 419100"/>
                    <a:gd name="connsiteY295" fmla="*/ 197721 h 228600"/>
                    <a:gd name="connsiteX296" fmla="*/ 319392 w 419100"/>
                    <a:gd name="connsiteY296" fmla="*/ 197721 h 228600"/>
                    <a:gd name="connsiteX297" fmla="*/ 323081 w 419100"/>
                    <a:gd name="connsiteY297" fmla="*/ 201407 h 228600"/>
                    <a:gd name="connsiteX298" fmla="*/ 326770 w 419100"/>
                    <a:gd name="connsiteY298" fmla="*/ 201407 h 228600"/>
                    <a:gd name="connsiteX299" fmla="*/ 334149 w 419100"/>
                    <a:gd name="connsiteY299" fmla="*/ 205103 h 228600"/>
                    <a:gd name="connsiteX300" fmla="*/ 341527 w 419100"/>
                    <a:gd name="connsiteY300" fmla="*/ 208789 h 228600"/>
                    <a:gd name="connsiteX301" fmla="*/ 348905 w 419100"/>
                    <a:gd name="connsiteY301" fmla="*/ 208789 h 228600"/>
                    <a:gd name="connsiteX302" fmla="*/ 352594 w 419100"/>
                    <a:gd name="connsiteY302" fmla="*/ 212485 h 228600"/>
                    <a:gd name="connsiteX303" fmla="*/ 359973 w 419100"/>
                    <a:gd name="connsiteY303" fmla="*/ 212485 h 228600"/>
                    <a:gd name="connsiteX304" fmla="*/ 371040 w 419100"/>
                    <a:gd name="connsiteY304" fmla="*/ 208789 h 228600"/>
                    <a:gd name="connsiteX305" fmla="*/ 378419 w 419100"/>
                    <a:gd name="connsiteY305" fmla="*/ 205103 h 228600"/>
                    <a:gd name="connsiteX306" fmla="*/ 382109 w 419100"/>
                    <a:gd name="connsiteY306" fmla="*/ 205103 h 228600"/>
                    <a:gd name="connsiteX307" fmla="*/ 385798 w 419100"/>
                    <a:gd name="connsiteY307" fmla="*/ 205103 h 228600"/>
                    <a:gd name="connsiteX308" fmla="*/ 385798 w 419100"/>
                    <a:gd name="connsiteY308" fmla="*/ 208789 h 228600"/>
                    <a:gd name="connsiteX309" fmla="*/ 389487 w 419100"/>
                    <a:gd name="connsiteY309" fmla="*/ 208789 h 228600"/>
                    <a:gd name="connsiteX310" fmla="*/ 393176 w 419100"/>
                    <a:gd name="connsiteY310" fmla="*/ 208789 h 228600"/>
                    <a:gd name="connsiteX311" fmla="*/ 400555 w 419100"/>
                    <a:gd name="connsiteY311" fmla="*/ 212485 h 228600"/>
                    <a:gd name="connsiteX312" fmla="*/ 404244 w 419100"/>
                    <a:gd name="connsiteY312" fmla="*/ 223553 h 228600"/>
                    <a:gd name="connsiteX313" fmla="*/ 404244 w 419100"/>
                    <a:gd name="connsiteY313" fmla="*/ 230935 h 228600"/>
                    <a:gd name="connsiteX314" fmla="*/ 415311 w 419100"/>
                    <a:gd name="connsiteY314" fmla="*/ 230935 h 228600"/>
                    <a:gd name="connsiteX315" fmla="*/ 422690 w 419100"/>
                    <a:gd name="connsiteY315" fmla="*/ 227249 h 228600"/>
                    <a:gd name="connsiteX316" fmla="*/ 419000 w 419100"/>
                    <a:gd name="connsiteY316" fmla="*/ 223553 h 228600"/>
                    <a:gd name="connsiteX317" fmla="*/ 415311 w 419100"/>
                    <a:gd name="connsiteY317" fmla="*/ 223553 h 228600"/>
                    <a:gd name="connsiteX318" fmla="*/ 415311 w 419100"/>
                    <a:gd name="connsiteY318" fmla="*/ 219867 h 228600"/>
                    <a:gd name="connsiteX319" fmla="*/ 419000 w 419100"/>
                    <a:gd name="connsiteY319" fmla="*/ 208789 h 228600"/>
                    <a:gd name="connsiteX320" fmla="*/ 415311 w 419100"/>
                    <a:gd name="connsiteY320" fmla="*/ 197721 h 228600"/>
                    <a:gd name="connsiteX321" fmla="*/ 415311 w 419100"/>
                    <a:gd name="connsiteY321" fmla="*/ 194026 h 228600"/>
                    <a:gd name="connsiteX322" fmla="*/ 422690 w 419100"/>
                    <a:gd name="connsiteY322" fmla="*/ 190339 h 228600"/>
                    <a:gd name="connsiteX323" fmla="*/ 415311 w 419100"/>
                    <a:gd name="connsiteY323" fmla="*/ 179271 h 228600"/>
                    <a:gd name="connsiteX324" fmla="*/ 400555 w 419100"/>
                    <a:gd name="connsiteY324" fmla="*/ 138666 h 228600"/>
                    <a:gd name="connsiteX325" fmla="*/ 393176 w 419100"/>
                    <a:gd name="connsiteY325" fmla="*/ 123912 h 228600"/>
                    <a:gd name="connsiteX326" fmla="*/ 393176 w 419100"/>
                    <a:gd name="connsiteY326" fmla="*/ 120216 h 228600"/>
                    <a:gd name="connsiteX327" fmla="*/ 396865 w 419100"/>
                    <a:gd name="connsiteY327" fmla="*/ 112835 h 228600"/>
                    <a:gd name="connsiteX328" fmla="*/ 400555 w 419100"/>
                    <a:gd name="connsiteY328" fmla="*/ 101766 h 228600"/>
                    <a:gd name="connsiteX329" fmla="*/ 404244 w 419100"/>
                    <a:gd name="connsiteY329" fmla="*/ 94384 h 228600"/>
                    <a:gd name="connsiteX330" fmla="*/ 404244 w 419100"/>
                    <a:gd name="connsiteY330" fmla="*/ 90689 h 228600"/>
                    <a:gd name="connsiteX331" fmla="*/ 400555 w 419100"/>
                    <a:gd name="connsiteY331" fmla="*/ 87003 h 228600"/>
                    <a:gd name="connsiteX332" fmla="*/ 400555 w 419100"/>
                    <a:gd name="connsiteY332" fmla="*/ 79621 h 228600"/>
                    <a:gd name="connsiteX333" fmla="*/ 385798 w 419100"/>
                    <a:gd name="connsiteY333" fmla="*/ 61171 h 228600"/>
                    <a:gd name="connsiteX334" fmla="*/ 382109 w 419100"/>
                    <a:gd name="connsiteY334" fmla="*/ 57475 h 228600"/>
                    <a:gd name="connsiteX335" fmla="*/ 382109 w 419100"/>
                    <a:gd name="connsiteY335" fmla="*/ 53789 h 228600"/>
                    <a:gd name="connsiteX336" fmla="*/ 382109 w 419100"/>
                    <a:gd name="connsiteY336" fmla="*/ 46407 h 228600"/>
                    <a:gd name="connsiteX337" fmla="*/ 382109 w 419100"/>
                    <a:gd name="connsiteY337" fmla="*/ 42711 h 228600"/>
                    <a:gd name="connsiteX338" fmla="*/ 385798 w 419100"/>
                    <a:gd name="connsiteY338" fmla="*/ 35339 h 228600"/>
                    <a:gd name="connsiteX339" fmla="*/ 389487 w 419100"/>
                    <a:gd name="connsiteY339" fmla="*/ 31643 h 228600"/>
                    <a:gd name="connsiteX340" fmla="*/ 393176 w 419100"/>
                    <a:gd name="connsiteY340" fmla="*/ 27957 h 228600"/>
                    <a:gd name="connsiteX341" fmla="*/ 404244 w 419100"/>
                    <a:gd name="connsiteY341" fmla="*/ 24261 h 228600"/>
                    <a:gd name="connsiteX342" fmla="*/ 400555 w 419100"/>
                    <a:gd name="connsiteY342" fmla="*/ 24261 h 228600"/>
                    <a:gd name="connsiteX343" fmla="*/ 393176 w 419100"/>
                    <a:gd name="connsiteY343" fmla="*/ 20575 h 228600"/>
                    <a:gd name="connsiteX344" fmla="*/ 385798 w 419100"/>
                    <a:gd name="connsiteY344" fmla="*/ 20575 h 228600"/>
                    <a:gd name="connsiteX345" fmla="*/ 382109 w 419100"/>
                    <a:gd name="connsiteY345" fmla="*/ 20575 h 228600"/>
                    <a:gd name="connsiteX346" fmla="*/ 378419 w 419100"/>
                    <a:gd name="connsiteY346" fmla="*/ 20575 h 228600"/>
                    <a:gd name="connsiteX347" fmla="*/ 371040 w 419100"/>
                    <a:gd name="connsiteY347" fmla="*/ 16880 h 228600"/>
                    <a:gd name="connsiteX348" fmla="*/ 359973 w 419100"/>
                    <a:gd name="connsiteY348" fmla="*/ 9498 h 228600"/>
                    <a:gd name="connsiteX349" fmla="*/ 356284 w 419100"/>
                    <a:gd name="connsiteY349" fmla="*/ 9498 h 228600"/>
                    <a:gd name="connsiteX350" fmla="*/ 345216 w 419100"/>
                    <a:gd name="connsiteY350" fmla="*/ 5812 h 228600"/>
                    <a:gd name="connsiteX351" fmla="*/ 134933 w 419100"/>
                    <a:gd name="connsiteY351" fmla="*/ 171890 h 228600"/>
                    <a:gd name="connsiteX352" fmla="*/ 138622 w 419100"/>
                    <a:gd name="connsiteY352" fmla="*/ 164508 h 228600"/>
                    <a:gd name="connsiteX353" fmla="*/ 134933 w 419100"/>
                    <a:gd name="connsiteY353" fmla="*/ 168194 h 228600"/>
                    <a:gd name="connsiteX354" fmla="*/ 134933 w 419100"/>
                    <a:gd name="connsiteY354" fmla="*/ 17189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419100" h="228600">
                      <a:moveTo>
                        <a:pt x="345216" y="5812"/>
                      </a:moveTo>
                      <a:lnTo>
                        <a:pt x="345216" y="9498"/>
                      </a:lnTo>
                      <a:lnTo>
                        <a:pt x="337838" y="16880"/>
                      </a:lnTo>
                      <a:lnTo>
                        <a:pt x="334149" y="16880"/>
                      </a:lnTo>
                      <a:lnTo>
                        <a:pt x="337838" y="24261"/>
                      </a:lnTo>
                      <a:lnTo>
                        <a:pt x="341527" y="24261"/>
                      </a:lnTo>
                      <a:lnTo>
                        <a:pt x="345216" y="31643"/>
                      </a:lnTo>
                      <a:lnTo>
                        <a:pt x="348905" y="39025"/>
                      </a:lnTo>
                      <a:lnTo>
                        <a:pt x="356284" y="39025"/>
                      </a:lnTo>
                      <a:lnTo>
                        <a:pt x="363662" y="39025"/>
                      </a:lnTo>
                      <a:lnTo>
                        <a:pt x="367351" y="39025"/>
                      </a:lnTo>
                      <a:lnTo>
                        <a:pt x="371040" y="39025"/>
                      </a:lnTo>
                      <a:lnTo>
                        <a:pt x="371040" y="35339"/>
                      </a:lnTo>
                      <a:lnTo>
                        <a:pt x="374730" y="35339"/>
                      </a:lnTo>
                      <a:lnTo>
                        <a:pt x="374730" y="39025"/>
                      </a:lnTo>
                      <a:lnTo>
                        <a:pt x="374730" y="42711"/>
                      </a:lnTo>
                      <a:lnTo>
                        <a:pt x="371040" y="46407"/>
                      </a:lnTo>
                      <a:lnTo>
                        <a:pt x="367351" y="46407"/>
                      </a:lnTo>
                      <a:lnTo>
                        <a:pt x="363662" y="46407"/>
                      </a:lnTo>
                      <a:lnTo>
                        <a:pt x="359973" y="46407"/>
                      </a:lnTo>
                      <a:lnTo>
                        <a:pt x="356284" y="46407"/>
                      </a:lnTo>
                      <a:lnTo>
                        <a:pt x="352594" y="46407"/>
                      </a:lnTo>
                      <a:lnTo>
                        <a:pt x="348905" y="50093"/>
                      </a:lnTo>
                      <a:lnTo>
                        <a:pt x="345216" y="50093"/>
                      </a:lnTo>
                      <a:lnTo>
                        <a:pt x="337838" y="42711"/>
                      </a:lnTo>
                      <a:lnTo>
                        <a:pt x="323081" y="39025"/>
                      </a:lnTo>
                      <a:lnTo>
                        <a:pt x="319392" y="39025"/>
                      </a:lnTo>
                      <a:lnTo>
                        <a:pt x="312014" y="42711"/>
                      </a:lnTo>
                      <a:lnTo>
                        <a:pt x="308325" y="46407"/>
                      </a:lnTo>
                      <a:lnTo>
                        <a:pt x="304635" y="46407"/>
                      </a:lnTo>
                      <a:lnTo>
                        <a:pt x="297257" y="50093"/>
                      </a:lnTo>
                      <a:lnTo>
                        <a:pt x="293568" y="53789"/>
                      </a:lnTo>
                      <a:lnTo>
                        <a:pt x="289879" y="50093"/>
                      </a:lnTo>
                      <a:lnTo>
                        <a:pt x="282500" y="53789"/>
                      </a:lnTo>
                      <a:lnTo>
                        <a:pt x="278811" y="57475"/>
                      </a:lnTo>
                      <a:lnTo>
                        <a:pt x="278811" y="64857"/>
                      </a:lnTo>
                      <a:lnTo>
                        <a:pt x="282500" y="64857"/>
                      </a:lnTo>
                      <a:lnTo>
                        <a:pt x="282500" y="68553"/>
                      </a:lnTo>
                      <a:lnTo>
                        <a:pt x="286190" y="68553"/>
                      </a:lnTo>
                      <a:lnTo>
                        <a:pt x="289879" y="68553"/>
                      </a:lnTo>
                      <a:lnTo>
                        <a:pt x="293568" y="72239"/>
                      </a:lnTo>
                      <a:lnTo>
                        <a:pt x="297257" y="75935"/>
                      </a:lnTo>
                      <a:lnTo>
                        <a:pt x="300946" y="75935"/>
                      </a:lnTo>
                      <a:lnTo>
                        <a:pt x="300946" y="79621"/>
                      </a:lnTo>
                      <a:lnTo>
                        <a:pt x="300946" y="83317"/>
                      </a:lnTo>
                      <a:lnTo>
                        <a:pt x="304635" y="87003"/>
                      </a:lnTo>
                      <a:lnTo>
                        <a:pt x="308325" y="87003"/>
                      </a:lnTo>
                      <a:lnTo>
                        <a:pt x="312014" y="90689"/>
                      </a:lnTo>
                      <a:lnTo>
                        <a:pt x="315703" y="94384"/>
                      </a:lnTo>
                      <a:lnTo>
                        <a:pt x="315703" y="101766"/>
                      </a:lnTo>
                      <a:lnTo>
                        <a:pt x="319392" y="105453"/>
                      </a:lnTo>
                      <a:lnTo>
                        <a:pt x="323081" y="105453"/>
                      </a:lnTo>
                      <a:lnTo>
                        <a:pt x="323081" y="109148"/>
                      </a:lnTo>
                      <a:lnTo>
                        <a:pt x="326770" y="109148"/>
                      </a:lnTo>
                      <a:lnTo>
                        <a:pt x="330460" y="109148"/>
                      </a:lnTo>
                      <a:lnTo>
                        <a:pt x="345216" y="109148"/>
                      </a:lnTo>
                      <a:lnTo>
                        <a:pt x="348905" y="109148"/>
                      </a:lnTo>
                      <a:lnTo>
                        <a:pt x="352594" y="109148"/>
                      </a:lnTo>
                      <a:lnTo>
                        <a:pt x="356284" y="112835"/>
                      </a:lnTo>
                      <a:lnTo>
                        <a:pt x="359973" y="112835"/>
                      </a:lnTo>
                      <a:lnTo>
                        <a:pt x="359973" y="109148"/>
                      </a:lnTo>
                      <a:lnTo>
                        <a:pt x="367351" y="112835"/>
                      </a:lnTo>
                      <a:lnTo>
                        <a:pt x="374730" y="116530"/>
                      </a:lnTo>
                      <a:lnTo>
                        <a:pt x="371040" y="120216"/>
                      </a:lnTo>
                      <a:lnTo>
                        <a:pt x="371040" y="123912"/>
                      </a:lnTo>
                      <a:lnTo>
                        <a:pt x="371040" y="127598"/>
                      </a:lnTo>
                      <a:lnTo>
                        <a:pt x="374730" y="127598"/>
                      </a:lnTo>
                      <a:lnTo>
                        <a:pt x="389487" y="134980"/>
                      </a:lnTo>
                      <a:lnTo>
                        <a:pt x="393176" y="138666"/>
                      </a:lnTo>
                      <a:lnTo>
                        <a:pt x="393176" y="160812"/>
                      </a:lnTo>
                      <a:lnTo>
                        <a:pt x="393176" y="164508"/>
                      </a:lnTo>
                      <a:lnTo>
                        <a:pt x="396865" y="179271"/>
                      </a:lnTo>
                      <a:lnTo>
                        <a:pt x="393176" y="179271"/>
                      </a:lnTo>
                      <a:lnTo>
                        <a:pt x="389487" y="179271"/>
                      </a:lnTo>
                      <a:lnTo>
                        <a:pt x="385798" y="179271"/>
                      </a:lnTo>
                      <a:lnTo>
                        <a:pt x="382109" y="175576"/>
                      </a:lnTo>
                      <a:lnTo>
                        <a:pt x="378419" y="175576"/>
                      </a:lnTo>
                      <a:lnTo>
                        <a:pt x="374730" y="175576"/>
                      </a:lnTo>
                      <a:lnTo>
                        <a:pt x="371040" y="175576"/>
                      </a:lnTo>
                      <a:lnTo>
                        <a:pt x="367351" y="179271"/>
                      </a:lnTo>
                      <a:lnTo>
                        <a:pt x="363662" y="179271"/>
                      </a:lnTo>
                      <a:lnTo>
                        <a:pt x="359973" y="182958"/>
                      </a:lnTo>
                      <a:lnTo>
                        <a:pt x="356284" y="182958"/>
                      </a:lnTo>
                      <a:lnTo>
                        <a:pt x="352594" y="182958"/>
                      </a:lnTo>
                      <a:lnTo>
                        <a:pt x="348905" y="182958"/>
                      </a:lnTo>
                      <a:lnTo>
                        <a:pt x="348905" y="179271"/>
                      </a:lnTo>
                      <a:lnTo>
                        <a:pt x="345216" y="179271"/>
                      </a:lnTo>
                      <a:lnTo>
                        <a:pt x="334149" y="171890"/>
                      </a:lnTo>
                      <a:lnTo>
                        <a:pt x="330460" y="171890"/>
                      </a:lnTo>
                      <a:lnTo>
                        <a:pt x="326770" y="160812"/>
                      </a:lnTo>
                      <a:lnTo>
                        <a:pt x="323081" y="160812"/>
                      </a:lnTo>
                      <a:lnTo>
                        <a:pt x="315703" y="149744"/>
                      </a:lnTo>
                      <a:lnTo>
                        <a:pt x="315703" y="146048"/>
                      </a:lnTo>
                      <a:lnTo>
                        <a:pt x="312014" y="142362"/>
                      </a:lnTo>
                      <a:lnTo>
                        <a:pt x="315703" y="138666"/>
                      </a:lnTo>
                      <a:lnTo>
                        <a:pt x="312014" y="134980"/>
                      </a:lnTo>
                      <a:lnTo>
                        <a:pt x="312014" y="131294"/>
                      </a:lnTo>
                      <a:lnTo>
                        <a:pt x="312014" y="127598"/>
                      </a:lnTo>
                      <a:lnTo>
                        <a:pt x="308325" y="127598"/>
                      </a:lnTo>
                      <a:lnTo>
                        <a:pt x="304635" y="123912"/>
                      </a:lnTo>
                      <a:lnTo>
                        <a:pt x="297257" y="116530"/>
                      </a:lnTo>
                      <a:lnTo>
                        <a:pt x="293568" y="112835"/>
                      </a:lnTo>
                      <a:lnTo>
                        <a:pt x="289879" y="112835"/>
                      </a:lnTo>
                      <a:lnTo>
                        <a:pt x="286190" y="112835"/>
                      </a:lnTo>
                      <a:lnTo>
                        <a:pt x="282500" y="109148"/>
                      </a:lnTo>
                      <a:lnTo>
                        <a:pt x="278811" y="109148"/>
                      </a:lnTo>
                      <a:lnTo>
                        <a:pt x="271433" y="105453"/>
                      </a:lnTo>
                      <a:lnTo>
                        <a:pt x="267744" y="105453"/>
                      </a:lnTo>
                      <a:lnTo>
                        <a:pt x="264055" y="101766"/>
                      </a:lnTo>
                      <a:lnTo>
                        <a:pt x="260365" y="105453"/>
                      </a:lnTo>
                      <a:lnTo>
                        <a:pt x="256676" y="105453"/>
                      </a:lnTo>
                      <a:lnTo>
                        <a:pt x="256676" y="109148"/>
                      </a:lnTo>
                      <a:lnTo>
                        <a:pt x="249298" y="98071"/>
                      </a:lnTo>
                      <a:lnTo>
                        <a:pt x="252987" y="98071"/>
                      </a:lnTo>
                      <a:lnTo>
                        <a:pt x="249298" y="94384"/>
                      </a:lnTo>
                      <a:lnTo>
                        <a:pt x="249298" y="90689"/>
                      </a:lnTo>
                      <a:lnTo>
                        <a:pt x="245609" y="90689"/>
                      </a:lnTo>
                      <a:lnTo>
                        <a:pt x="241920" y="90689"/>
                      </a:lnTo>
                      <a:lnTo>
                        <a:pt x="238231" y="90689"/>
                      </a:lnTo>
                      <a:lnTo>
                        <a:pt x="234541" y="94384"/>
                      </a:lnTo>
                      <a:lnTo>
                        <a:pt x="230852" y="94384"/>
                      </a:lnTo>
                      <a:lnTo>
                        <a:pt x="227162" y="94384"/>
                      </a:lnTo>
                      <a:lnTo>
                        <a:pt x="219784" y="94384"/>
                      </a:lnTo>
                      <a:lnTo>
                        <a:pt x="216095" y="94384"/>
                      </a:lnTo>
                      <a:lnTo>
                        <a:pt x="212405" y="94384"/>
                      </a:lnTo>
                      <a:lnTo>
                        <a:pt x="208716" y="94384"/>
                      </a:lnTo>
                      <a:lnTo>
                        <a:pt x="208716" y="90689"/>
                      </a:lnTo>
                      <a:lnTo>
                        <a:pt x="205027" y="87003"/>
                      </a:lnTo>
                      <a:lnTo>
                        <a:pt x="197649" y="87003"/>
                      </a:lnTo>
                      <a:lnTo>
                        <a:pt x="190270" y="90689"/>
                      </a:lnTo>
                      <a:lnTo>
                        <a:pt x="186581" y="90689"/>
                      </a:lnTo>
                      <a:lnTo>
                        <a:pt x="182892" y="94384"/>
                      </a:lnTo>
                      <a:lnTo>
                        <a:pt x="171825" y="90689"/>
                      </a:lnTo>
                      <a:lnTo>
                        <a:pt x="168136" y="90689"/>
                      </a:lnTo>
                      <a:lnTo>
                        <a:pt x="164446" y="87003"/>
                      </a:lnTo>
                      <a:lnTo>
                        <a:pt x="160757" y="90689"/>
                      </a:lnTo>
                      <a:lnTo>
                        <a:pt x="153379" y="94384"/>
                      </a:lnTo>
                      <a:lnTo>
                        <a:pt x="153379" y="98071"/>
                      </a:lnTo>
                      <a:lnTo>
                        <a:pt x="149690" y="101766"/>
                      </a:lnTo>
                      <a:lnTo>
                        <a:pt x="149690" y="105453"/>
                      </a:lnTo>
                      <a:lnTo>
                        <a:pt x="146001" y="109148"/>
                      </a:lnTo>
                      <a:lnTo>
                        <a:pt x="142311" y="109148"/>
                      </a:lnTo>
                      <a:lnTo>
                        <a:pt x="138622" y="112835"/>
                      </a:lnTo>
                      <a:lnTo>
                        <a:pt x="142311" y="112835"/>
                      </a:lnTo>
                      <a:lnTo>
                        <a:pt x="146001" y="112835"/>
                      </a:lnTo>
                      <a:lnTo>
                        <a:pt x="138622" y="116530"/>
                      </a:lnTo>
                      <a:lnTo>
                        <a:pt x="138622" y="112835"/>
                      </a:lnTo>
                      <a:lnTo>
                        <a:pt x="131244" y="105453"/>
                      </a:lnTo>
                      <a:lnTo>
                        <a:pt x="127555" y="101766"/>
                      </a:lnTo>
                      <a:lnTo>
                        <a:pt x="127555" y="98071"/>
                      </a:lnTo>
                      <a:lnTo>
                        <a:pt x="123866" y="87003"/>
                      </a:lnTo>
                      <a:lnTo>
                        <a:pt x="123866" y="83317"/>
                      </a:lnTo>
                      <a:lnTo>
                        <a:pt x="120176" y="83317"/>
                      </a:lnTo>
                      <a:lnTo>
                        <a:pt x="116487" y="79621"/>
                      </a:lnTo>
                      <a:lnTo>
                        <a:pt x="109109" y="75935"/>
                      </a:lnTo>
                      <a:lnTo>
                        <a:pt x="105420" y="72239"/>
                      </a:lnTo>
                      <a:lnTo>
                        <a:pt x="101731" y="68553"/>
                      </a:lnTo>
                      <a:lnTo>
                        <a:pt x="101731" y="64857"/>
                      </a:lnTo>
                      <a:lnTo>
                        <a:pt x="101731" y="57475"/>
                      </a:lnTo>
                      <a:lnTo>
                        <a:pt x="105420" y="53789"/>
                      </a:lnTo>
                      <a:lnTo>
                        <a:pt x="101731" y="53789"/>
                      </a:lnTo>
                      <a:lnTo>
                        <a:pt x="98041" y="53789"/>
                      </a:lnTo>
                      <a:lnTo>
                        <a:pt x="94352" y="50093"/>
                      </a:lnTo>
                      <a:lnTo>
                        <a:pt x="83284" y="50093"/>
                      </a:lnTo>
                      <a:lnTo>
                        <a:pt x="79595" y="50093"/>
                      </a:lnTo>
                      <a:lnTo>
                        <a:pt x="75906" y="50093"/>
                      </a:lnTo>
                      <a:lnTo>
                        <a:pt x="68527" y="50093"/>
                      </a:lnTo>
                      <a:lnTo>
                        <a:pt x="68527" y="53789"/>
                      </a:lnTo>
                      <a:lnTo>
                        <a:pt x="64838" y="53789"/>
                      </a:lnTo>
                      <a:lnTo>
                        <a:pt x="61149" y="53789"/>
                      </a:lnTo>
                      <a:lnTo>
                        <a:pt x="57460" y="57475"/>
                      </a:lnTo>
                      <a:lnTo>
                        <a:pt x="50081" y="61171"/>
                      </a:lnTo>
                      <a:lnTo>
                        <a:pt x="46393" y="64857"/>
                      </a:lnTo>
                      <a:lnTo>
                        <a:pt x="39014" y="68553"/>
                      </a:lnTo>
                      <a:lnTo>
                        <a:pt x="35325" y="68553"/>
                      </a:lnTo>
                      <a:lnTo>
                        <a:pt x="31636" y="72239"/>
                      </a:lnTo>
                      <a:lnTo>
                        <a:pt x="27947" y="75935"/>
                      </a:lnTo>
                      <a:lnTo>
                        <a:pt x="20568" y="79621"/>
                      </a:lnTo>
                      <a:lnTo>
                        <a:pt x="16879" y="83317"/>
                      </a:lnTo>
                      <a:lnTo>
                        <a:pt x="13190" y="83317"/>
                      </a:lnTo>
                      <a:lnTo>
                        <a:pt x="9501" y="87003"/>
                      </a:lnTo>
                      <a:lnTo>
                        <a:pt x="5812" y="90689"/>
                      </a:lnTo>
                      <a:lnTo>
                        <a:pt x="5812" y="94384"/>
                      </a:lnTo>
                      <a:lnTo>
                        <a:pt x="5812" y="98071"/>
                      </a:lnTo>
                      <a:lnTo>
                        <a:pt x="5812" y="101766"/>
                      </a:lnTo>
                      <a:lnTo>
                        <a:pt x="9501" y="109148"/>
                      </a:lnTo>
                      <a:lnTo>
                        <a:pt x="13190" y="109148"/>
                      </a:lnTo>
                      <a:lnTo>
                        <a:pt x="16879" y="112835"/>
                      </a:lnTo>
                      <a:lnTo>
                        <a:pt x="20568" y="116530"/>
                      </a:lnTo>
                      <a:lnTo>
                        <a:pt x="27947" y="120216"/>
                      </a:lnTo>
                      <a:lnTo>
                        <a:pt x="27947" y="123912"/>
                      </a:lnTo>
                      <a:lnTo>
                        <a:pt x="31636" y="123912"/>
                      </a:lnTo>
                      <a:lnTo>
                        <a:pt x="35325" y="127598"/>
                      </a:lnTo>
                      <a:lnTo>
                        <a:pt x="39014" y="131294"/>
                      </a:lnTo>
                      <a:lnTo>
                        <a:pt x="39014" y="134980"/>
                      </a:lnTo>
                      <a:lnTo>
                        <a:pt x="42703" y="138666"/>
                      </a:lnTo>
                      <a:lnTo>
                        <a:pt x="42703" y="142362"/>
                      </a:lnTo>
                      <a:lnTo>
                        <a:pt x="46393" y="146048"/>
                      </a:lnTo>
                      <a:lnTo>
                        <a:pt x="46393" y="149744"/>
                      </a:lnTo>
                      <a:lnTo>
                        <a:pt x="50081" y="153430"/>
                      </a:lnTo>
                      <a:lnTo>
                        <a:pt x="53771" y="157126"/>
                      </a:lnTo>
                      <a:lnTo>
                        <a:pt x="61149" y="160812"/>
                      </a:lnTo>
                      <a:lnTo>
                        <a:pt x="61149" y="164508"/>
                      </a:lnTo>
                      <a:lnTo>
                        <a:pt x="64838" y="164508"/>
                      </a:lnTo>
                      <a:lnTo>
                        <a:pt x="68527" y="168194"/>
                      </a:lnTo>
                      <a:lnTo>
                        <a:pt x="68527" y="171890"/>
                      </a:lnTo>
                      <a:lnTo>
                        <a:pt x="72216" y="171890"/>
                      </a:lnTo>
                      <a:lnTo>
                        <a:pt x="79595" y="171890"/>
                      </a:lnTo>
                      <a:lnTo>
                        <a:pt x="83284" y="171890"/>
                      </a:lnTo>
                      <a:lnTo>
                        <a:pt x="83284" y="168194"/>
                      </a:lnTo>
                      <a:lnTo>
                        <a:pt x="83284" y="160812"/>
                      </a:lnTo>
                      <a:lnTo>
                        <a:pt x="86974" y="160812"/>
                      </a:lnTo>
                      <a:lnTo>
                        <a:pt x="86974" y="168194"/>
                      </a:lnTo>
                      <a:lnTo>
                        <a:pt x="90663" y="171890"/>
                      </a:lnTo>
                      <a:lnTo>
                        <a:pt x="94352" y="171890"/>
                      </a:lnTo>
                      <a:lnTo>
                        <a:pt x="101731" y="171890"/>
                      </a:lnTo>
                      <a:lnTo>
                        <a:pt x="105420" y="168194"/>
                      </a:lnTo>
                      <a:lnTo>
                        <a:pt x="105420" y="164508"/>
                      </a:lnTo>
                      <a:lnTo>
                        <a:pt x="109109" y="164508"/>
                      </a:lnTo>
                      <a:lnTo>
                        <a:pt x="116487" y="164508"/>
                      </a:lnTo>
                      <a:lnTo>
                        <a:pt x="120176" y="164508"/>
                      </a:lnTo>
                      <a:lnTo>
                        <a:pt x="112798" y="160812"/>
                      </a:lnTo>
                      <a:lnTo>
                        <a:pt x="116487" y="157126"/>
                      </a:lnTo>
                      <a:lnTo>
                        <a:pt x="123866" y="153430"/>
                      </a:lnTo>
                      <a:lnTo>
                        <a:pt x="127555" y="153430"/>
                      </a:lnTo>
                      <a:lnTo>
                        <a:pt x="127555" y="157126"/>
                      </a:lnTo>
                      <a:lnTo>
                        <a:pt x="138622" y="149744"/>
                      </a:lnTo>
                      <a:lnTo>
                        <a:pt x="138622" y="146048"/>
                      </a:lnTo>
                      <a:lnTo>
                        <a:pt x="138622" y="142362"/>
                      </a:lnTo>
                      <a:lnTo>
                        <a:pt x="142311" y="146048"/>
                      </a:lnTo>
                      <a:lnTo>
                        <a:pt x="142311" y="149744"/>
                      </a:lnTo>
                      <a:lnTo>
                        <a:pt x="146001" y="149744"/>
                      </a:lnTo>
                      <a:lnTo>
                        <a:pt x="142311" y="153430"/>
                      </a:lnTo>
                      <a:lnTo>
                        <a:pt x="142311" y="160812"/>
                      </a:lnTo>
                      <a:lnTo>
                        <a:pt x="146001" y="160812"/>
                      </a:lnTo>
                      <a:lnTo>
                        <a:pt x="142311" y="164508"/>
                      </a:lnTo>
                      <a:lnTo>
                        <a:pt x="146001" y="168194"/>
                      </a:lnTo>
                      <a:lnTo>
                        <a:pt x="146001" y="171890"/>
                      </a:lnTo>
                      <a:lnTo>
                        <a:pt x="142311" y="168194"/>
                      </a:lnTo>
                      <a:lnTo>
                        <a:pt x="138622" y="171890"/>
                      </a:lnTo>
                      <a:lnTo>
                        <a:pt x="134933" y="171890"/>
                      </a:lnTo>
                      <a:lnTo>
                        <a:pt x="138622" y="175576"/>
                      </a:lnTo>
                      <a:lnTo>
                        <a:pt x="142311" y="179271"/>
                      </a:lnTo>
                      <a:lnTo>
                        <a:pt x="142311" y="182958"/>
                      </a:lnTo>
                      <a:lnTo>
                        <a:pt x="146001" y="182958"/>
                      </a:lnTo>
                      <a:lnTo>
                        <a:pt x="146001" y="190339"/>
                      </a:lnTo>
                      <a:lnTo>
                        <a:pt x="146001" y="194026"/>
                      </a:lnTo>
                      <a:lnTo>
                        <a:pt x="149690" y="194026"/>
                      </a:lnTo>
                      <a:lnTo>
                        <a:pt x="153379" y="197721"/>
                      </a:lnTo>
                      <a:lnTo>
                        <a:pt x="157068" y="197721"/>
                      </a:lnTo>
                      <a:lnTo>
                        <a:pt x="157068" y="194026"/>
                      </a:lnTo>
                      <a:lnTo>
                        <a:pt x="160757" y="194026"/>
                      </a:lnTo>
                      <a:lnTo>
                        <a:pt x="168136" y="197721"/>
                      </a:lnTo>
                      <a:lnTo>
                        <a:pt x="171825" y="197721"/>
                      </a:lnTo>
                      <a:lnTo>
                        <a:pt x="171825" y="201407"/>
                      </a:lnTo>
                      <a:lnTo>
                        <a:pt x="179203" y="205103"/>
                      </a:lnTo>
                      <a:lnTo>
                        <a:pt x="179203" y="208789"/>
                      </a:lnTo>
                      <a:lnTo>
                        <a:pt x="182892" y="208789"/>
                      </a:lnTo>
                      <a:lnTo>
                        <a:pt x="190270" y="216171"/>
                      </a:lnTo>
                      <a:lnTo>
                        <a:pt x="193960" y="216171"/>
                      </a:lnTo>
                      <a:lnTo>
                        <a:pt x="201338" y="216171"/>
                      </a:lnTo>
                      <a:lnTo>
                        <a:pt x="208716" y="212485"/>
                      </a:lnTo>
                      <a:lnTo>
                        <a:pt x="212405" y="212485"/>
                      </a:lnTo>
                      <a:lnTo>
                        <a:pt x="216095" y="208789"/>
                      </a:lnTo>
                      <a:lnTo>
                        <a:pt x="223473" y="208789"/>
                      </a:lnTo>
                      <a:lnTo>
                        <a:pt x="227162" y="208789"/>
                      </a:lnTo>
                      <a:lnTo>
                        <a:pt x="230852" y="212485"/>
                      </a:lnTo>
                      <a:lnTo>
                        <a:pt x="234541" y="208789"/>
                      </a:lnTo>
                      <a:lnTo>
                        <a:pt x="238231" y="194026"/>
                      </a:lnTo>
                      <a:lnTo>
                        <a:pt x="241920" y="194026"/>
                      </a:lnTo>
                      <a:lnTo>
                        <a:pt x="241920" y="190339"/>
                      </a:lnTo>
                      <a:lnTo>
                        <a:pt x="241920" y="186644"/>
                      </a:lnTo>
                      <a:lnTo>
                        <a:pt x="245609" y="186644"/>
                      </a:lnTo>
                      <a:lnTo>
                        <a:pt x="245609" y="179271"/>
                      </a:lnTo>
                      <a:lnTo>
                        <a:pt x="245609" y="175576"/>
                      </a:lnTo>
                      <a:lnTo>
                        <a:pt x="245609" y="171890"/>
                      </a:lnTo>
                      <a:lnTo>
                        <a:pt x="245609" y="168194"/>
                      </a:lnTo>
                      <a:lnTo>
                        <a:pt x="245609" y="164508"/>
                      </a:lnTo>
                      <a:lnTo>
                        <a:pt x="252987" y="168194"/>
                      </a:lnTo>
                      <a:lnTo>
                        <a:pt x="260365" y="164508"/>
                      </a:lnTo>
                      <a:lnTo>
                        <a:pt x="264055" y="164508"/>
                      </a:lnTo>
                      <a:lnTo>
                        <a:pt x="271433" y="157126"/>
                      </a:lnTo>
                      <a:lnTo>
                        <a:pt x="275122" y="160812"/>
                      </a:lnTo>
                      <a:lnTo>
                        <a:pt x="278811" y="164508"/>
                      </a:lnTo>
                      <a:lnTo>
                        <a:pt x="282500" y="168194"/>
                      </a:lnTo>
                      <a:lnTo>
                        <a:pt x="282500" y="171890"/>
                      </a:lnTo>
                      <a:lnTo>
                        <a:pt x="286190" y="171890"/>
                      </a:lnTo>
                      <a:lnTo>
                        <a:pt x="286190" y="175576"/>
                      </a:lnTo>
                      <a:lnTo>
                        <a:pt x="289879" y="175576"/>
                      </a:lnTo>
                      <a:lnTo>
                        <a:pt x="293568" y="175576"/>
                      </a:lnTo>
                      <a:lnTo>
                        <a:pt x="297257" y="179271"/>
                      </a:lnTo>
                      <a:lnTo>
                        <a:pt x="300946" y="182958"/>
                      </a:lnTo>
                      <a:lnTo>
                        <a:pt x="308325" y="182958"/>
                      </a:lnTo>
                      <a:lnTo>
                        <a:pt x="308325" y="186644"/>
                      </a:lnTo>
                      <a:lnTo>
                        <a:pt x="308325" y="194026"/>
                      </a:lnTo>
                      <a:lnTo>
                        <a:pt x="315703" y="197721"/>
                      </a:lnTo>
                      <a:lnTo>
                        <a:pt x="319392" y="197721"/>
                      </a:lnTo>
                      <a:lnTo>
                        <a:pt x="323081" y="201407"/>
                      </a:lnTo>
                      <a:lnTo>
                        <a:pt x="326770" y="201407"/>
                      </a:lnTo>
                      <a:lnTo>
                        <a:pt x="334149" y="205103"/>
                      </a:lnTo>
                      <a:lnTo>
                        <a:pt x="341527" y="208789"/>
                      </a:lnTo>
                      <a:lnTo>
                        <a:pt x="348905" y="208789"/>
                      </a:lnTo>
                      <a:lnTo>
                        <a:pt x="352594" y="212485"/>
                      </a:lnTo>
                      <a:lnTo>
                        <a:pt x="359973" y="212485"/>
                      </a:lnTo>
                      <a:lnTo>
                        <a:pt x="371040" y="208789"/>
                      </a:lnTo>
                      <a:lnTo>
                        <a:pt x="378419" y="205103"/>
                      </a:lnTo>
                      <a:lnTo>
                        <a:pt x="382109" y="205103"/>
                      </a:lnTo>
                      <a:lnTo>
                        <a:pt x="385798" y="205103"/>
                      </a:lnTo>
                      <a:lnTo>
                        <a:pt x="385798" y="208789"/>
                      </a:lnTo>
                      <a:lnTo>
                        <a:pt x="389487" y="208789"/>
                      </a:lnTo>
                      <a:lnTo>
                        <a:pt x="393176" y="208789"/>
                      </a:lnTo>
                      <a:lnTo>
                        <a:pt x="400555" y="212485"/>
                      </a:lnTo>
                      <a:lnTo>
                        <a:pt x="404244" y="223553"/>
                      </a:lnTo>
                      <a:lnTo>
                        <a:pt x="404244" y="230935"/>
                      </a:lnTo>
                      <a:lnTo>
                        <a:pt x="415311" y="230935"/>
                      </a:lnTo>
                      <a:lnTo>
                        <a:pt x="422690" y="227249"/>
                      </a:lnTo>
                      <a:lnTo>
                        <a:pt x="419000" y="223553"/>
                      </a:lnTo>
                      <a:lnTo>
                        <a:pt x="415311" y="223553"/>
                      </a:lnTo>
                      <a:lnTo>
                        <a:pt x="415311" y="219867"/>
                      </a:lnTo>
                      <a:lnTo>
                        <a:pt x="419000" y="208789"/>
                      </a:lnTo>
                      <a:lnTo>
                        <a:pt x="415311" y="197721"/>
                      </a:lnTo>
                      <a:lnTo>
                        <a:pt x="415311" y="194026"/>
                      </a:lnTo>
                      <a:lnTo>
                        <a:pt x="422690" y="190339"/>
                      </a:lnTo>
                      <a:lnTo>
                        <a:pt x="415311" y="179271"/>
                      </a:lnTo>
                      <a:lnTo>
                        <a:pt x="400555" y="138666"/>
                      </a:lnTo>
                      <a:lnTo>
                        <a:pt x="393176" y="123912"/>
                      </a:lnTo>
                      <a:lnTo>
                        <a:pt x="393176" y="120216"/>
                      </a:lnTo>
                      <a:lnTo>
                        <a:pt x="396865" y="112835"/>
                      </a:lnTo>
                      <a:lnTo>
                        <a:pt x="400555" y="101766"/>
                      </a:lnTo>
                      <a:lnTo>
                        <a:pt x="404244" y="94384"/>
                      </a:lnTo>
                      <a:lnTo>
                        <a:pt x="404244" y="90689"/>
                      </a:lnTo>
                      <a:lnTo>
                        <a:pt x="400555" y="87003"/>
                      </a:lnTo>
                      <a:lnTo>
                        <a:pt x="400555" y="79621"/>
                      </a:lnTo>
                      <a:lnTo>
                        <a:pt x="385798" y="61171"/>
                      </a:lnTo>
                      <a:lnTo>
                        <a:pt x="382109" y="57475"/>
                      </a:lnTo>
                      <a:lnTo>
                        <a:pt x="382109" y="53789"/>
                      </a:lnTo>
                      <a:lnTo>
                        <a:pt x="382109" y="46407"/>
                      </a:lnTo>
                      <a:lnTo>
                        <a:pt x="382109" y="42711"/>
                      </a:lnTo>
                      <a:lnTo>
                        <a:pt x="385798" y="35339"/>
                      </a:lnTo>
                      <a:lnTo>
                        <a:pt x="389487" y="31643"/>
                      </a:lnTo>
                      <a:lnTo>
                        <a:pt x="393176" y="27957"/>
                      </a:lnTo>
                      <a:lnTo>
                        <a:pt x="404244" y="24261"/>
                      </a:lnTo>
                      <a:lnTo>
                        <a:pt x="400555" y="24261"/>
                      </a:lnTo>
                      <a:lnTo>
                        <a:pt x="393176" y="20575"/>
                      </a:lnTo>
                      <a:lnTo>
                        <a:pt x="385798" y="20575"/>
                      </a:lnTo>
                      <a:lnTo>
                        <a:pt x="382109" y="20575"/>
                      </a:lnTo>
                      <a:lnTo>
                        <a:pt x="378419" y="20575"/>
                      </a:lnTo>
                      <a:lnTo>
                        <a:pt x="371040" y="16880"/>
                      </a:lnTo>
                      <a:lnTo>
                        <a:pt x="359973" y="9498"/>
                      </a:lnTo>
                      <a:lnTo>
                        <a:pt x="356284" y="9498"/>
                      </a:lnTo>
                      <a:lnTo>
                        <a:pt x="345216" y="5812"/>
                      </a:lnTo>
                      <a:close/>
                      <a:moveTo>
                        <a:pt x="134933" y="171890"/>
                      </a:moveTo>
                      <a:lnTo>
                        <a:pt x="138622" y="164508"/>
                      </a:lnTo>
                      <a:lnTo>
                        <a:pt x="134933" y="168194"/>
                      </a:lnTo>
                      <a:lnTo>
                        <a:pt x="134933" y="171890"/>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128B7E0-0B89-4260-9DE2-BA0B0BF33C7F}"/>
                    </a:ext>
                  </a:extLst>
                </p:cNvPr>
                <p:cNvSpPr/>
                <p:nvPr/>
              </p:nvSpPr>
              <p:spPr>
                <a:xfrm>
                  <a:off x="1949468" y="5022874"/>
                  <a:ext cx="43320" cy="43320"/>
                </a:xfrm>
                <a:custGeom>
                  <a:avLst/>
                  <a:gdLst>
                    <a:gd name="connsiteX0" fmla="*/ 13190 w 19050"/>
                    <a:gd name="connsiteY0" fmla="*/ 5812 h 19050"/>
                    <a:gd name="connsiteX1" fmla="*/ 13190 w 19050"/>
                    <a:gd name="connsiteY1" fmla="*/ 9507 h 19050"/>
                    <a:gd name="connsiteX2" fmla="*/ 16879 w 19050"/>
                    <a:gd name="connsiteY2" fmla="*/ 9507 h 19050"/>
                    <a:gd name="connsiteX3" fmla="*/ 16879 w 19050"/>
                    <a:gd name="connsiteY3" fmla="*/ 13193 h 19050"/>
                    <a:gd name="connsiteX4" fmla="*/ 13190 w 19050"/>
                    <a:gd name="connsiteY4" fmla="*/ 13193 h 19050"/>
                    <a:gd name="connsiteX5" fmla="*/ 13190 w 19050"/>
                    <a:gd name="connsiteY5" fmla="*/ 16889 h 19050"/>
                    <a:gd name="connsiteX6" fmla="*/ 16879 w 19050"/>
                    <a:gd name="connsiteY6" fmla="*/ 16889 h 19050"/>
                    <a:gd name="connsiteX7" fmla="*/ 13190 w 19050"/>
                    <a:gd name="connsiteY7" fmla="*/ 16889 h 19050"/>
                    <a:gd name="connsiteX8" fmla="*/ 9501 w 19050"/>
                    <a:gd name="connsiteY8" fmla="*/ 16889 h 19050"/>
                    <a:gd name="connsiteX9" fmla="*/ 5812 w 19050"/>
                    <a:gd name="connsiteY9" fmla="*/ 13193 h 19050"/>
                    <a:gd name="connsiteX10" fmla="*/ 5812 w 19050"/>
                    <a:gd name="connsiteY10" fmla="*/ 9507 h 19050"/>
                    <a:gd name="connsiteX11" fmla="*/ 5812 w 19050"/>
                    <a:gd name="connsiteY11" fmla="*/ 5812 h 19050"/>
                    <a:gd name="connsiteX12" fmla="*/ 5812 w 19050"/>
                    <a:gd name="connsiteY12" fmla="*/ 5812 h 19050"/>
                    <a:gd name="connsiteX13" fmla="*/ 5812 w 19050"/>
                    <a:gd name="connsiteY13" fmla="*/ 5812 h 19050"/>
                    <a:gd name="connsiteX14" fmla="*/ 9501 w 19050"/>
                    <a:gd name="connsiteY14" fmla="*/ 5812 h 19050"/>
                    <a:gd name="connsiteX15" fmla="*/ 13190 w 19050"/>
                    <a:gd name="connsiteY15"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050" h="19050">
                      <a:moveTo>
                        <a:pt x="13190" y="5812"/>
                      </a:moveTo>
                      <a:lnTo>
                        <a:pt x="13190" y="9507"/>
                      </a:lnTo>
                      <a:lnTo>
                        <a:pt x="16879" y="9507"/>
                      </a:lnTo>
                      <a:lnTo>
                        <a:pt x="16879" y="13193"/>
                      </a:lnTo>
                      <a:lnTo>
                        <a:pt x="13190" y="13193"/>
                      </a:lnTo>
                      <a:lnTo>
                        <a:pt x="13190" y="16889"/>
                      </a:lnTo>
                      <a:lnTo>
                        <a:pt x="16879" y="16889"/>
                      </a:lnTo>
                      <a:lnTo>
                        <a:pt x="13190" y="16889"/>
                      </a:lnTo>
                      <a:lnTo>
                        <a:pt x="9501" y="16889"/>
                      </a:lnTo>
                      <a:lnTo>
                        <a:pt x="5812" y="13193"/>
                      </a:lnTo>
                      <a:lnTo>
                        <a:pt x="5812" y="9507"/>
                      </a:lnTo>
                      <a:lnTo>
                        <a:pt x="5812" y="5812"/>
                      </a:lnTo>
                      <a:lnTo>
                        <a:pt x="5812" y="5812"/>
                      </a:lnTo>
                      <a:lnTo>
                        <a:pt x="5812" y="5812"/>
                      </a:lnTo>
                      <a:lnTo>
                        <a:pt x="9501" y="5812"/>
                      </a:lnTo>
                      <a:lnTo>
                        <a:pt x="13190"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84" name="Freeform: Shape 83">
                  <a:extLst>
                    <a:ext uri="{FF2B5EF4-FFF2-40B4-BE49-F238E27FC236}">
                      <a16:creationId xmlns:a16="http://schemas.microsoft.com/office/drawing/2014/main" id="{9F6CBE35-58B7-4A97-8094-C665E48D9F21}"/>
                    </a:ext>
                  </a:extLst>
                </p:cNvPr>
                <p:cNvSpPr/>
                <p:nvPr/>
              </p:nvSpPr>
              <p:spPr>
                <a:xfrm>
                  <a:off x="1706183" y="5014492"/>
                  <a:ext cx="21660" cy="21660"/>
                </a:xfrm>
                <a:custGeom>
                  <a:avLst/>
                  <a:gdLst>
                    <a:gd name="connsiteX0" fmla="*/ 5812 w 9525"/>
                    <a:gd name="connsiteY0" fmla="*/ 9498 h 9525"/>
                    <a:gd name="connsiteX1" fmla="*/ 9501 w 9525"/>
                    <a:gd name="connsiteY1" fmla="*/ 9498 h 9525"/>
                    <a:gd name="connsiteX2" fmla="*/ 13190 w 9525"/>
                    <a:gd name="connsiteY2" fmla="*/ 5812 h 9525"/>
                    <a:gd name="connsiteX3" fmla="*/ 13190 w 9525"/>
                    <a:gd name="connsiteY3" fmla="*/ 9498 h 9525"/>
                    <a:gd name="connsiteX4" fmla="*/ 13190 w 9525"/>
                    <a:gd name="connsiteY4" fmla="*/ 9498 h 9525"/>
                    <a:gd name="connsiteX5" fmla="*/ 13190 w 9525"/>
                    <a:gd name="connsiteY5" fmla="*/ 9498 h 9525"/>
                    <a:gd name="connsiteX6" fmla="*/ 5812 w 9525"/>
                    <a:gd name="connsiteY6" fmla="*/ 9498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25" h="9525">
                      <a:moveTo>
                        <a:pt x="5812" y="9498"/>
                      </a:moveTo>
                      <a:lnTo>
                        <a:pt x="9501" y="9498"/>
                      </a:lnTo>
                      <a:lnTo>
                        <a:pt x="13190" y="5812"/>
                      </a:lnTo>
                      <a:lnTo>
                        <a:pt x="13190" y="9498"/>
                      </a:lnTo>
                      <a:lnTo>
                        <a:pt x="13190" y="9498"/>
                      </a:lnTo>
                      <a:lnTo>
                        <a:pt x="13190" y="9498"/>
                      </a:lnTo>
                      <a:lnTo>
                        <a:pt x="5812" y="9498"/>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85" name="Freeform: Shape 84">
                  <a:extLst>
                    <a:ext uri="{FF2B5EF4-FFF2-40B4-BE49-F238E27FC236}">
                      <a16:creationId xmlns:a16="http://schemas.microsoft.com/office/drawing/2014/main" id="{08CD5E03-EE45-4C26-998E-DF16317B426B}"/>
                    </a:ext>
                  </a:extLst>
                </p:cNvPr>
                <p:cNvSpPr/>
                <p:nvPr/>
              </p:nvSpPr>
              <p:spPr>
                <a:xfrm>
                  <a:off x="1899133" y="5031279"/>
                  <a:ext cx="64980" cy="43320"/>
                </a:xfrm>
                <a:custGeom>
                  <a:avLst/>
                  <a:gdLst>
                    <a:gd name="connsiteX0" fmla="*/ 24258 w 28575"/>
                    <a:gd name="connsiteY0" fmla="*/ 13193 h 19050"/>
                    <a:gd name="connsiteX1" fmla="*/ 24258 w 28575"/>
                    <a:gd name="connsiteY1" fmla="*/ 13193 h 19050"/>
                    <a:gd name="connsiteX2" fmla="*/ 24258 w 28575"/>
                    <a:gd name="connsiteY2" fmla="*/ 16880 h 19050"/>
                    <a:gd name="connsiteX3" fmla="*/ 24258 w 28575"/>
                    <a:gd name="connsiteY3" fmla="*/ 16880 h 19050"/>
                    <a:gd name="connsiteX4" fmla="*/ 24258 w 28575"/>
                    <a:gd name="connsiteY4" fmla="*/ 20575 h 19050"/>
                    <a:gd name="connsiteX5" fmla="*/ 24258 w 28575"/>
                    <a:gd name="connsiteY5" fmla="*/ 20575 h 19050"/>
                    <a:gd name="connsiteX6" fmla="*/ 20568 w 28575"/>
                    <a:gd name="connsiteY6" fmla="*/ 20575 h 19050"/>
                    <a:gd name="connsiteX7" fmla="*/ 20568 w 28575"/>
                    <a:gd name="connsiteY7" fmla="*/ 20575 h 19050"/>
                    <a:gd name="connsiteX8" fmla="*/ 16879 w 28575"/>
                    <a:gd name="connsiteY8" fmla="*/ 20575 h 19050"/>
                    <a:gd name="connsiteX9" fmla="*/ 16879 w 28575"/>
                    <a:gd name="connsiteY9" fmla="*/ 16880 h 19050"/>
                    <a:gd name="connsiteX10" fmla="*/ 13190 w 28575"/>
                    <a:gd name="connsiteY10" fmla="*/ 16880 h 19050"/>
                    <a:gd name="connsiteX11" fmla="*/ 13190 w 28575"/>
                    <a:gd name="connsiteY11" fmla="*/ 16880 h 19050"/>
                    <a:gd name="connsiteX12" fmla="*/ 16879 w 28575"/>
                    <a:gd name="connsiteY12" fmla="*/ 16880 h 19050"/>
                    <a:gd name="connsiteX13" fmla="*/ 20568 w 28575"/>
                    <a:gd name="connsiteY13" fmla="*/ 16880 h 19050"/>
                    <a:gd name="connsiteX14" fmla="*/ 16879 w 28575"/>
                    <a:gd name="connsiteY14" fmla="*/ 13193 h 19050"/>
                    <a:gd name="connsiteX15" fmla="*/ 20568 w 28575"/>
                    <a:gd name="connsiteY15" fmla="*/ 13193 h 19050"/>
                    <a:gd name="connsiteX16" fmla="*/ 20568 w 28575"/>
                    <a:gd name="connsiteY16" fmla="*/ 13193 h 19050"/>
                    <a:gd name="connsiteX17" fmla="*/ 16879 w 28575"/>
                    <a:gd name="connsiteY17" fmla="*/ 13193 h 19050"/>
                    <a:gd name="connsiteX18" fmla="*/ 13190 w 28575"/>
                    <a:gd name="connsiteY18" fmla="*/ 16880 h 19050"/>
                    <a:gd name="connsiteX19" fmla="*/ 13190 w 28575"/>
                    <a:gd name="connsiteY19" fmla="*/ 13193 h 19050"/>
                    <a:gd name="connsiteX20" fmla="*/ 13190 w 28575"/>
                    <a:gd name="connsiteY20" fmla="*/ 13193 h 19050"/>
                    <a:gd name="connsiteX21" fmla="*/ 16879 w 28575"/>
                    <a:gd name="connsiteY21" fmla="*/ 13193 h 19050"/>
                    <a:gd name="connsiteX22" fmla="*/ 16879 w 28575"/>
                    <a:gd name="connsiteY22" fmla="*/ 13193 h 19050"/>
                    <a:gd name="connsiteX23" fmla="*/ 13190 w 28575"/>
                    <a:gd name="connsiteY23" fmla="*/ 13193 h 19050"/>
                    <a:gd name="connsiteX24" fmla="*/ 16879 w 28575"/>
                    <a:gd name="connsiteY24" fmla="*/ 9498 h 19050"/>
                    <a:gd name="connsiteX25" fmla="*/ 16879 w 28575"/>
                    <a:gd name="connsiteY25" fmla="*/ 9498 h 19050"/>
                    <a:gd name="connsiteX26" fmla="*/ 13190 w 28575"/>
                    <a:gd name="connsiteY26" fmla="*/ 9498 h 19050"/>
                    <a:gd name="connsiteX27" fmla="*/ 13190 w 28575"/>
                    <a:gd name="connsiteY27" fmla="*/ 9498 h 19050"/>
                    <a:gd name="connsiteX28" fmla="*/ 9501 w 28575"/>
                    <a:gd name="connsiteY28" fmla="*/ 9498 h 19050"/>
                    <a:gd name="connsiteX29" fmla="*/ 9501 w 28575"/>
                    <a:gd name="connsiteY29" fmla="*/ 9498 h 19050"/>
                    <a:gd name="connsiteX30" fmla="*/ 9501 w 28575"/>
                    <a:gd name="connsiteY30" fmla="*/ 5812 h 19050"/>
                    <a:gd name="connsiteX31" fmla="*/ 9501 w 28575"/>
                    <a:gd name="connsiteY31" fmla="*/ 9498 h 19050"/>
                    <a:gd name="connsiteX32" fmla="*/ 5812 w 28575"/>
                    <a:gd name="connsiteY32" fmla="*/ 9498 h 19050"/>
                    <a:gd name="connsiteX33" fmla="*/ 5812 w 28575"/>
                    <a:gd name="connsiteY33" fmla="*/ 5812 h 19050"/>
                    <a:gd name="connsiteX34" fmla="*/ 13190 w 28575"/>
                    <a:gd name="connsiteY34" fmla="*/ 5812 h 19050"/>
                    <a:gd name="connsiteX35" fmla="*/ 16879 w 28575"/>
                    <a:gd name="connsiteY35" fmla="*/ 5812 h 19050"/>
                    <a:gd name="connsiteX36" fmla="*/ 16879 w 28575"/>
                    <a:gd name="connsiteY36" fmla="*/ 5812 h 19050"/>
                    <a:gd name="connsiteX37" fmla="*/ 20568 w 28575"/>
                    <a:gd name="connsiteY37" fmla="*/ 9498 h 19050"/>
                    <a:gd name="connsiteX38" fmla="*/ 20568 w 28575"/>
                    <a:gd name="connsiteY38" fmla="*/ 9498 h 19050"/>
                    <a:gd name="connsiteX39" fmla="*/ 24258 w 28575"/>
                    <a:gd name="connsiteY39" fmla="*/ 13193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8575" h="19050">
                      <a:moveTo>
                        <a:pt x="24258" y="13193"/>
                      </a:moveTo>
                      <a:lnTo>
                        <a:pt x="24258" y="13193"/>
                      </a:lnTo>
                      <a:lnTo>
                        <a:pt x="24258" y="16880"/>
                      </a:lnTo>
                      <a:lnTo>
                        <a:pt x="24258" y="16880"/>
                      </a:lnTo>
                      <a:lnTo>
                        <a:pt x="24258" y="20575"/>
                      </a:lnTo>
                      <a:lnTo>
                        <a:pt x="24258" y="20575"/>
                      </a:lnTo>
                      <a:lnTo>
                        <a:pt x="20568" y="20575"/>
                      </a:lnTo>
                      <a:lnTo>
                        <a:pt x="20568" y="20575"/>
                      </a:lnTo>
                      <a:lnTo>
                        <a:pt x="16879" y="20575"/>
                      </a:lnTo>
                      <a:lnTo>
                        <a:pt x="16879" y="16880"/>
                      </a:lnTo>
                      <a:lnTo>
                        <a:pt x="13190" y="16880"/>
                      </a:lnTo>
                      <a:lnTo>
                        <a:pt x="13190" y="16880"/>
                      </a:lnTo>
                      <a:lnTo>
                        <a:pt x="16879" y="16880"/>
                      </a:lnTo>
                      <a:lnTo>
                        <a:pt x="20568" y="16880"/>
                      </a:lnTo>
                      <a:lnTo>
                        <a:pt x="16879" y="13193"/>
                      </a:lnTo>
                      <a:lnTo>
                        <a:pt x="20568" y="13193"/>
                      </a:lnTo>
                      <a:lnTo>
                        <a:pt x="20568" y="13193"/>
                      </a:lnTo>
                      <a:lnTo>
                        <a:pt x="16879" y="13193"/>
                      </a:lnTo>
                      <a:lnTo>
                        <a:pt x="13190" y="16880"/>
                      </a:lnTo>
                      <a:lnTo>
                        <a:pt x="13190" y="13193"/>
                      </a:lnTo>
                      <a:lnTo>
                        <a:pt x="13190" y="13193"/>
                      </a:lnTo>
                      <a:lnTo>
                        <a:pt x="16879" y="13193"/>
                      </a:lnTo>
                      <a:lnTo>
                        <a:pt x="16879" y="13193"/>
                      </a:lnTo>
                      <a:lnTo>
                        <a:pt x="13190" y="13193"/>
                      </a:lnTo>
                      <a:lnTo>
                        <a:pt x="16879" y="9498"/>
                      </a:lnTo>
                      <a:lnTo>
                        <a:pt x="16879" y="9498"/>
                      </a:lnTo>
                      <a:lnTo>
                        <a:pt x="13190" y="9498"/>
                      </a:lnTo>
                      <a:lnTo>
                        <a:pt x="13190" y="9498"/>
                      </a:lnTo>
                      <a:lnTo>
                        <a:pt x="9501" y="9498"/>
                      </a:lnTo>
                      <a:lnTo>
                        <a:pt x="9501" y="9498"/>
                      </a:lnTo>
                      <a:lnTo>
                        <a:pt x="9501" y="5812"/>
                      </a:lnTo>
                      <a:lnTo>
                        <a:pt x="9501" y="9498"/>
                      </a:lnTo>
                      <a:lnTo>
                        <a:pt x="5812" y="9498"/>
                      </a:lnTo>
                      <a:lnTo>
                        <a:pt x="5812" y="5812"/>
                      </a:lnTo>
                      <a:lnTo>
                        <a:pt x="13190" y="5812"/>
                      </a:lnTo>
                      <a:lnTo>
                        <a:pt x="16879" y="5812"/>
                      </a:lnTo>
                      <a:lnTo>
                        <a:pt x="16879" y="5812"/>
                      </a:lnTo>
                      <a:lnTo>
                        <a:pt x="20568" y="9498"/>
                      </a:lnTo>
                      <a:lnTo>
                        <a:pt x="20568" y="9498"/>
                      </a:lnTo>
                      <a:lnTo>
                        <a:pt x="24258" y="1319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86" name="Freeform: Shape 85">
                  <a:extLst>
                    <a:ext uri="{FF2B5EF4-FFF2-40B4-BE49-F238E27FC236}">
                      <a16:creationId xmlns:a16="http://schemas.microsoft.com/office/drawing/2014/main" id="{E36E8D52-72D3-406E-899F-F2BF63D0E5D9}"/>
                    </a:ext>
                  </a:extLst>
                </p:cNvPr>
                <p:cNvSpPr/>
                <p:nvPr/>
              </p:nvSpPr>
              <p:spPr>
                <a:xfrm>
                  <a:off x="1043430" y="4938961"/>
                  <a:ext cx="1018018" cy="389880"/>
                </a:xfrm>
                <a:custGeom>
                  <a:avLst/>
                  <a:gdLst>
                    <a:gd name="connsiteX0" fmla="*/ 79595 w 447675"/>
                    <a:gd name="connsiteY0" fmla="*/ 5812 h 171450"/>
                    <a:gd name="connsiteX1" fmla="*/ 79595 w 447675"/>
                    <a:gd name="connsiteY1" fmla="*/ 9498 h 171450"/>
                    <a:gd name="connsiteX2" fmla="*/ 75906 w 447675"/>
                    <a:gd name="connsiteY2" fmla="*/ 9498 h 171450"/>
                    <a:gd name="connsiteX3" fmla="*/ 72217 w 447675"/>
                    <a:gd name="connsiteY3" fmla="*/ 9498 h 171450"/>
                    <a:gd name="connsiteX4" fmla="*/ 64839 w 447675"/>
                    <a:gd name="connsiteY4" fmla="*/ 13194 h 171450"/>
                    <a:gd name="connsiteX5" fmla="*/ 61149 w 447675"/>
                    <a:gd name="connsiteY5" fmla="*/ 13194 h 171450"/>
                    <a:gd name="connsiteX6" fmla="*/ 57460 w 447675"/>
                    <a:gd name="connsiteY6" fmla="*/ 13194 h 171450"/>
                    <a:gd name="connsiteX7" fmla="*/ 53771 w 447675"/>
                    <a:gd name="connsiteY7" fmla="*/ 16880 h 171450"/>
                    <a:gd name="connsiteX8" fmla="*/ 50082 w 447675"/>
                    <a:gd name="connsiteY8" fmla="*/ 16880 h 171450"/>
                    <a:gd name="connsiteX9" fmla="*/ 46393 w 447675"/>
                    <a:gd name="connsiteY9" fmla="*/ 16880 h 171450"/>
                    <a:gd name="connsiteX10" fmla="*/ 42703 w 447675"/>
                    <a:gd name="connsiteY10" fmla="*/ 16880 h 171450"/>
                    <a:gd name="connsiteX11" fmla="*/ 39014 w 447675"/>
                    <a:gd name="connsiteY11" fmla="*/ 16880 h 171450"/>
                    <a:gd name="connsiteX12" fmla="*/ 35325 w 447675"/>
                    <a:gd name="connsiteY12" fmla="*/ 16880 h 171450"/>
                    <a:gd name="connsiteX13" fmla="*/ 35325 w 447675"/>
                    <a:gd name="connsiteY13" fmla="*/ 20575 h 171450"/>
                    <a:gd name="connsiteX14" fmla="*/ 31636 w 447675"/>
                    <a:gd name="connsiteY14" fmla="*/ 20575 h 171450"/>
                    <a:gd name="connsiteX15" fmla="*/ 27947 w 447675"/>
                    <a:gd name="connsiteY15" fmla="*/ 24262 h 171450"/>
                    <a:gd name="connsiteX16" fmla="*/ 24258 w 447675"/>
                    <a:gd name="connsiteY16" fmla="*/ 24262 h 171450"/>
                    <a:gd name="connsiteX17" fmla="*/ 20568 w 447675"/>
                    <a:gd name="connsiteY17" fmla="*/ 24262 h 171450"/>
                    <a:gd name="connsiteX18" fmla="*/ 16879 w 447675"/>
                    <a:gd name="connsiteY18" fmla="*/ 27957 h 171450"/>
                    <a:gd name="connsiteX19" fmla="*/ 13190 w 447675"/>
                    <a:gd name="connsiteY19" fmla="*/ 27957 h 171450"/>
                    <a:gd name="connsiteX20" fmla="*/ 13190 w 447675"/>
                    <a:gd name="connsiteY20" fmla="*/ 31643 h 171450"/>
                    <a:gd name="connsiteX21" fmla="*/ 16879 w 447675"/>
                    <a:gd name="connsiteY21" fmla="*/ 35339 h 171450"/>
                    <a:gd name="connsiteX22" fmla="*/ 16879 w 447675"/>
                    <a:gd name="connsiteY22" fmla="*/ 42711 h 171450"/>
                    <a:gd name="connsiteX23" fmla="*/ 16879 w 447675"/>
                    <a:gd name="connsiteY23" fmla="*/ 46407 h 171450"/>
                    <a:gd name="connsiteX24" fmla="*/ 16879 w 447675"/>
                    <a:gd name="connsiteY24" fmla="*/ 50093 h 171450"/>
                    <a:gd name="connsiteX25" fmla="*/ 20568 w 447675"/>
                    <a:gd name="connsiteY25" fmla="*/ 53789 h 171450"/>
                    <a:gd name="connsiteX26" fmla="*/ 20568 w 447675"/>
                    <a:gd name="connsiteY26" fmla="*/ 61171 h 171450"/>
                    <a:gd name="connsiteX27" fmla="*/ 9501 w 447675"/>
                    <a:gd name="connsiteY27" fmla="*/ 72239 h 171450"/>
                    <a:gd name="connsiteX28" fmla="*/ 5812 w 447675"/>
                    <a:gd name="connsiteY28" fmla="*/ 75935 h 171450"/>
                    <a:gd name="connsiteX29" fmla="*/ 9501 w 447675"/>
                    <a:gd name="connsiteY29" fmla="*/ 79621 h 171450"/>
                    <a:gd name="connsiteX30" fmla="*/ 16879 w 447675"/>
                    <a:gd name="connsiteY30" fmla="*/ 87003 h 171450"/>
                    <a:gd name="connsiteX31" fmla="*/ 13190 w 447675"/>
                    <a:gd name="connsiteY31" fmla="*/ 87003 h 171450"/>
                    <a:gd name="connsiteX32" fmla="*/ 9501 w 447675"/>
                    <a:gd name="connsiteY32" fmla="*/ 87003 h 171450"/>
                    <a:gd name="connsiteX33" fmla="*/ 9501 w 447675"/>
                    <a:gd name="connsiteY33" fmla="*/ 90689 h 171450"/>
                    <a:gd name="connsiteX34" fmla="*/ 13190 w 447675"/>
                    <a:gd name="connsiteY34" fmla="*/ 94385 h 171450"/>
                    <a:gd name="connsiteX35" fmla="*/ 16879 w 447675"/>
                    <a:gd name="connsiteY35" fmla="*/ 98071 h 171450"/>
                    <a:gd name="connsiteX36" fmla="*/ 16879 w 447675"/>
                    <a:gd name="connsiteY36" fmla="*/ 101766 h 171450"/>
                    <a:gd name="connsiteX37" fmla="*/ 13190 w 447675"/>
                    <a:gd name="connsiteY37" fmla="*/ 105453 h 171450"/>
                    <a:gd name="connsiteX38" fmla="*/ 16879 w 447675"/>
                    <a:gd name="connsiteY38" fmla="*/ 109148 h 171450"/>
                    <a:gd name="connsiteX39" fmla="*/ 20568 w 447675"/>
                    <a:gd name="connsiteY39" fmla="*/ 109148 h 171450"/>
                    <a:gd name="connsiteX40" fmla="*/ 24258 w 447675"/>
                    <a:gd name="connsiteY40" fmla="*/ 116530 h 171450"/>
                    <a:gd name="connsiteX41" fmla="*/ 27947 w 447675"/>
                    <a:gd name="connsiteY41" fmla="*/ 116530 h 171450"/>
                    <a:gd name="connsiteX42" fmla="*/ 31636 w 447675"/>
                    <a:gd name="connsiteY42" fmla="*/ 123912 h 171450"/>
                    <a:gd name="connsiteX43" fmla="*/ 35325 w 447675"/>
                    <a:gd name="connsiteY43" fmla="*/ 120216 h 171450"/>
                    <a:gd name="connsiteX44" fmla="*/ 39014 w 447675"/>
                    <a:gd name="connsiteY44" fmla="*/ 123912 h 171450"/>
                    <a:gd name="connsiteX45" fmla="*/ 39014 w 447675"/>
                    <a:gd name="connsiteY45" fmla="*/ 127598 h 171450"/>
                    <a:gd name="connsiteX46" fmla="*/ 39014 w 447675"/>
                    <a:gd name="connsiteY46" fmla="*/ 131294 h 171450"/>
                    <a:gd name="connsiteX47" fmla="*/ 42703 w 447675"/>
                    <a:gd name="connsiteY47" fmla="*/ 131294 h 171450"/>
                    <a:gd name="connsiteX48" fmla="*/ 46393 w 447675"/>
                    <a:gd name="connsiteY48" fmla="*/ 134980 h 171450"/>
                    <a:gd name="connsiteX49" fmla="*/ 50082 w 447675"/>
                    <a:gd name="connsiteY49" fmla="*/ 134980 h 171450"/>
                    <a:gd name="connsiteX50" fmla="*/ 61149 w 447675"/>
                    <a:gd name="connsiteY50" fmla="*/ 134980 h 171450"/>
                    <a:gd name="connsiteX51" fmla="*/ 90663 w 447675"/>
                    <a:gd name="connsiteY51" fmla="*/ 131294 h 171450"/>
                    <a:gd name="connsiteX52" fmla="*/ 86974 w 447675"/>
                    <a:gd name="connsiteY52" fmla="*/ 105453 h 171450"/>
                    <a:gd name="connsiteX53" fmla="*/ 83284 w 447675"/>
                    <a:gd name="connsiteY53" fmla="*/ 101766 h 171450"/>
                    <a:gd name="connsiteX54" fmla="*/ 90663 w 447675"/>
                    <a:gd name="connsiteY54" fmla="*/ 98071 h 171450"/>
                    <a:gd name="connsiteX55" fmla="*/ 94352 w 447675"/>
                    <a:gd name="connsiteY55" fmla="*/ 101766 h 171450"/>
                    <a:gd name="connsiteX56" fmla="*/ 98042 w 447675"/>
                    <a:gd name="connsiteY56" fmla="*/ 101766 h 171450"/>
                    <a:gd name="connsiteX57" fmla="*/ 98042 w 447675"/>
                    <a:gd name="connsiteY57" fmla="*/ 98071 h 171450"/>
                    <a:gd name="connsiteX58" fmla="*/ 101731 w 447675"/>
                    <a:gd name="connsiteY58" fmla="*/ 98071 h 171450"/>
                    <a:gd name="connsiteX59" fmla="*/ 105420 w 447675"/>
                    <a:gd name="connsiteY59" fmla="*/ 98071 h 171450"/>
                    <a:gd name="connsiteX60" fmla="*/ 105420 w 447675"/>
                    <a:gd name="connsiteY60" fmla="*/ 94385 h 171450"/>
                    <a:gd name="connsiteX61" fmla="*/ 109109 w 447675"/>
                    <a:gd name="connsiteY61" fmla="*/ 94385 h 171450"/>
                    <a:gd name="connsiteX62" fmla="*/ 112798 w 447675"/>
                    <a:gd name="connsiteY62" fmla="*/ 98071 h 171450"/>
                    <a:gd name="connsiteX63" fmla="*/ 116487 w 447675"/>
                    <a:gd name="connsiteY63" fmla="*/ 101766 h 171450"/>
                    <a:gd name="connsiteX64" fmla="*/ 120177 w 447675"/>
                    <a:gd name="connsiteY64" fmla="*/ 98071 h 171450"/>
                    <a:gd name="connsiteX65" fmla="*/ 116487 w 447675"/>
                    <a:gd name="connsiteY65" fmla="*/ 90689 h 171450"/>
                    <a:gd name="connsiteX66" fmla="*/ 123866 w 447675"/>
                    <a:gd name="connsiteY66" fmla="*/ 87003 h 171450"/>
                    <a:gd name="connsiteX67" fmla="*/ 127555 w 447675"/>
                    <a:gd name="connsiteY67" fmla="*/ 90689 h 171450"/>
                    <a:gd name="connsiteX68" fmla="*/ 134933 w 447675"/>
                    <a:gd name="connsiteY68" fmla="*/ 94385 h 171450"/>
                    <a:gd name="connsiteX69" fmla="*/ 138622 w 447675"/>
                    <a:gd name="connsiteY69" fmla="*/ 98071 h 171450"/>
                    <a:gd name="connsiteX70" fmla="*/ 146001 w 447675"/>
                    <a:gd name="connsiteY70" fmla="*/ 101766 h 171450"/>
                    <a:gd name="connsiteX71" fmla="*/ 149690 w 447675"/>
                    <a:gd name="connsiteY71" fmla="*/ 101766 h 171450"/>
                    <a:gd name="connsiteX72" fmla="*/ 149690 w 447675"/>
                    <a:gd name="connsiteY72" fmla="*/ 98071 h 171450"/>
                    <a:gd name="connsiteX73" fmla="*/ 157068 w 447675"/>
                    <a:gd name="connsiteY73" fmla="*/ 98071 h 171450"/>
                    <a:gd name="connsiteX74" fmla="*/ 164446 w 447675"/>
                    <a:gd name="connsiteY74" fmla="*/ 105453 h 171450"/>
                    <a:gd name="connsiteX75" fmla="*/ 168136 w 447675"/>
                    <a:gd name="connsiteY75" fmla="*/ 105453 h 171450"/>
                    <a:gd name="connsiteX76" fmla="*/ 171825 w 447675"/>
                    <a:gd name="connsiteY76" fmla="*/ 109148 h 171450"/>
                    <a:gd name="connsiteX77" fmla="*/ 171825 w 447675"/>
                    <a:gd name="connsiteY77" fmla="*/ 112835 h 171450"/>
                    <a:gd name="connsiteX78" fmla="*/ 182892 w 447675"/>
                    <a:gd name="connsiteY78" fmla="*/ 112835 h 171450"/>
                    <a:gd name="connsiteX79" fmla="*/ 186581 w 447675"/>
                    <a:gd name="connsiteY79" fmla="*/ 116530 h 171450"/>
                    <a:gd name="connsiteX80" fmla="*/ 186581 w 447675"/>
                    <a:gd name="connsiteY80" fmla="*/ 112835 h 171450"/>
                    <a:gd name="connsiteX81" fmla="*/ 201338 w 447675"/>
                    <a:gd name="connsiteY81" fmla="*/ 116530 h 171450"/>
                    <a:gd name="connsiteX82" fmla="*/ 205027 w 447675"/>
                    <a:gd name="connsiteY82" fmla="*/ 116530 h 171450"/>
                    <a:gd name="connsiteX83" fmla="*/ 208716 w 447675"/>
                    <a:gd name="connsiteY83" fmla="*/ 123912 h 171450"/>
                    <a:gd name="connsiteX84" fmla="*/ 212406 w 447675"/>
                    <a:gd name="connsiteY84" fmla="*/ 123912 h 171450"/>
                    <a:gd name="connsiteX85" fmla="*/ 212406 w 447675"/>
                    <a:gd name="connsiteY85" fmla="*/ 120216 h 171450"/>
                    <a:gd name="connsiteX86" fmla="*/ 216095 w 447675"/>
                    <a:gd name="connsiteY86" fmla="*/ 123912 h 171450"/>
                    <a:gd name="connsiteX87" fmla="*/ 219784 w 447675"/>
                    <a:gd name="connsiteY87" fmla="*/ 127598 h 171450"/>
                    <a:gd name="connsiteX88" fmla="*/ 223473 w 447675"/>
                    <a:gd name="connsiteY88" fmla="*/ 127598 h 171450"/>
                    <a:gd name="connsiteX89" fmla="*/ 223473 w 447675"/>
                    <a:gd name="connsiteY89" fmla="*/ 131294 h 171450"/>
                    <a:gd name="connsiteX90" fmla="*/ 219784 w 447675"/>
                    <a:gd name="connsiteY90" fmla="*/ 134980 h 171450"/>
                    <a:gd name="connsiteX91" fmla="*/ 219784 w 447675"/>
                    <a:gd name="connsiteY91" fmla="*/ 142362 h 171450"/>
                    <a:gd name="connsiteX92" fmla="*/ 219784 w 447675"/>
                    <a:gd name="connsiteY92" fmla="*/ 153430 h 171450"/>
                    <a:gd name="connsiteX93" fmla="*/ 219784 w 447675"/>
                    <a:gd name="connsiteY93" fmla="*/ 160812 h 171450"/>
                    <a:gd name="connsiteX94" fmla="*/ 223473 w 447675"/>
                    <a:gd name="connsiteY94" fmla="*/ 164508 h 171450"/>
                    <a:gd name="connsiteX95" fmla="*/ 227162 w 447675"/>
                    <a:gd name="connsiteY95" fmla="*/ 164508 h 171450"/>
                    <a:gd name="connsiteX96" fmla="*/ 227162 w 447675"/>
                    <a:gd name="connsiteY96" fmla="*/ 160812 h 171450"/>
                    <a:gd name="connsiteX97" fmla="*/ 230852 w 447675"/>
                    <a:gd name="connsiteY97" fmla="*/ 164508 h 171450"/>
                    <a:gd name="connsiteX98" fmla="*/ 234541 w 447675"/>
                    <a:gd name="connsiteY98" fmla="*/ 164508 h 171450"/>
                    <a:gd name="connsiteX99" fmla="*/ 238231 w 447675"/>
                    <a:gd name="connsiteY99" fmla="*/ 164508 h 171450"/>
                    <a:gd name="connsiteX100" fmla="*/ 241920 w 447675"/>
                    <a:gd name="connsiteY100" fmla="*/ 164508 h 171450"/>
                    <a:gd name="connsiteX101" fmla="*/ 245609 w 447675"/>
                    <a:gd name="connsiteY101" fmla="*/ 164508 h 171450"/>
                    <a:gd name="connsiteX102" fmla="*/ 249298 w 447675"/>
                    <a:gd name="connsiteY102" fmla="*/ 164508 h 171450"/>
                    <a:gd name="connsiteX103" fmla="*/ 252987 w 447675"/>
                    <a:gd name="connsiteY103" fmla="*/ 164508 h 171450"/>
                    <a:gd name="connsiteX104" fmla="*/ 256676 w 447675"/>
                    <a:gd name="connsiteY104" fmla="*/ 164508 h 171450"/>
                    <a:gd name="connsiteX105" fmla="*/ 264055 w 447675"/>
                    <a:gd name="connsiteY105" fmla="*/ 157126 h 171450"/>
                    <a:gd name="connsiteX106" fmla="*/ 267744 w 447675"/>
                    <a:gd name="connsiteY106" fmla="*/ 157126 h 171450"/>
                    <a:gd name="connsiteX107" fmla="*/ 271433 w 447675"/>
                    <a:gd name="connsiteY107" fmla="*/ 157126 h 171450"/>
                    <a:gd name="connsiteX108" fmla="*/ 271433 w 447675"/>
                    <a:gd name="connsiteY108" fmla="*/ 164508 h 171450"/>
                    <a:gd name="connsiteX109" fmla="*/ 267744 w 447675"/>
                    <a:gd name="connsiteY109" fmla="*/ 164508 h 171450"/>
                    <a:gd name="connsiteX110" fmla="*/ 264055 w 447675"/>
                    <a:gd name="connsiteY110" fmla="*/ 168194 h 171450"/>
                    <a:gd name="connsiteX111" fmla="*/ 267744 w 447675"/>
                    <a:gd name="connsiteY111" fmla="*/ 171890 h 171450"/>
                    <a:gd name="connsiteX112" fmla="*/ 271433 w 447675"/>
                    <a:gd name="connsiteY112" fmla="*/ 171890 h 171450"/>
                    <a:gd name="connsiteX113" fmla="*/ 275122 w 447675"/>
                    <a:gd name="connsiteY113" fmla="*/ 171890 h 171450"/>
                    <a:gd name="connsiteX114" fmla="*/ 282501 w 447675"/>
                    <a:gd name="connsiteY114" fmla="*/ 168194 h 171450"/>
                    <a:gd name="connsiteX115" fmla="*/ 286190 w 447675"/>
                    <a:gd name="connsiteY115" fmla="*/ 168194 h 171450"/>
                    <a:gd name="connsiteX116" fmla="*/ 282501 w 447675"/>
                    <a:gd name="connsiteY116" fmla="*/ 160812 h 171450"/>
                    <a:gd name="connsiteX117" fmla="*/ 289879 w 447675"/>
                    <a:gd name="connsiteY117" fmla="*/ 157126 h 171450"/>
                    <a:gd name="connsiteX118" fmla="*/ 293568 w 447675"/>
                    <a:gd name="connsiteY118" fmla="*/ 164508 h 171450"/>
                    <a:gd name="connsiteX119" fmla="*/ 297257 w 447675"/>
                    <a:gd name="connsiteY119" fmla="*/ 164508 h 171450"/>
                    <a:gd name="connsiteX120" fmla="*/ 297257 w 447675"/>
                    <a:gd name="connsiteY120" fmla="*/ 160812 h 171450"/>
                    <a:gd name="connsiteX121" fmla="*/ 300946 w 447675"/>
                    <a:gd name="connsiteY121" fmla="*/ 160812 h 171450"/>
                    <a:gd name="connsiteX122" fmla="*/ 304635 w 447675"/>
                    <a:gd name="connsiteY122" fmla="*/ 160812 h 171450"/>
                    <a:gd name="connsiteX123" fmla="*/ 308325 w 447675"/>
                    <a:gd name="connsiteY123" fmla="*/ 157126 h 171450"/>
                    <a:gd name="connsiteX124" fmla="*/ 308325 w 447675"/>
                    <a:gd name="connsiteY124" fmla="*/ 153430 h 171450"/>
                    <a:gd name="connsiteX125" fmla="*/ 315703 w 447675"/>
                    <a:gd name="connsiteY125" fmla="*/ 153430 h 171450"/>
                    <a:gd name="connsiteX126" fmla="*/ 319392 w 447675"/>
                    <a:gd name="connsiteY126" fmla="*/ 146048 h 171450"/>
                    <a:gd name="connsiteX127" fmla="*/ 323081 w 447675"/>
                    <a:gd name="connsiteY127" fmla="*/ 146048 h 171450"/>
                    <a:gd name="connsiteX128" fmla="*/ 326770 w 447675"/>
                    <a:gd name="connsiteY128" fmla="*/ 142362 h 171450"/>
                    <a:gd name="connsiteX129" fmla="*/ 334149 w 447675"/>
                    <a:gd name="connsiteY129" fmla="*/ 138666 h 171450"/>
                    <a:gd name="connsiteX130" fmla="*/ 337838 w 447675"/>
                    <a:gd name="connsiteY130" fmla="*/ 138666 h 171450"/>
                    <a:gd name="connsiteX131" fmla="*/ 337838 w 447675"/>
                    <a:gd name="connsiteY131" fmla="*/ 142362 h 171450"/>
                    <a:gd name="connsiteX132" fmla="*/ 341527 w 447675"/>
                    <a:gd name="connsiteY132" fmla="*/ 142362 h 171450"/>
                    <a:gd name="connsiteX133" fmla="*/ 345216 w 447675"/>
                    <a:gd name="connsiteY133" fmla="*/ 138666 h 171450"/>
                    <a:gd name="connsiteX134" fmla="*/ 345216 w 447675"/>
                    <a:gd name="connsiteY134" fmla="*/ 142362 h 171450"/>
                    <a:gd name="connsiteX135" fmla="*/ 352595 w 447675"/>
                    <a:gd name="connsiteY135" fmla="*/ 142362 h 171450"/>
                    <a:gd name="connsiteX136" fmla="*/ 356284 w 447675"/>
                    <a:gd name="connsiteY136" fmla="*/ 138666 h 171450"/>
                    <a:gd name="connsiteX137" fmla="*/ 359973 w 447675"/>
                    <a:gd name="connsiteY137" fmla="*/ 138666 h 171450"/>
                    <a:gd name="connsiteX138" fmla="*/ 363662 w 447675"/>
                    <a:gd name="connsiteY138" fmla="*/ 134980 h 171450"/>
                    <a:gd name="connsiteX139" fmla="*/ 371040 w 447675"/>
                    <a:gd name="connsiteY139" fmla="*/ 127598 h 171450"/>
                    <a:gd name="connsiteX140" fmla="*/ 378419 w 447675"/>
                    <a:gd name="connsiteY140" fmla="*/ 123912 h 171450"/>
                    <a:gd name="connsiteX141" fmla="*/ 385798 w 447675"/>
                    <a:gd name="connsiteY141" fmla="*/ 120216 h 171450"/>
                    <a:gd name="connsiteX142" fmla="*/ 404244 w 447675"/>
                    <a:gd name="connsiteY142" fmla="*/ 105453 h 171450"/>
                    <a:gd name="connsiteX143" fmla="*/ 407933 w 447675"/>
                    <a:gd name="connsiteY143" fmla="*/ 101766 h 171450"/>
                    <a:gd name="connsiteX144" fmla="*/ 444825 w 447675"/>
                    <a:gd name="connsiteY144" fmla="*/ 57475 h 171450"/>
                    <a:gd name="connsiteX145" fmla="*/ 441135 w 447675"/>
                    <a:gd name="connsiteY145" fmla="*/ 57475 h 171450"/>
                    <a:gd name="connsiteX146" fmla="*/ 441135 w 447675"/>
                    <a:gd name="connsiteY146" fmla="*/ 53789 h 171450"/>
                    <a:gd name="connsiteX147" fmla="*/ 437446 w 447675"/>
                    <a:gd name="connsiteY147" fmla="*/ 53789 h 171450"/>
                    <a:gd name="connsiteX148" fmla="*/ 437446 w 447675"/>
                    <a:gd name="connsiteY148" fmla="*/ 50093 h 171450"/>
                    <a:gd name="connsiteX149" fmla="*/ 437446 w 447675"/>
                    <a:gd name="connsiteY149" fmla="*/ 46407 h 171450"/>
                    <a:gd name="connsiteX150" fmla="*/ 433757 w 447675"/>
                    <a:gd name="connsiteY150" fmla="*/ 50093 h 171450"/>
                    <a:gd name="connsiteX151" fmla="*/ 433757 w 447675"/>
                    <a:gd name="connsiteY151" fmla="*/ 46407 h 171450"/>
                    <a:gd name="connsiteX152" fmla="*/ 433757 w 447675"/>
                    <a:gd name="connsiteY152" fmla="*/ 42711 h 171450"/>
                    <a:gd name="connsiteX153" fmla="*/ 430068 w 447675"/>
                    <a:gd name="connsiteY153" fmla="*/ 39025 h 171450"/>
                    <a:gd name="connsiteX154" fmla="*/ 426379 w 447675"/>
                    <a:gd name="connsiteY154" fmla="*/ 39025 h 171450"/>
                    <a:gd name="connsiteX155" fmla="*/ 422690 w 447675"/>
                    <a:gd name="connsiteY155" fmla="*/ 39025 h 171450"/>
                    <a:gd name="connsiteX156" fmla="*/ 426379 w 447675"/>
                    <a:gd name="connsiteY156" fmla="*/ 35339 h 171450"/>
                    <a:gd name="connsiteX157" fmla="*/ 422690 w 447675"/>
                    <a:gd name="connsiteY157" fmla="*/ 35339 h 171450"/>
                    <a:gd name="connsiteX158" fmla="*/ 419000 w 447675"/>
                    <a:gd name="connsiteY158" fmla="*/ 35339 h 171450"/>
                    <a:gd name="connsiteX159" fmla="*/ 419000 w 447675"/>
                    <a:gd name="connsiteY159" fmla="*/ 39025 h 171450"/>
                    <a:gd name="connsiteX160" fmla="*/ 415311 w 447675"/>
                    <a:gd name="connsiteY160" fmla="*/ 42711 h 171450"/>
                    <a:gd name="connsiteX161" fmla="*/ 415311 w 447675"/>
                    <a:gd name="connsiteY161" fmla="*/ 46407 h 171450"/>
                    <a:gd name="connsiteX162" fmla="*/ 419000 w 447675"/>
                    <a:gd name="connsiteY162" fmla="*/ 50093 h 171450"/>
                    <a:gd name="connsiteX163" fmla="*/ 422690 w 447675"/>
                    <a:gd name="connsiteY163" fmla="*/ 50093 h 171450"/>
                    <a:gd name="connsiteX164" fmla="*/ 422690 w 447675"/>
                    <a:gd name="connsiteY164" fmla="*/ 53789 h 171450"/>
                    <a:gd name="connsiteX165" fmla="*/ 422690 w 447675"/>
                    <a:gd name="connsiteY165" fmla="*/ 57475 h 171450"/>
                    <a:gd name="connsiteX166" fmla="*/ 419000 w 447675"/>
                    <a:gd name="connsiteY166" fmla="*/ 53789 h 171450"/>
                    <a:gd name="connsiteX167" fmla="*/ 415311 w 447675"/>
                    <a:gd name="connsiteY167" fmla="*/ 57475 h 171450"/>
                    <a:gd name="connsiteX168" fmla="*/ 419000 w 447675"/>
                    <a:gd name="connsiteY168" fmla="*/ 57475 h 171450"/>
                    <a:gd name="connsiteX169" fmla="*/ 415311 w 447675"/>
                    <a:gd name="connsiteY169" fmla="*/ 61171 h 171450"/>
                    <a:gd name="connsiteX170" fmla="*/ 419000 w 447675"/>
                    <a:gd name="connsiteY170" fmla="*/ 61171 h 171450"/>
                    <a:gd name="connsiteX171" fmla="*/ 419000 w 447675"/>
                    <a:gd name="connsiteY171" fmla="*/ 64857 h 171450"/>
                    <a:gd name="connsiteX172" fmla="*/ 415311 w 447675"/>
                    <a:gd name="connsiteY172" fmla="*/ 61171 h 171450"/>
                    <a:gd name="connsiteX173" fmla="*/ 407933 w 447675"/>
                    <a:gd name="connsiteY173" fmla="*/ 61171 h 171450"/>
                    <a:gd name="connsiteX174" fmla="*/ 411622 w 447675"/>
                    <a:gd name="connsiteY174" fmla="*/ 64857 h 171450"/>
                    <a:gd name="connsiteX175" fmla="*/ 411622 w 447675"/>
                    <a:gd name="connsiteY175" fmla="*/ 68553 h 171450"/>
                    <a:gd name="connsiteX176" fmla="*/ 407933 w 447675"/>
                    <a:gd name="connsiteY176" fmla="*/ 61171 h 171450"/>
                    <a:gd name="connsiteX177" fmla="*/ 404244 w 447675"/>
                    <a:gd name="connsiteY177" fmla="*/ 57475 h 171450"/>
                    <a:gd name="connsiteX178" fmla="*/ 400555 w 447675"/>
                    <a:gd name="connsiteY178" fmla="*/ 57475 h 171450"/>
                    <a:gd name="connsiteX179" fmla="*/ 404244 w 447675"/>
                    <a:gd name="connsiteY179" fmla="*/ 61171 h 171450"/>
                    <a:gd name="connsiteX180" fmla="*/ 407933 w 447675"/>
                    <a:gd name="connsiteY180" fmla="*/ 64857 h 171450"/>
                    <a:gd name="connsiteX181" fmla="*/ 404244 w 447675"/>
                    <a:gd name="connsiteY181" fmla="*/ 64857 h 171450"/>
                    <a:gd name="connsiteX182" fmla="*/ 404244 w 447675"/>
                    <a:gd name="connsiteY182" fmla="*/ 61171 h 171450"/>
                    <a:gd name="connsiteX183" fmla="*/ 400555 w 447675"/>
                    <a:gd name="connsiteY183" fmla="*/ 61171 h 171450"/>
                    <a:gd name="connsiteX184" fmla="*/ 396865 w 447675"/>
                    <a:gd name="connsiteY184" fmla="*/ 61171 h 171450"/>
                    <a:gd name="connsiteX185" fmla="*/ 393176 w 447675"/>
                    <a:gd name="connsiteY185" fmla="*/ 61171 h 171450"/>
                    <a:gd name="connsiteX186" fmla="*/ 393176 w 447675"/>
                    <a:gd name="connsiteY186" fmla="*/ 64857 h 171450"/>
                    <a:gd name="connsiteX187" fmla="*/ 396865 w 447675"/>
                    <a:gd name="connsiteY187" fmla="*/ 64857 h 171450"/>
                    <a:gd name="connsiteX188" fmla="*/ 396865 w 447675"/>
                    <a:gd name="connsiteY188" fmla="*/ 68553 h 171450"/>
                    <a:gd name="connsiteX189" fmla="*/ 393176 w 447675"/>
                    <a:gd name="connsiteY189" fmla="*/ 68553 h 171450"/>
                    <a:gd name="connsiteX190" fmla="*/ 385798 w 447675"/>
                    <a:gd name="connsiteY190" fmla="*/ 53789 h 171450"/>
                    <a:gd name="connsiteX191" fmla="*/ 382109 w 447675"/>
                    <a:gd name="connsiteY191" fmla="*/ 53789 h 171450"/>
                    <a:gd name="connsiteX192" fmla="*/ 371040 w 447675"/>
                    <a:gd name="connsiteY192" fmla="*/ 46407 h 171450"/>
                    <a:gd name="connsiteX193" fmla="*/ 371040 w 447675"/>
                    <a:gd name="connsiteY193" fmla="*/ 42711 h 171450"/>
                    <a:gd name="connsiteX194" fmla="*/ 367351 w 447675"/>
                    <a:gd name="connsiteY194" fmla="*/ 42711 h 171450"/>
                    <a:gd name="connsiteX195" fmla="*/ 367351 w 447675"/>
                    <a:gd name="connsiteY195" fmla="*/ 46407 h 171450"/>
                    <a:gd name="connsiteX196" fmla="*/ 352595 w 447675"/>
                    <a:gd name="connsiteY196" fmla="*/ 42711 h 171450"/>
                    <a:gd name="connsiteX197" fmla="*/ 348905 w 447675"/>
                    <a:gd name="connsiteY197" fmla="*/ 39025 h 171450"/>
                    <a:gd name="connsiteX198" fmla="*/ 348905 w 447675"/>
                    <a:gd name="connsiteY198" fmla="*/ 35339 h 171450"/>
                    <a:gd name="connsiteX199" fmla="*/ 345216 w 447675"/>
                    <a:gd name="connsiteY199" fmla="*/ 31643 h 171450"/>
                    <a:gd name="connsiteX200" fmla="*/ 345216 w 447675"/>
                    <a:gd name="connsiteY200" fmla="*/ 27957 h 171450"/>
                    <a:gd name="connsiteX201" fmla="*/ 341527 w 447675"/>
                    <a:gd name="connsiteY201" fmla="*/ 24262 h 171450"/>
                    <a:gd name="connsiteX202" fmla="*/ 345216 w 447675"/>
                    <a:gd name="connsiteY202" fmla="*/ 20575 h 171450"/>
                    <a:gd name="connsiteX203" fmla="*/ 341527 w 447675"/>
                    <a:gd name="connsiteY203" fmla="*/ 20575 h 171450"/>
                    <a:gd name="connsiteX204" fmla="*/ 337838 w 447675"/>
                    <a:gd name="connsiteY204" fmla="*/ 16880 h 171450"/>
                    <a:gd name="connsiteX205" fmla="*/ 337838 w 447675"/>
                    <a:gd name="connsiteY205" fmla="*/ 13194 h 171450"/>
                    <a:gd name="connsiteX206" fmla="*/ 330460 w 447675"/>
                    <a:gd name="connsiteY206" fmla="*/ 13194 h 171450"/>
                    <a:gd name="connsiteX207" fmla="*/ 326770 w 447675"/>
                    <a:gd name="connsiteY207" fmla="*/ 13194 h 171450"/>
                    <a:gd name="connsiteX208" fmla="*/ 323081 w 447675"/>
                    <a:gd name="connsiteY208" fmla="*/ 9498 h 171450"/>
                    <a:gd name="connsiteX209" fmla="*/ 315703 w 447675"/>
                    <a:gd name="connsiteY209" fmla="*/ 9498 h 171450"/>
                    <a:gd name="connsiteX210" fmla="*/ 312014 w 447675"/>
                    <a:gd name="connsiteY210" fmla="*/ 16880 h 171450"/>
                    <a:gd name="connsiteX211" fmla="*/ 312014 w 447675"/>
                    <a:gd name="connsiteY211" fmla="*/ 20575 h 171450"/>
                    <a:gd name="connsiteX212" fmla="*/ 308325 w 447675"/>
                    <a:gd name="connsiteY212" fmla="*/ 20575 h 171450"/>
                    <a:gd name="connsiteX213" fmla="*/ 308325 w 447675"/>
                    <a:gd name="connsiteY213" fmla="*/ 27957 h 171450"/>
                    <a:gd name="connsiteX214" fmla="*/ 308325 w 447675"/>
                    <a:gd name="connsiteY214" fmla="*/ 31643 h 171450"/>
                    <a:gd name="connsiteX215" fmla="*/ 308325 w 447675"/>
                    <a:gd name="connsiteY215" fmla="*/ 35339 h 171450"/>
                    <a:gd name="connsiteX216" fmla="*/ 308325 w 447675"/>
                    <a:gd name="connsiteY216" fmla="*/ 39025 h 171450"/>
                    <a:gd name="connsiteX217" fmla="*/ 304635 w 447675"/>
                    <a:gd name="connsiteY217" fmla="*/ 42711 h 171450"/>
                    <a:gd name="connsiteX218" fmla="*/ 297257 w 447675"/>
                    <a:gd name="connsiteY218" fmla="*/ 42711 h 171450"/>
                    <a:gd name="connsiteX219" fmla="*/ 286190 w 447675"/>
                    <a:gd name="connsiteY219" fmla="*/ 46407 h 171450"/>
                    <a:gd name="connsiteX220" fmla="*/ 278811 w 447675"/>
                    <a:gd name="connsiteY220" fmla="*/ 50093 h 171450"/>
                    <a:gd name="connsiteX221" fmla="*/ 275122 w 447675"/>
                    <a:gd name="connsiteY221" fmla="*/ 53789 h 171450"/>
                    <a:gd name="connsiteX222" fmla="*/ 271433 w 447675"/>
                    <a:gd name="connsiteY222" fmla="*/ 53789 h 171450"/>
                    <a:gd name="connsiteX223" fmla="*/ 271433 w 447675"/>
                    <a:gd name="connsiteY223" fmla="*/ 57475 h 171450"/>
                    <a:gd name="connsiteX224" fmla="*/ 264055 w 447675"/>
                    <a:gd name="connsiteY224" fmla="*/ 57475 h 171450"/>
                    <a:gd name="connsiteX225" fmla="*/ 264055 w 447675"/>
                    <a:gd name="connsiteY225" fmla="*/ 61171 h 171450"/>
                    <a:gd name="connsiteX226" fmla="*/ 260366 w 447675"/>
                    <a:gd name="connsiteY226" fmla="*/ 64857 h 171450"/>
                    <a:gd name="connsiteX227" fmla="*/ 256676 w 447675"/>
                    <a:gd name="connsiteY227" fmla="*/ 64857 h 171450"/>
                    <a:gd name="connsiteX228" fmla="*/ 249298 w 447675"/>
                    <a:gd name="connsiteY228" fmla="*/ 64857 h 171450"/>
                    <a:gd name="connsiteX229" fmla="*/ 245609 w 447675"/>
                    <a:gd name="connsiteY229" fmla="*/ 64857 h 171450"/>
                    <a:gd name="connsiteX230" fmla="*/ 241920 w 447675"/>
                    <a:gd name="connsiteY230" fmla="*/ 61171 h 171450"/>
                    <a:gd name="connsiteX231" fmla="*/ 238231 w 447675"/>
                    <a:gd name="connsiteY231" fmla="*/ 61171 h 171450"/>
                    <a:gd name="connsiteX232" fmla="*/ 238231 w 447675"/>
                    <a:gd name="connsiteY232" fmla="*/ 64857 h 171450"/>
                    <a:gd name="connsiteX233" fmla="*/ 234541 w 447675"/>
                    <a:gd name="connsiteY233" fmla="*/ 61171 h 171450"/>
                    <a:gd name="connsiteX234" fmla="*/ 234541 w 447675"/>
                    <a:gd name="connsiteY234" fmla="*/ 64857 h 171450"/>
                    <a:gd name="connsiteX235" fmla="*/ 234541 w 447675"/>
                    <a:gd name="connsiteY235" fmla="*/ 68553 h 171450"/>
                    <a:gd name="connsiteX236" fmla="*/ 230852 w 447675"/>
                    <a:gd name="connsiteY236" fmla="*/ 61171 h 171450"/>
                    <a:gd name="connsiteX237" fmla="*/ 230852 w 447675"/>
                    <a:gd name="connsiteY237" fmla="*/ 57475 h 171450"/>
                    <a:gd name="connsiteX238" fmla="*/ 227162 w 447675"/>
                    <a:gd name="connsiteY238" fmla="*/ 57475 h 171450"/>
                    <a:gd name="connsiteX239" fmla="*/ 223473 w 447675"/>
                    <a:gd name="connsiteY239" fmla="*/ 57475 h 171450"/>
                    <a:gd name="connsiteX240" fmla="*/ 223473 w 447675"/>
                    <a:gd name="connsiteY240" fmla="*/ 53789 h 171450"/>
                    <a:gd name="connsiteX241" fmla="*/ 212406 w 447675"/>
                    <a:gd name="connsiteY241" fmla="*/ 53789 h 171450"/>
                    <a:gd name="connsiteX242" fmla="*/ 212406 w 447675"/>
                    <a:gd name="connsiteY242" fmla="*/ 64857 h 171450"/>
                    <a:gd name="connsiteX243" fmla="*/ 205027 w 447675"/>
                    <a:gd name="connsiteY243" fmla="*/ 61171 h 171450"/>
                    <a:gd name="connsiteX244" fmla="*/ 205027 w 447675"/>
                    <a:gd name="connsiteY244" fmla="*/ 57475 h 171450"/>
                    <a:gd name="connsiteX245" fmla="*/ 208716 w 447675"/>
                    <a:gd name="connsiteY245" fmla="*/ 53789 h 171450"/>
                    <a:gd name="connsiteX246" fmla="*/ 205027 w 447675"/>
                    <a:gd name="connsiteY246" fmla="*/ 53789 h 171450"/>
                    <a:gd name="connsiteX247" fmla="*/ 197649 w 447675"/>
                    <a:gd name="connsiteY247" fmla="*/ 53789 h 171450"/>
                    <a:gd name="connsiteX248" fmla="*/ 193960 w 447675"/>
                    <a:gd name="connsiteY248" fmla="*/ 53789 h 171450"/>
                    <a:gd name="connsiteX249" fmla="*/ 190271 w 447675"/>
                    <a:gd name="connsiteY249" fmla="*/ 53789 h 171450"/>
                    <a:gd name="connsiteX250" fmla="*/ 186581 w 447675"/>
                    <a:gd name="connsiteY250" fmla="*/ 53789 h 171450"/>
                    <a:gd name="connsiteX251" fmla="*/ 186581 w 447675"/>
                    <a:gd name="connsiteY251" fmla="*/ 50093 h 171450"/>
                    <a:gd name="connsiteX252" fmla="*/ 182892 w 447675"/>
                    <a:gd name="connsiteY252" fmla="*/ 46407 h 171450"/>
                    <a:gd name="connsiteX253" fmla="*/ 179203 w 447675"/>
                    <a:gd name="connsiteY253" fmla="*/ 42711 h 171450"/>
                    <a:gd name="connsiteX254" fmla="*/ 175514 w 447675"/>
                    <a:gd name="connsiteY254" fmla="*/ 42711 h 171450"/>
                    <a:gd name="connsiteX255" fmla="*/ 175514 w 447675"/>
                    <a:gd name="connsiteY255" fmla="*/ 39025 h 171450"/>
                    <a:gd name="connsiteX256" fmla="*/ 171825 w 447675"/>
                    <a:gd name="connsiteY256" fmla="*/ 35339 h 171450"/>
                    <a:gd name="connsiteX257" fmla="*/ 160757 w 447675"/>
                    <a:gd name="connsiteY257" fmla="*/ 35339 h 171450"/>
                    <a:gd name="connsiteX258" fmla="*/ 153379 w 447675"/>
                    <a:gd name="connsiteY258" fmla="*/ 31643 h 171450"/>
                    <a:gd name="connsiteX259" fmla="*/ 149690 w 447675"/>
                    <a:gd name="connsiteY259" fmla="*/ 31643 h 171450"/>
                    <a:gd name="connsiteX260" fmla="*/ 138622 w 447675"/>
                    <a:gd name="connsiteY260" fmla="*/ 27957 h 171450"/>
                    <a:gd name="connsiteX261" fmla="*/ 134933 w 447675"/>
                    <a:gd name="connsiteY261" fmla="*/ 27957 h 171450"/>
                    <a:gd name="connsiteX262" fmla="*/ 134933 w 447675"/>
                    <a:gd name="connsiteY262" fmla="*/ 24262 h 171450"/>
                    <a:gd name="connsiteX263" fmla="*/ 131244 w 447675"/>
                    <a:gd name="connsiteY263" fmla="*/ 24262 h 171450"/>
                    <a:gd name="connsiteX264" fmla="*/ 123866 w 447675"/>
                    <a:gd name="connsiteY264" fmla="*/ 20575 h 171450"/>
                    <a:gd name="connsiteX265" fmla="*/ 120177 w 447675"/>
                    <a:gd name="connsiteY265" fmla="*/ 20575 h 171450"/>
                    <a:gd name="connsiteX266" fmla="*/ 116487 w 447675"/>
                    <a:gd name="connsiteY266" fmla="*/ 16880 h 171450"/>
                    <a:gd name="connsiteX267" fmla="*/ 112798 w 447675"/>
                    <a:gd name="connsiteY267" fmla="*/ 13194 h 171450"/>
                    <a:gd name="connsiteX268" fmla="*/ 109109 w 447675"/>
                    <a:gd name="connsiteY268" fmla="*/ 13194 h 171450"/>
                    <a:gd name="connsiteX269" fmla="*/ 105420 w 447675"/>
                    <a:gd name="connsiteY269" fmla="*/ 9498 h 171450"/>
                    <a:gd name="connsiteX270" fmla="*/ 101731 w 447675"/>
                    <a:gd name="connsiteY270" fmla="*/ 9498 h 171450"/>
                    <a:gd name="connsiteX271" fmla="*/ 101731 w 447675"/>
                    <a:gd name="connsiteY271" fmla="*/ 5812 h 171450"/>
                    <a:gd name="connsiteX272" fmla="*/ 90663 w 447675"/>
                    <a:gd name="connsiteY272" fmla="*/ 5812 h 171450"/>
                    <a:gd name="connsiteX273" fmla="*/ 86974 w 447675"/>
                    <a:gd name="connsiteY273" fmla="*/ 5812 h 171450"/>
                    <a:gd name="connsiteX274" fmla="*/ 79595 w 447675"/>
                    <a:gd name="connsiteY274" fmla="*/ 5812 h 171450"/>
                    <a:gd name="connsiteX275" fmla="*/ 415311 w 447675"/>
                    <a:gd name="connsiteY275" fmla="*/ 57475 h 171450"/>
                    <a:gd name="connsiteX276" fmla="*/ 411622 w 447675"/>
                    <a:gd name="connsiteY276" fmla="*/ 53789 h 171450"/>
                    <a:gd name="connsiteX277" fmla="*/ 407933 w 447675"/>
                    <a:gd name="connsiteY277" fmla="*/ 57475 h 171450"/>
                    <a:gd name="connsiteX278" fmla="*/ 415311 w 447675"/>
                    <a:gd name="connsiteY278" fmla="*/ 57475 h 171450"/>
                    <a:gd name="connsiteX279" fmla="*/ 411622 w 447675"/>
                    <a:gd name="connsiteY279" fmla="*/ 53789 h 171450"/>
                    <a:gd name="connsiteX280" fmla="*/ 415311 w 447675"/>
                    <a:gd name="connsiteY280" fmla="*/ 53789 h 171450"/>
                    <a:gd name="connsiteX281" fmla="*/ 419000 w 447675"/>
                    <a:gd name="connsiteY281" fmla="*/ 53789 h 171450"/>
                    <a:gd name="connsiteX282" fmla="*/ 422690 w 447675"/>
                    <a:gd name="connsiteY282" fmla="*/ 53789 h 171450"/>
                    <a:gd name="connsiteX283" fmla="*/ 419000 w 447675"/>
                    <a:gd name="connsiteY283" fmla="*/ 50093 h 171450"/>
                    <a:gd name="connsiteX284" fmla="*/ 415311 w 447675"/>
                    <a:gd name="connsiteY284" fmla="*/ 50093 h 171450"/>
                    <a:gd name="connsiteX285" fmla="*/ 411622 w 447675"/>
                    <a:gd name="connsiteY285" fmla="*/ 50093 h 171450"/>
                    <a:gd name="connsiteX286" fmla="*/ 411622 w 447675"/>
                    <a:gd name="connsiteY286" fmla="*/ 53789 h 171450"/>
                    <a:gd name="connsiteX287" fmla="*/ 419000 w 447675"/>
                    <a:gd name="connsiteY287" fmla="*/ 42711 h 171450"/>
                    <a:gd name="connsiteX288" fmla="*/ 422690 w 447675"/>
                    <a:gd name="connsiteY288" fmla="*/ 46407 h 171450"/>
                    <a:gd name="connsiteX289" fmla="*/ 419000 w 447675"/>
                    <a:gd name="connsiteY289" fmla="*/ 46407 h 171450"/>
                    <a:gd name="connsiteX290" fmla="*/ 419000 w 447675"/>
                    <a:gd name="connsiteY290" fmla="*/ 42711 h 171450"/>
                    <a:gd name="connsiteX291" fmla="*/ 426379 w 447675"/>
                    <a:gd name="connsiteY291" fmla="*/ 42711 h 171450"/>
                    <a:gd name="connsiteX292" fmla="*/ 430068 w 447675"/>
                    <a:gd name="connsiteY292" fmla="*/ 42711 h 171450"/>
                    <a:gd name="connsiteX293" fmla="*/ 426379 w 447675"/>
                    <a:gd name="connsiteY293" fmla="*/ 46407 h 171450"/>
                    <a:gd name="connsiteX294" fmla="*/ 426379 w 447675"/>
                    <a:gd name="connsiteY294" fmla="*/ 42711 h 171450"/>
                    <a:gd name="connsiteX295" fmla="*/ 400555 w 447675"/>
                    <a:gd name="connsiteY295" fmla="*/ 68553 h 171450"/>
                    <a:gd name="connsiteX296" fmla="*/ 404244 w 447675"/>
                    <a:gd name="connsiteY296" fmla="*/ 68553 h 171450"/>
                    <a:gd name="connsiteX297" fmla="*/ 404244 w 447675"/>
                    <a:gd name="connsiteY297" fmla="*/ 72239 h 171450"/>
                    <a:gd name="connsiteX298" fmla="*/ 400555 w 447675"/>
                    <a:gd name="connsiteY298" fmla="*/ 72239 h 171450"/>
                    <a:gd name="connsiteX299" fmla="*/ 400555 w 447675"/>
                    <a:gd name="connsiteY299" fmla="*/ 68553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447675" h="171450">
                      <a:moveTo>
                        <a:pt x="79595" y="5812"/>
                      </a:moveTo>
                      <a:lnTo>
                        <a:pt x="79595" y="9498"/>
                      </a:lnTo>
                      <a:lnTo>
                        <a:pt x="75906" y="9498"/>
                      </a:lnTo>
                      <a:lnTo>
                        <a:pt x="72217" y="9498"/>
                      </a:lnTo>
                      <a:lnTo>
                        <a:pt x="64839" y="13194"/>
                      </a:lnTo>
                      <a:lnTo>
                        <a:pt x="61149" y="13194"/>
                      </a:lnTo>
                      <a:lnTo>
                        <a:pt x="57460" y="13194"/>
                      </a:lnTo>
                      <a:lnTo>
                        <a:pt x="53771" y="16880"/>
                      </a:lnTo>
                      <a:lnTo>
                        <a:pt x="50082" y="16880"/>
                      </a:lnTo>
                      <a:lnTo>
                        <a:pt x="46393" y="16880"/>
                      </a:lnTo>
                      <a:lnTo>
                        <a:pt x="42703" y="16880"/>
                      </a:lnTo>
                      <a:lnTo>
                        <a:pt x="39014" y="16880"/>
                      </a:lnTo>
                      <a:lnTo>
                        <a:pt x="35325" y="16880"/>
                      </a:lnTo>
                      <a:lnTo>
                        <a:pt x="35325" y="20575"/>
                      </a:lnTo>
                      <a:lnTo>
                        <a:pt x="31636" y="20575"/>
                      </a:lnTo>
                      <a:lnTo>
                        <a:pt x="27947" y="24262"/>
                      </a:lnTo>
                      <a:lnTo>
                        <a:pt x="24258" y="24262"/>
                      </a:lnTo>
                      <a:lnTo>
                        <a:pt x="20568" y="24262"/>
                      </a:lnTo>
                      <a:lnTo>
                        <a:pt x="16879" y="27957"/>
                      </a:lnTo>
                      <a:lnTo>
                        <a:pt x="13190" y="27957"/>
                      </a:lnTo>
                      <a:lnTo>
                        <a:pt x="13190" y="31643"/>
                      </a:lnTo>
                      <a:lnTo>
                        <a:pt x="16879" y="35339"/>
                      </a:lnTo>
                      <a:lnTo>
                        <a:pt x="16879" y="42711"/>
                      </a:lnTo>
                      <a:lnTo>
                        <a:pt x="16879" y="46407"/>
                      </a:lnTo>
                      <a:lnTo>
                        <a:pt x="16879" y="50093"/>
                      </a:lnTo>
                      <a:lnTo>
                        <a:pt x="20568" y="53789"/>
                      </a:lnTo>
                      <a:lnTo>
                        <a:pt x="20568" y="61171"/>
                      </a:lnTo>
                      <a:lnTo>
                        <a:pt x="9501" y="72239"/>
                      </a:lnTo>
                      <a:lnTo>
                        <a:pt x="5812" y="75935"/>
                      </a:lnTo>
                      <a:lnTo>
                        <a:pt x="9501" y="79621"/>
                      </a:lnTo>
                      <a:lnTo>
                        <a:pt x="16879" y="87003"/>
                      </a:lnTo>
                      <a:lnTo>
                        <a:pt x="13190" y="87003"/>
                      </a:lnTo>
                      <a:lnTo>
                        <a:pt x="9501" y="87003"/>
                      </a:lnTo>
                      <a:lnTo>
                        <a:pt x="9501" y="90689"/>
                      </a:lnTo>
                      <a:lnTo>
                        <a:pt x="13190" y="94385"/>
                      </a:lnTo>
                      <a:lnTo>
                        <a:pt x="16879" y="98071"/>
                      </a:lnTo>
                      <a:lnTo>
                        <a:pt x="16879" y="101766"/>
                      </a:lnTo>
                      <a:lnTo>
                        <a:pt x="13190" y="105453"/>
                      </a:lnTo>
                      <a:lnTo>
                        <a:pt x="16879" y="109148"/>
                      </a:lnTo>
                      <a:lnTo>
                        <a:pt x="20568" y="109148"/>
                      </a:lnTo>
                      <a:lnTo>
                        <a:pt x="24258" y="116530"/>
                      </a:lnTo>
                      <a:lnTo>
                        <a:pt x="27947" y="116530"/>
                      </a:lnTo>
                      <a:lnTo>
                        <a:pt x="31636" y="123912"/>
                      </a:lnTo>
                      <a:lnTo>
                        <a:pt x="35325" y="120216"/>
                      </a:lnTo>
                      <a:lnTo>
                        <a:pt x="39014" y="123912"/>
                      </a:lnTo>
                      <a:lnTo>
                        <a:pt x="39014" y="127598"/>
                      </a:lnTo>
                      <a:lnTo>
                        <a:pt x="39014" y="131294"/>
                      </a:lnTo>
                      <a:lnTo>
                        <a:pt x="42703" y="131294"/>
                      </a:lnTo>
                      <a:lnTo>
                        <a:pt x="46393" y="134980"/>
                      </a:lnTo>
                      <a:lnTo>
                        <a:pt x="50082" y="134980"/>
                      </a:lnTo>
                      <a:lnTo>
                        <a:pt x="61149" y="134980"/>
                      </a:lnTo>
                      <a:lnTo>
                        <a:pt x="90663" y="131294"/>
                      </a:lnTo>
                      <a:lnTo>
                        <a:pt x="86974" y="105453"/>
                      </a:lnTo>
                      <a:lnTo>
                        <a:pt x="83284" y="101766"/>
                      </a:lnTo>
                      <a:lnTo>
                        <a:pt x="90663" y="98071"/>
                      </a:lnTo>
                      <a:lnTo>
                        <a:pt x="94352" y="101766"/>
                      </a:lnTo>
                      <a:lnTo>
                        <a:pt x="98042" y="101766"/>
                      </a:lnTo>
                      <a:lnTo>
                        <a:pt x="98042" y="98071"/>
                      </a:lnTo>
                      <a:lnTo>
                        <a:pt x="101731" y="98071"/>
                      </a:lnTo>
                      <a:lnTo>
                        <a:pt x="105420" y="98071"/>
                      </a:lnTo>
                      <a:lnTo>
                        <a:pt x="105420" y="94385"/>
                      </a:lnTo>
                      <a:lnTo>
                        <a:pt x="109109" y="94385"/>
                      </a:lnTo>
                      <a:lnTo>
                        <a:pt x="112798" y="98071"/>
                      </a:lnTo>
                      <a:lnTo>
                        <a:pt x="116487" y="101766"/>
                      </a:lnTo>
                      <a:lnTo>
                        <a:pt x="120177" y="98071"/>
                      </a:lnTo>
                      <a:lnTo>
                        <a:pt x="116487" y="90689"/>
                      </a:lnTo>
                      <a:lnTo>
                        <a:pt x="123866" y="87003"/>
                      </a:lnTo>
                      <a:lnTo>
                        <a:pt x="127555" y="90689"/>
                      </a:lnTo>
                      <a:lnTo>
                        <a:pt x="134933" y="94385"/>
                      </a:lnTo>
                      <a:lnTo>
                        <a:pt x="138622" y="98071"/>
                      </a:lnTo>
                      <a:lnTo>
                        <a:pt x="146001" y="101766"/>
                      </a:lnTo>
                      <a:lnTo>
                        <a:pt x="149690" y="101766"/>
                      </a:lnTo>
                      <a:lnTo>
                        <a:pt x="149690" y="98071"/>
                      </a:lnTo>
                      <a:lnTo>
                        <a:pt x="157068" y="98071"/>
                      </a:lnTo>
                      <a:lnTo>
                        <a:pt x="164446" y="105453"/>
                      </a:lnTo>
                      <a:lnTo>
                        <a:pt x="168136" y="105453"/>
                      </a:lnTo>
                      <a:lnTo>
                        <a:pt x="171825" y="109148"/>
                      </a:lnTo>
                      <a:lnTo>
                        <a:pt x="171825" y="112835"/>
                      </a:lnTo>
                      <a:lnTo>
                        <a:pt x="182892" y="112835"/>
                      </a:lnTo>
                      <a:lnTo>
                        <a:pt x="186581" y="116530"/>
                      </a:lnTo>
                      <a:lnTo>
                        <a:pt x="186581" y="112835"/>
                      </a:lnTo>
                      <a:lnTo>
                        <a:pt x="201338" y="116530"/>
                      </a:lnTo>
                      <a:lnTo>
                        <a:pt x="205027" y="116530"/>
                      </a:lnTo>
                      <a:lnTo>
                        <a:pt x="208716" y="123912"/>
                      </a:lnTo>
                      <a:lnTo>
                        <a:pt x="212406" y="123912"/>
                      </a:lnTo>
                      <a:lnTo>
                        <a:pt x="212406" y="120216"/>
                      </a:lnTo>
                      <a:lnTo>
                        <a:pt x="216095" y="123912"/>
                      </a:lnTo>
                      <a:lnTo>
                        <a:pt x="219784" y="127598"/>
                      </a:lnTo>
                      <a:lnTo>
                        <a:pt x="223473" y="127598"/>
                      </a:lnTo>
                      <a:lnTo>
                        <a:pt x="223473" y="131294"/>
                      </a:lnTo>
                      <a:lnTo>
                        <a:pt x="219784" y="134980"/>
                      </a:lnTo>
                      <a:lnTo>
                        <a:pt x="219784" y="142362"/>
                      </a:lnTo>
                      <a:lnTo>
                        <a:pt x="219784" y="153430"/>
                      </a:lnTo>
                      <a:lnTo>
                        <a:pt x="219784" y="160812"/>
                      </a:lnTo>
                      <a:lnTo>
                        <a:pt x="223473" y="164508"/>
                      </a:lnTo>
                      <a:lnTo>
                        <a:pt x="227162" y="164508"/>
                      </a:lnTo>
                      <a:lnTo>
                        <a:pt x="227162" y="160812"/>
                      </a:lnTo>
                      <a:lnTo>
                        <a:pt x="230852" y="164508"/>
                      </a:lnTo>
                      <a:lnTo>
                        <a:pt x="234541" y="164508"/>
                      </a:lnTo>
                      <a:lnTo>
                        <a:pt x="238231" y="164508"/>
                      </a:lnTo>
                      <a:lnTo>
                        <a:pt x="241920" y="164508"/>
                      </a:lnTo>
                      <a:lnTo>
                        <a:pt x="245609" y="164508"/>
                      </a:lnTo>
                      <a:lnTo>
                        <a:pt x="249298" y="164508"/>
                      </a:lnTo>
                      <a:lnTo>
                        <a:pt x="252987" y="164508"/>
                      </a:lnTo>
                      <a:lnTo>
                        <a:pt x="256676" y="164508"/>
                      </a:lnTo>
                      <a:lnTo>
                        <a:pt x="264055" y="157126"/>
                      </a:lnTo>
                      <a:lnTo>
                        <a:pt x="267744" y="157126"/>
                      </a:lnTo>
                      <a:lnTo>
                        <a:pt x="271433" y="157126"/>
                      </a:lnTo>
                      <a:lnTo>
                        <a:pt x="271433" y="164508"/>
                      </a:lnTo>
                      <a:lnTo>
                        <a:pt x="267744" y="164508"/>
                      </a:lnTo>
                      <a:lnTo>
                        <a:pt x="264055" y="168194"/>
                      </a:lnTo>
                      <a:lnTo>
                        <a:pt x="267744" y="171890"/>
                      </a:lnTo>
                      <a:lnTo>
                        <a:pt x="271433" y="171890"/>
                      </a:lnTo>
                      <a:lnTo>
                        <a:pt x="275122" y="171890"/>
                      </a:lnTo>
                      <a:lnTo>
                        <a:pt x="282501" y="168194"/>
                      </a:lnTo>
                      <a:lnTo>
                        <a:pt x="286190" y="168194"/>
                      </a:lnTo>
                      <a:lnTo>
                        <a:pt x="282501" y="160812"/>
                      </a:lnTo>
                      <a:lnTo>
                        <a:pt x="289879" y="157126"/>
                      </a:lnTo>
                      <a:lnTo>
                        <a:pt x="293568" y="164508"/>
                      </a:lnTo>
                      <a:lnTo>
                        <a:pt x="297257" y="164508"/>
                      </a:lnTo>
                      <a:lnTo>
                        <a:pt x="297257" y="160812"/>
                      </a:lnTo>
                      <a:lnTo>
                        <a:pt x="300946" y="160812"/>
                      </a:lnTo>
                      <a:lnTo>
                        <a:pt x="304635" y="160812"/>
                      </a:lnTo>
                      <a:lnTo>
                        <a:pt x="308325" y="157126"/>
                      </a:lnTo>
                      <a:lnTo>
                        <a:pt x="308325" y="153430"/>
                      </a:lnTo>
                      <a:lnTo>
                        <a:pt x="315703" y="153430"/>
                      </a:lnTo>
                      <a:lnTo>
                        <a:pt x="319392" y="146048"/>
                      </a:lnTo>
                      <a:lnTo>
                        <a:pt x="323081" y="146048"/>
                      </a:lnTo>
                      <a:lnTo>
                        <a:pt x="326770" y="142362"/>
                      </a:lnTo>
                      <a:lnTo>
                        <a:pt x="334149" y="138666"/>
                      </a:lnTo>
                      <a:lnTo>
                        <a:pt x="337838" y="138666"/>
                      </a:lnTo>
                      <a:lnTo>
                        <a:pt x="337838" y="142362"/>
                      </a:lnTo>
                      <a:lnTo>
                        <a:pt x="341527" y="142362"/>
                      </a:lnTo>
                      <a:lnTo>
                        <a:pt x="345216" y="138666"/>
                      </a:lnTo>
                      <a:lnTo>
                        <a:pt x="345216" y="142362"/>
                      </a:lnTo>
                      <a:lnTo>
                        <a:pt x="352595" y="142362"/>
                      </a:lnTo>
                      <a:lnTo>
                        <a:pt x="356284" y="138666"/>
                      </a:lnTo>
                      <a:lnTo>
                        <a:pt x="359973" y="138666"/>
                      </a:lnTo>
                      <a:lnTo>
                        <a:pt x="363662" y="134980"/>
                      </a:lnTo>
                      <a:lnTo>
                        <a:pt x="371040" y="127598"/>
                      </a:lnTo>
                      <a:lnTo>
                        <a:pt x="378419" y="123912"/>
                      </a:lnTo>
                      <a:lnTo>
                        <a:pt x="385798" y="120216"/>
                      </a:lnTo>
                      <a:lnTo>
                        <a:pt x="404244" y="105453"/>
                      </a:lnTo>
                      <a:lnTo>
                        <a:pt x="407933" y="101766"/>
                      </a:lnTo>
                      <a:lnTo>
                        <a:pt x="444825" y="57475"/>
                      </a:lnTo>
                      <a:lnTo>
                        <a:pt x="441135" y="57475"/>
                      </a:lnTo>
                      <a:lnTo>
                        <a:pt x="441135" y="53789"/>
                      </a:lnTo>
                      <a:lnTo>
                        <a:pt x="437446" y="53789"/>
                      </a:lnTo>
                      <a:lnTo>
                        <a:pt x="437446" y="50093"/>
                      </a:lnTo>
                      <a:lnTo>
                        <a:pt x="437446" y="46407"/>
                      </a:lnTo>
                      <a:lnTo>
                        <a:pt x="433757" y="50093"/>
                      </a:lnTo>
                      <a:lnTo>
                        <a:pt x="433757" y="46407"/>
                      </a:lnTo>
                      <a:lnTo>
                        <a:pt x="433757" y="42711"/>
                      </a:lnTo>
                      <a:lnTo>
                        <a:pt x="430068" y="39025"/>
                      </a:lnTo>
                      <a:lnTo>
                        <a:pt x="426379" y="39025"/>
                      </a:lnTo>
                      <a:lnTo>
                        <a:pt x="422690" y="39025"/>
                      </a:lnTo>
                      <a:lnTo>
                        <a:pt x="426379" y="35339"/>
                      </a:lnTo>
                      <a:lnTo>
                        <a:pt x="422690" y="35339"/>
                      </a:lnTo>
                      <a:lnTo>
                        <a:pt x="419000" y="35339"/>
                      </a:lnTo>
                      <a:lnTo>
                        <a:pt x="419000" y="39025"/>
                      </a:lnTo>
                      <a:lnTo>
                        <a:pt x="415311" y="42711"/>
                      </a:lnTo>
                      <a:lnTo>
                        <a:pt x="415311" y="46407"/>
                      </a:lnTo>
                      <a:lnTo>
                        <a:pt x="419000" y="50093"/>
                      </a:lnTo>
                      <a:lnTo>
                        <a:pt x="422690" y="50093"/>
                      </a:lnTo>
                      <a:lnTo>
                        <a:pt x="422690" y="53789"/>
                      </a:lnTo>
                      <a:lnTo>
                        <a:pt x="422690" y="57475"/>
                      </a:lnTo>
                      <a:lnTo>
                        <a:pt x="419000" y="53789"/>
                      </a:lnTo>
                      <a:lnTo>
                        <a:pt x="415311" y="57475"/>
                      </a:lnTo>
                      <a:lnTo>
                        <a:pt x="419000" y="57475"/>
                      </a:lnTo>
                      <a:lnTo>
                        <a:pt x="415311" y="61171"/>
                      </a:lnTo>
                      <a:lnTo>
                        <a:pt x="419000" y="61171"/>
                      </a:lnTo>
                      <a:lnTo>
                        <a:pt x="419000" y="64857"/>
                      </a:lnTo>
                      <a:lnTo>
                        <a:pt x="415311" y="61171"/>
                      </a:lnTo>
                      <a:lnTo>
                        <a:pt x="407933" y="61171"/>
                      </a:lnTo>
                      <a:lnTo>
                        <a:pt x="411622" y="64857"/>
                      </a:lnTo>
                      <a:lnTo>
                        <a:pt x="411622" y="68553"/>
                      </a:lnTo>
                      <a:lnTo>
                        <a:pt x="407933" y="61171"/>
                      </a:lnTo>
                      <a:lnTo>
                        <a:pt x="404244" y="57475"/>
                      </a:lnTo>
                      <a:lnTo>
                        <a:pt x="400555" y="57475"/>
                      </a:lnTo>
                      <a:lnTo>
                        <a:pt x="404244" y="61171"/>
                      </a:lnTo>
                      <a:lnTo>
                        <a:pt x="407933" y="64857"/>
                      </a:lnTo>
                      <a:lnTo>
                        <a:pt x="404244" y="64857"/>
                      </a:lnTo>
                      <a:lnTo>
                        <a:pt x="404244" y="61171"/>
                      </a:lnTo>
                      <a:lnTo>
                        <a:pt x="400555" y="61171"/>
                      </a:lnTo>
                      <a:lnTo>
                        <a:pt x="396865" y="61171"/>
                      </a:lnTo>
                      <a:lnTo>
                        <a:pt x="393176" y="61171"/>
                      </a:lnTo>
                      <a:lnTo>
                        <a:pt x="393176" y="64857"/>
                      </a:lnTo>
                      <a:lnTo>
                        <a:pt x="396865" y="64857"/>
                      </a:lnTo>
                      <a:lnTo>
                        <a:pt x="396865" y="68553"/>
                      </a:lnTo>
                      <a:lnTo>
                        <a:pt x="393176" y="68553"/>
                      </a:lnTo>
                      <a:lnTo>
                        <a:pt x="385798" y="53789"/>
                      </a:lnTo>
                      <a:lnTo>
                        <a:pt x="382109" y="53789"/>
                      </a:lnTo>
                      <a:lnTo>
                        <a:pt x="371040" y="46407"/>
                      </a:lnTo>
                      <a:lnTo>
                        <a:pt x="371040" y="42711"/>
                      </a:lnTo>
                      <a:lnTo>
                        <a:pt x="367351" y="42711"/>
                      </a:lnTo>
                      <a:lnTo>
                        <a:pt x="367351" y="46407"/>
                      </a:lnTo>
                      <a:lnTo>
                        <a:pt x="352595" y="42711"/>
                      </a:lnTo>
                      <a:lnTo>
                        <a:pt x="348905" y="39025"/>
                      </a:lnTo>
                      <a:lnTo>
                        <a:pt x="348905" y="35339"/>
                      </a:lnTo>
                      <a:lnTo>
                        <a:pt x="345216" y="31643"/>
                      </a:lnTo>
                      <a:lnTo>
                        <a:pt x="345216" y="27957"/>
                      </a:lnTo>
                      <a:lnTo>
                        <a:pt x="341527" y="24262"/>
                      </a:lnTo>
                      <a:lnTo>
                        <a:pt x="345216" y="20575"/>
                      </a:lnTo>
                      <a:lnTo>
                        <a:pt x="341527" y="20575"/>
                      </a:lnTo>
                      <a:lnTo>
                        <a:pt x="337838" y="16880"/>
                      </a:lnTo>
                      <a:lnTo>
                        <a:pt x="337838" y="13194"/>
                      </a:lnTo>
                      <a:lnTo>
                        <a:pt x="330460" y="13194"/>
                      </a:lnTo>
                      <a:lnTo>
                        <a:pt x="326770" y="13194"/>
                      </a:lnTo>
                      <a:lnTo>
                        <a:pt x="323081" y="9498"/>
                      </a:lnTo>
                      <a:lnTo>
                        <a:pt x="315703" y="9498"/>
                      </a:lnTo>
                      <a:lnTo>
                        <a:pt x="312014" y="16880"/>
                      </a:lnTo>
                      <a:lnTo>
                        <a:pt x="312014" y="20575"/>
                      </a:lnTo>
                      <a:lnTo>
                        <a:pt x="308325" y="20575"/>
                      </a:lnTo>
                      <a:lnTo>
                        <a:pt x="308325" y="27957"/>
                      </a:lnTo>
                      <a:lnTo>
                        <a:pt x="308325" y="31643"/>
                      </a:lnTo>
                      <a:lnTo>
                        <a:pt x="308325" y="35339"/>
                      </a:lnTo>
                      <a:lnTo>
                        <a:pt x="308325" y="39025"/>
                      </a:lnTo>
                      <a:lnTo>
                        <a:pt x="304635" y="42711"/>
                      </a:lnTo>
                      <a:lnTo>
                        <a:pt x="297257" y="42711"/>
                      </a:lnTo>
                      <a:lnTo>
                        <a:pt x="286190" y="46407"/>
                      </a:lnTo>
                      <a:lnTo>
                        <a:pt x="278811" y="50093"/>
                      </a:lnTo>
                      <a:lnTo>
                        <a:pt x="275122" y="53789"/>
                      </a:lnTo>
                      <a:lnTo>
                        <a:pt x="271433" y="53789"/>
                      </a:lnTo>
                      <a:lnTo>
                        <a:pt x="271433" y="57475"/>
                      </a:lnTo>
                      <a:lnTo>
                        <a:pt x="264055" y="57475"/>
                      </a:lnTo>
                      <a:lnTo>
                        <a:pt x="264055" y="61171"/>
                      </a:lnTo>
                      <a:lnTo>
                        <a:pt x="260366" y="64857"/>
                      </a:lnTo>
                      <a:lnTo>
                        <a:pt x="256676" y="64857"/>
                      </a:lnTo>
                      <a:lnTo>
                        <a:pt x="249298" y="64857"/>
                      </a:lnTo>
                      <a:lnTo>
                        <a:pt x="245609" y="64857"/>
                      </a:lnTo>
                      <a:lnTo>
                        <a:pt x="241920" y="61171"/>
                      </a:lnTo>
                      <a:lnTo>
                        <a:pt x="238231" y="61171"/>
                      </a:lnTo>
                      <a:lnTo>
                        <a:pt x="238231" y="64857"/>
                      </a:lnTo>
                      <a:lnTo>
                        <a:pt x="234541" y="61171"/>
                      </a:lnTo>
                      <a:lnTo>
                        <a:pt x="234541" y="64857"/>
                      </a:lnTo>
                      <a:lnTo>
                        <a:pt x="234541" y="68553"/>
                      </a:lnTo>
                      <a:lnTo>
                        <a:pt x="230852" y="61171"/>
                      </a:lnTo>
                      <a:lnTo>
                        <a:pt x="230852" y="57475"/>
                      </a:lnTo>
                      <a:lnTo>
                        <a:pt x="227162" y="57475"/>
                      </a:lnTo>
                      <a:lnTo>
                        <a:pt x="223473" y="57475"/>
                      </a:lnTo>
                      <a:lnTo>
                        <a:pt x="223473" y="53789"/>
                      </a:lnTo>
                      <a:lnTo>
                        <a:pt x="212406" y="53789"/>
                      </a:lnTo>
                      <a:lnTo>
                        <a:pt x="212406" y="64857"/>
                      </a:lnTo>
                      <a:lnTo>
                        <a:pt x="205027" y="61171"/>
                      </a:lnTo>
                      <a:lnTo>
                        <a:pt x="205027" y="57475"/>
                      </a:lnTo>
                      <a:lnTo>
                        <a:pt x="208716" y="53789"/>
                      </a:lnTo>
                      <a:lnTo>
                        <a:pt x="205027" y="53789"/>
                      </a:lnTo>
                      <a:lnTo>
                        <a:pt x="197649" y="53789"/>
                      </a:lnTo>
                      <a:lnTo>
                        <a:pt x="193960" y="53789"/>
                      </a:lnTo>
                      <a:lnTo>
                        <a:pt x="190271" y="53789"/>
                      </a:lnTo>
                      <a:lnTo>
                        <a:pt x="186581" y="53789"/>
                      </a:lnTo>
                      <a:lnTo>
                        <a:pt x="186581" y="50093"/>
                      </a:lnTo>
                      <a:lnTo>
                        <a:pt x="182892" y="46407"/>
                      </a:lnTo>
                      <a:lnTo>
                        <a:pt x="179203" y="42711"/>
                      </a:lnTo>
                      <a:lnTo>
                        <a:pt x="175514" y="42711"/>
                      </a:lnTo>
                      <a:lnTo>
                        <a:pt x="175514" y="39025"/>
                      </a:lnTo>
                      <a:lnTo>
                        <a:pt x="171825" y="35339"/>
                      </a:lnTo>
                      <a:lnTo>
                        <a:pt x="160757" y="35339"/>
                      </a:lnTo>
                      <a:lnTo>
                        <a:pt x="153379" y="31643"/>
                      </a:lnTo>
                      <a:lnTo>
                        <a:pt x="149690" y="31643"/>
                      </a:lnTo>
                      <a:lnTo>
                        <a:pt x="138622" y="27957"/>
                      </a:lnTo>
                      <a:lnTo>
                        <a:pt x="134933" y="27957"/>
                      </a:lnTo>
                      <a:lnTo>
                        <a:pt x="134933" y="24262"/>
                      </a:lnTo>
                      <a:lnTo>
                        <a:pt x="131244" y="24262"/>
                      </a:lnTo>
                      <a:lnTo>
                        <a:pt x="123866" y="20575"/>
                      </a:lnTo>
                      <a:lnTo>
                        <a:pt x="120177" y="20575"/>
                      </a:lnTo>
                      <a:lnTo>
                        <a:pt x="116487" y="16880"/>
                      </a:lnTo>
                      <a:lnTo>
                        <a:pt x="112798" y="13194"/>
                      </a:lnTo>
                      <a:lnTo>
                        <a:pt x="109109" y="13194"/>
                      </a:lnTo>
                      <a:lnTo>
                        <a:pt x="105420" y="9498"/>
                      </a:lnTo>
                      <a:lnTo>
                        <a:pt x="101731" y="9498"/>
                      </a:lnTo>
                      <a:lnTo>
                        <a:pt x="101731" y="5812"/>
                      </a:lnTo>
                      <a:lnTo>
                        <a:pt x="90663" y="5812"/>
                      </a:lnTo>
                      <a:lnTo>
                        <a:pt x="86974" y="5812"/>
                      </a:lnTo>
                      <a:lnTo>
                        <a:pt x="79595" y="5812"/>
                      </a:lnTo>
                      <a:close/>
                      <a:moveTo>
                        <a:pt x="415311" y="57475"/>
                      </a:moveTo>
                      <a:lnTo>
                        <a:pt x="411622" y="53789"/>
                      </a:lnTo>
                      <a:lnTo>
                        <a:pt x="407933" y="57475"/>
                      </a:lnTo>
                      <a:lnTo>
                        <a:pt x="415311" y="57475"/>
                      </a:lnTo>
                      <a:close/>
                      <a:moveTo>
                        <a:pt x="411622" y="53789"/>
                      </a:moveTo>
                      <a:lnTo>
                        <a:pt x="415311" y="53789"/>
                      </a:lnTo>
                      <a:lnTo>
                        <a:pt x="419000" y="53789"/>
                      </a:lnTo>
                      <a:lnTo>
                        <a:pt x="422690" y="53789"/>
                      </a:lnTo>
                      <a:lnTo>
                        <a:pt x="419000" y="50093"/>
                      </a:lnTo>
                      <a:lnTo>
                        <a:pt x="415311" y="50093"/>
                      </a:lnTo>
                      <a:lnTo>
                        <a:pt x="411622" y="50093"/>
                      </a:lnTo>
                      <a:lnTo>
                        <a:pt x="411622" y="53789"/>
                      </a:lnTo>
                      <a:close/>
                      <a:moveTo>
                        <a:pt x="419000" y="42711"/>
                      </a:moveTo>
                      <a:lnTo>
                        <a:pt x="422690" y="46407"/>
                      </a:lnTo>
                      <a:lnTo>
                        <a:pt x="419000" y="46407"/>
                      </a:lnTo>
                      <a:lnTo>
                        <a:pt x="419000" y="42711"/>
                      </a:lnTo>
                      <a:close/>
                      <a:moveTo>
                        <a:pt x="426379" y="42711"/>
                      </a:moveTo>
                      <a:lnTo>
                        <a:pt x="430068" y="42711"/>
                      </a:lnTo>
                      <a:lnTo>
                        <a:pt x="426379" y="46407"/>
                      </a:lnTo>
                      <a:lnTo>
                        <a:pt x="426379" y="42711"/>
                      </a:lnTo>
                      <a:close/>
                      <a:moveTo>
                        <a:pt x="400555" y="68553"/>
                      </a:moveTo>
                      <a:lnTo>
                        <a:pt x="404244" y="68553"/>
                      </a:lnTo>
                      <a:lnTo>
                        <a:pt x="404244" y="72239"/>
                      </a:lnTo>
                      <a:lnTo>
                        <a:pt x="400555" y="72239"/>
                      </a:lnTo>
                      <a:lnTo>
                        <a:pt x="400555" y="6855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87" name="Freeform: Shape 86">
                  <a:extLst>
                    <a:ext uri="{FF2B5EF4-FFF2-40B4-BE49-F238E27FC236}">
                      <a16:creationId xmlns:a16="http://schemas.microsoft.com/office/drawing/2014/main" id="{C2895E9C-CDF4-4F4A-B73C-55CD58290DA4}"/>
                    </a:ext>
                  </a:extLst>
                </p:cNvPr>
                <p:cNvSpPr/>
                <p:nvPr/>
              </p:nvSpPr>
              <p:spPr>
                <a:xfrm>
                  <a:off x="1420946" y="4678804"/>
                  <a:ext cx="21660" cy="43320"/>
                </a:xfrm>
                <a:custGeom>
                  <a:avLst/>
                  <a:gdLst>
                    <a:gd name="connsiteX0" fmla="*/ 9501 w 9525"/>
                    <a:gd name="connsiteY0" fmla="*/ 13184 h 19050"/>
                    <a:gd name="connsiteX1" fmla="*/ 9501 w 9525"/>
                    <a:gd name="connsiteY1" fmla="*/ 13184 h 19050"/>
                    <a:gd name="connsiteX2" fmla="*/ 5812 w 9525"/>
                    <a:gd name="connsiteY2" fmla="*/ 9498 h 19050"/>
                    <a:gd name="connsiteX3" fmla="*/ 5812 w 9525"/>
                    <a:gd name="connsiteY3" fmla="*/ 5812 h 19050"/>
                    <a:gd name="connsiteX4" fmla="*/ 5812 w 9525"/>
                    <a:gd name="connsiteY4" fmla="*/ 5812 h 19050"/>
                    <a:gd name="connsiteX5" fmla="*/ 9501 w 9525"/>
                    <a:gd name="connsiteY5" fmla="*/ 5812 h 19050"/>
                    <a:gd name="connsiteX6" fmla="*/ 13190 w 9525"/>
                    <a:gd name="connsiteY6" fmla="*/ 9498 h 19050"/>
                    <a:gd name="connsiteX7" fmla="*/ 13190 w 9525"/>
                    <a:gd name="connsiteY7" fmla="*/ 13184 h 19050"/>
                    <a:gd name="connsiteX8" fmla="*/ 9501 w 9525"/>
                    <a:gd name="connsiteY8" fmla="*/ 16879 h 19050"/>
                    <a:gd name="connsiteX9" fmla="*/ 9501 w 9525"/>
                    <a:gd name="connsiteY9" fmla="*/ 16879 h 19050"/>
                    <a:gd name="connsiteX10" fmla="*/ 9501 w 9525"/>
                    <a:gd name="connsiteY10" fmla="*/ 13184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19050">
                      <a:moveTo>
                        <a:pt x="9501" y="13184"/>
                      </a:moveTo>
                      <a:lnTo>
                        <a:pt x="9501" y="13184"/>
                      </a:lnTo>
                      <a:lnTo>
                        <a:pt x="5812" y="9498"/>
                      </a:lnTo>
                      <a:lnTo>
                        <a:pt x="5812" y="5812"/>
                      </a:lnTo>
                      <a:lnTo>
                        <a:pt x="5812" y="5812"/>
                      </a:lnTo>
                      <a:lnTo>
                        <a:pt x="9501" y="5812"/>
                      </a:lnTo>
                      <a:lnTo>
                        <a:pt x="13190" y="9498"/>
                      </a:lnTo>
                      <a:lnTo>
                        <a:pt x="13190" y="13184"/>
                      </a:lnTo>
                      <a:lnTo>
                        <a:pt x="9501" y="16879"/>
                      </a:lnTo>
                      <a:lnTo>
                        <a:pt x="9501" y="16879"/>
                      </a:lnTo>
                      <a:lnTo>
                        <a:pt x="9501" y="13184"/>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88" name="Freeform: Shape 87">
                  <a:extLst>
                    <a:ext uri="{FF2B5EF4-FFF2-40B4-BE49-F238E27FC236}">
                      <a16:creationId xmlns:a16="http://schemas.microsoft.com/office/drawing/2014/main" id="{3778C2A9-0A11-450B-81DF-6BD775D472E0}"/>
                    </a:ext>
                  </a:extLst>
                </p:cNvPr>
                <p:cNvSpPr/>
                <p:nvPr/>
              </p:nvSpPr>
              <p:spPr>
                <a:xfrm>
                  <a:off x="1412557" y="4502559"/>
                  <a:ext cx="86640" cy="108300"/>
                </a:xfrm>
                <a:custGeom>
                  <a:avLst/>
                  <a:gdLst>
                    <a:gd name="connsiteX0" fmla="*/ 31636 w 38100"/>
                    <a:gd name="connsiteY0" fmla="*/ 5812 h 47625"/>
                    <a:gd name="connsiteX1" fmla="*/ 31636 w 38100"/>
                    <a:gd name="connsiteY1" fmla="*/ 5812 h 47625"/>
                    <a:gd name="connsiteX2" fmla="*/ 31636 w 38100"/>
                    <a:gd name="connsiteY2" fmla="*/ 5812 h 47625"/>
                    <a:gd name="connsiteX3" fmla="*/ 27947 w 38100"/>
                    <a:gd name="connsiteY3" fmla="*/ 9498 h 47625"/>
                    <a:gd name="connsiteX4" fmla="*/ 27947 w 38100"/>
                    <a:gd name="connsiteY4" fmla="*/ 16880 h 47625"/>
                    <a:gd name="connsiteX5" fmla="*/ 27947 w 38100"/>
                    <a:gd name="connsiteY5" fmla="*/ 20575 h 47625"/>
                    <a:gd name="connsiteX6" fmla="*/ 27947 w 38100"/>
                    <a:gd name="connsiteY6" fmla="*/ 20575 h 47625"/>
                    <a:gd name="connsiteX7" fmla="*/ 31636 w 38100"/>
                    <a:gd name="connsiteY7" fmla="*/ 24261 h 47625"/>
                    <a:gd name="connsiteX8" fmla="*/ 35325 w 38100"/>
                    <a:gd name="connsiteY8" fmla="*/ 20575 h 47625"/>
                    <a:gd name="connsiteX9" fmla="*/ 31636 w 38100"/>
                    <a:gd name="connsiteY9" fmla="*/ 16880 h 47625"/>
                    <a:gd name="connsiteX10" fmla="*/ 31636 w 38100"/>
                    <a:gd name="connsiteY10" fmla="*/ 16880 h 47625"/>
                    <a:gd name="connsiteX11" fmla="*/ 35325 w 38100"/>
                    <a:gd name="connsiteY11" fmla="*/ 20575 h 47625"/>
                    <a:gd name="connsiteX12" fmla="*/ 31636 w 38100"/>
                    <a:gd name="connsiteY12" fmla="*/ 24261 h 47625"/>
                    <a:gd name="connsiteX13" fmla="*/ 31636 w 38100"/>
                    <a:gd name="connsiteY13" fmla="*/ 24261 h 47625"/>
                    <a:gd name="connsiteX14" fmla="*/ 24257 w 38100"/>
                    <a:gd name="connsiteY14" fmla="*/ 20575 h 47625"/>
                    <a:gd name="connsiteX15" fmla="*/ 24257 w 38100"/>
                    <a:gd name="connsiteY15" fmla="*/ 24261 h 47625"/>
                    <a:gd name="connsiteX16" fmla="*/ 24257 w 38100"/>
                    <a:gd name="connsiteY16" fmla="*/ 27957 h 47625"/>
                    <a:gd name="connsiteX17" fmla="*/ 24257 w 38100"/>
                    <a:gd name="connsiteY17" fmla="*/ 27957 h 47625"/>
                    <a:gd name="connsiteX18" fmla="*/ 24257 w 38100"/>
                    <a:gd name="connsiteY18" fmla="*/ 27957 h 47625"/>
                    <a:gd name="connsiteX19" fmla="*/ 20568 w 38100"/>
                    <a:gd name="connsiteY19" fmla="*/ 24261 h 47625"/>
                    <a:gd name="connsiteX20" fmla="*/ 20568 w 38100"/>
                    <a:gd name="connsiteY20" fmla="*/ 24261 h 47625"/>
                    <a:gd name="connsiteX21" fmla="*/ 20568 w 38100"/>
                    <a:gd name="connsiteY21" fmla="*/ 24261 h 47625"/>
                    <a:gd name="connsiteX22" fmla="*/ 16879 w 38100"/>
                    <a:gd name="connsiteY22" fmla="*/ 27957 h 47625"/>
                    <a:gd name="connsiteX23" fmla="*/ 16879 w 38100"/>
                    <a:gd name="connsiteY23" fmla="*/ 27957 h 47625"/>
                    <a:gd name="connsiteX24" fmla="*/ 20568 w 38100"/>
                    <a:gd name="connsiteY24" fmla="*/ 27957 h 47625"/>
                    <a:gd name="connsiteX25" fmla="*/ 20568 w 38100"/>
                    <a:gd name="connsiteY25" fmla="*/ 31643 h 47625"/>
                    <a:gd name="connsiteX26" fmla="*/ 16879 w 38100"/>
                    <a:gd name="connsiteY26" fmla="*/ 31643 h 47625"/>
                    <a:gd name="connsiteX27" fmla="*/ 16879 w 38100"/>
                    <a:gd name="connsiteY27" fmla="*/ 27957 h 47625"/>
                    <a:gd name="connsiteX28" fmla="*/ 13190 w 38100"/>
                    <a:gd name="connsiteY28" fmla="*/ 31643 h 47625"/>
                    <a:gd name="connsiteX29" fmla="*/ 13190 w 38100"/>
                    <a:gd name="connsiteY29" fmla="*/ 31643 h 47625"/>
                    <a:gd name="connsiteX30" fmla="*/ 13190 w 38100"/>
                    <a:gd name="connsiteY30" fmla="*/ 35339 h 47625"/>
                    <a:gd name="connsiteX31" fmla="*/ 13190 w 38100"/>
                    <a:gd name="connsiteY31" fmla="*/ 42711 h 47625"/>
                    <a:gd name="connsiteX32" fmla="*/ 9501 w 38100"/>
                    <a:gd name="connsiteY32" fmla="*/ 42711 h 47625"/>
                    <a:gd name="connsiteX33" fmla="*/ 9501 w 38100"/>
                    <a:gd name="connsiteY33" fmla="*/ 42711 h 47625"/>
                    <a:gd name="connsiteX34" fmla="*/ 13190 w 38100"/>
                    <a:gd name="connsiteY34" fmla="*/ 35339 h 47625"/>
                    <a:gd name="connsiteX35" fmla="*/ 13190 w 38100"/>
                    <a:gd name="connsiteY35" fmla="*/ 31643 h 47625"/>
                    <a:gd name="connsiteX36" fmla="*/ 9501 w 38100"/>
                    <a:gd name="connsiteY36" fmla="*/ 27957 h 47625"/>
                    <a:gd name="connsiteX37" fmla="*/ 9501 w 38100"/>
                    <a:gd name="connsiteY37" fmla="*/ 27957 h 47625"/>
                    <a:gd name="connsiteX38" fmla="*/ 5812 w 38100"/>
                    <a:gd name="connsiteY38" fmla="*/ 27957 h 47625"/>
                    <a:gd name="connsiteX39" fmla="*/ 5812 w 38100"/>
                    <a:gd name="connsiteY39" fmla="*/ 27957 h 47625"/>
                    <a:gd name="connsiteX40" fmla="*/ 5812 w 38100"/>
                    <a:gd name="connsiteY40" fmla="*/ 27957 h 47625"/>
                    <a:gd name="connsiteX41" fmla="*/ 5812 w 38100"/>
                    <a:gd name="connsiteY41" fmla="*/ 27957 h 47625"/>
                    <a:gd name="connsiteX42" fmla="*/ 9501 w 38100"/>
                    <a:gd name="connsiteY42" fmla="*/ 27957 h 47625"/>
                    <a:gd name="connsiteX43" fmla="*/ 13190 w 38100"/>
                    <a:gd name="connsiteY43" fmla="*/ 20575 h 47625"/>
                    <a:gd name="connsiteX44" fmla="*/ 20568 w 38100"/>
                    <a:gd name="connsiteY44" fmla="*/ 16880 h 47625"/>
                    <a:gd name="connsiteX45" fmla="*/ 20568 w 38100"/>
                    <a:gd name="connsiteY45" fmla="*/ 13194 h 47625"/>
                    <a:gd name="connsiteX46" fmla="*/ 20568 w 38100"/>
                    <a:gd name="connsiteY46" fmla="*/ 13194 h 47625"/>
                    <a:gd name="connsiteX47" fmla="*/ 20568 w 38100"/>
                    <a:gd name="connsiteY47" fmla="*/ 9498 h 47625"/>
                    <a:gd name="connsiteX48" fmla="*/ 20568 w 38100"/>
                    <a:gd name="connsiteY48" fmla="*/ 9498 h 47625"/>
                    <a:gd name="connsiteX49" fmla="*/ 20568 w 38100"/>
                    <a:gd name="connsiteY49" fmla="*/ 9498 h 47625"/>
                    <a:gd name="connsiteX50" fmla="*/ 20568 w 38100"/>
                    <a:gd name="connsiteY50" fmla="*/ 13194 h 47625"/>
                    <a:gd name="connsiteX51" fmla="*/ 20568 w 38100"/>
                    <a:gd name="connsiteY51" fmla="*/ 13194 h 47625"/>
                    <a:gd name="connsiteX52" fmla="*/ 20568 w 38100"/>
                    <a:gd name="connsiteY52" fmla="*/ 13194 h 47625"/>
                    <a:gd name="connsiteX53" fmla="*/ 24257 w 38100"/>
                    <a:gd name="connsiteY53" fmla="*/ 13194 h 47625"/>
                    <a:gd name="connsiteX54" fmla="*/ 24257 w 38100"/>
                    <a:gd name="connsiteY54" fmla="*/ 13194 h 47625"/>
                    <a:gd name="connsiteX55" fmla="*/ 24257 w 38100"/>
                    <a:gd name="connsiteY55" fmla="*/ 13194 h 47625"/>
                    <a:gd name="connsiteX56" fmla="*/ 24257 w 38100"/>
                    <a:gd name="connsiteY56" fmla="*/ 13194 h 47625"/>
                    <a:gd name="connsiteX57" fmla="*/ 27947 w 38100"/>
                    <a:gd name="connsiteY57" fmla="*/ 13194 h 47625"/>
                    <a:gd name="connsiteX58" fmla="*/ 27947 w 38100"/>
                    <a:gd name="connsiteY58" fmla="*/ 9498 h 47625"/>
                    <a:gd name="connsiteX59" fmla="*/ 31636 w 38100"/>
                    <a:gd name="connsiteY59" fmla="*/ 5812 h 47625"/>
                    <a:gd name="connsiteX60" fmla="*/ 31636 w 38100"/>
                    <a:gd name="connsiteY60" fmla="*/ 5812 h 47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38100" h="47625">
                      <a:moveTo>
                        <a:pt x="31636" y="5812"/>
                      </a:moveTo>
                      <a:lnTo>
                        <a:pt x="31636" y="5812"/>
                      </a:lnTo>
                      <a:lnTo>
                        <a:pt x="31636" y="5812"/>
                      </a:lnTo>
                      <a:lnTo>
                        <a:pt x="27947" y="9498"/>
                      </a:lnTo>
                      <a:lnTo>
                        <a:pt x="27947" y="16880"/>
                      </a:lnTo>
                      <a:lnTo>
                        <a:pt x="27947" y="20575"/>
                      </a:lnTo>
                      <a:lnTo>
                        <a:pt x="27947" y="20575"/>
                      </a:lnTo>
                      <a:lnTo>
                        <a:pt x="31636" y="24261"/>
                      </a:lnTo>
                      <a:lnTo>
                        <a:pt x="35325" y="20575"/>
                      </a:lnTo>
                      <a:lnTo>
                        <a:pt x="31636" y="16880"/>
                      </a:lnTo>
                      <a:lnTo>
                        <a:pt x="31636" y="16880"/>
                      </a:lnTo>
                      <a:lnTo>
                        <a:pt x="35325" y="20575"/>
                      </a:lnTo>
                      <a:lnTo>
                        <a:pt x="31636" y="24261"/>
                      </a:lnTo>
                      <a:lnTo>
                        <a:pt x="31636" y="24261"/>
                      </a:lnTo>
                      <a:lnTo>
                        <a:pt x="24257" y="20575"/>
                      </a:lnTo>
                      <a:lnTo>
                        <a:pt x="24257" y="24261"/>
                      </a:lnTo>
                      <a:lnTo>
                        <a:pt x="24257" y="27957"/>
                      </a:lnTo>
                      <a:lnTo>
                        <a:pt x="24257" y="27957"/>
                      </a:lnTo>
                      <a:lnTo>
                        <a:pt x="24257" y="27957"/>
                      </a:lnTo>
                      <a:lnTo>
                        <a:pt x="20568" y="24261"/>
                      </a:lnTo>
                      <a:lnTo>
                        <a:pt x="20568" y="24261"/>
                      </a:lnTo>
                      <a:lnTo>
                        <a:pt x="20568" y="24261"/>
                      </a:lnTo>
                      <a:lnTo>
                        <a:pt x="16879" y="27957"/>
                      </a:lnTo>
                      <a:lnTo>
                        <a:pt x="16879" y="27957"/>
                      </a:lnTo>
                      <a:lnTo>
                        <a:pt x="20568" y="27957"/>
                      </a:lnTo>
                      <a:lnTo>
                        <a:pt x="20568" y="31643"/>
                      </a:lnTo>
                      <a:lnTo>
                        <a:pt x="16879" y="31643"/>
                      </a:lnTo>
                      <a:lnTo>
                        <a:pt x="16879" y="27957"/>
                      </a:lnTo>
                      <a:lnTo>
                        <a:pt x="13190" y="31643"/>
                      </a:lnTo>
                      <a:lnTo>
                        <a:pt x="13190" y="31643"/>
                      </a:lnTo>
                      <a:lnTo>
                        <a:pt x="13190" y="35339"/>
                      </a:lnTo>
                      <a:lnTo>
                        <a:pt x="13190" y="42711"/>
                      </a:lnTo>
                      <a:lnTo>
                        <a:pt x="9501" y="42711"/>
                      </a:lnTo>
                      <a:lnTo>
                        <a:pt x="9501" y="42711"/>
                      </a:lnTo>
                      <a:lnTo>
                        <a:pt x="13190" y="35339"/>
                      </a:lnTo>
                      <a:lnTo>
                        <a:pt x="13190" y="31643"/>
                      </a:lnTo>
                      <a:lnTo>
                        <a:pt x="9501" y="27957"/>
                      </a:lnTo>
                      <a:lnTo>
                        <a:pt x="9501" y="27957"/>
                      </a:lnTo>
                      <a:lnTo>
                        <a:pt x="5812" y="27957"/>
                      </a:lnTo>
                      <a:lnTo>
                        <a:pt x="5812" y="27957"/>
                      </a:lnTo>
                      <a:lnTo>
                        <a:pt x="5812" y="27957"/>
                      </a:lnTo>
                      <a:lnTo>
                        <a:pt x="5812" y="27957"/>
                      </a:lnTo>
                      <a:lnTo>
                        <a:pt x="9501" y="27957"/>
                      </a:lnTo>
                      <a:lnTo>
                        <a:pt x="13190" y="20575"/>
                      </a:lnTo>
                      <a:lnTo>
                        <a:pt x="20568" y="16880"/>
                      </a:lnTo>
                      <a:lnTo>
                        <a:pt x="20568" y="13194"/>
                      </a:lnTo>
                      <a:lnTo>
                        <a:pt x="20568" y="13194"/>
                      </a:lnTo>
                      <a:lnTo>
                        <a:pt x="20568" y="9498"/>
                      </a:lnTo>
                      <a:lnTo>
                        <a:pt x="20568" y="9498"/>
                      </a:lnTo>
                      <a:lnTo>
                        <a:pt x="20568" y="9498"/>
                      </a:lnTo>
                      <a:lnTo>
                        <a:pt x="20568" y="13194"/>
                      </a:lnTo>
                      <a:lnTo>
                        <a:pt x="20568" y="13194"/>
                      </a:lnTo>
                      <a:lnTo>
                        <a:pt x="20568" y="13194"/>
                      </a:lnTo>
                      <a:lnTo>
                        <a:pt x="24257" y="13194"/>
                      </a:lnTo>
                      <a:lnTo>
                        <a:pt x="24257" y="13194"/>
                      </a:lnTo>
                      <a:lnTo>
                        <a:pt x="24257" y="13194"/>
                      </a:lnTo>
                      <a:lnTo>
                        <a:pt x="24257" y="13194"/>
                      </a:lnTo>
                      <a:lnTo>
                        <a:pt x="27947" y="13194"/>
                      </a:lnTo>
                      <a:lnTo>
                        <a:pt x="27947" y="9498"/>
                      </a:lnTo>
                      <a:lnTo>
                        <a:pt x="31636" y="5812"/>
                      </a:lnTo>
                      <a:lnTo>
                        <a:pt x="31636"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89" name="Freeform: Shape 88">
                  <a:extLst>
                    <a:ext uri="{FF2B5EF4-FFF2-40B4-BE49-F238E27FC236}">
                      <a16:creationId xmlns:a16="http://schemas.microsoft.com/office/drawing/2014/main" id="{ACD2B84D-B41E-4BBF-81C0-900AD5E57D60}"/>
                    </a:ext>
                  </a:extLst>
                </p:cNvPr>
                <p:cNvSpPr/>
                <p:nvPr/>
              </p:nvSpPr>
              <p:spPr>
                <a:xfrm>
                  <a:off x="1412557" y="4846647"/>
                  <a:ext cx="43320" cy="64980"/>
                </a:xfrm>
                <a:custGeom>
                  <a:avLst/>
                  <a:gdLst>
                    <a:gd name="connsiteX0" fmla="*/ 20568 w 19050"/>
                    <a:gd name="connsiteY0" fmla="*/ 24261 h 28575"/>
                    <a:gd name="connsiteX1" fmla="*/ 9501 w 19050"/>
                    <a:gd name="connsiteY1" fmla="*/ 16880 h 28575"/>
                    <a:gd name="connsiteX2" fmla="*/ 5812 w 19050"/>
                    <a:gd name="connsiteY2" fmla="*/ 13193 h 28575"/>
                    <a:gd name="connsiteX3" fmla="*/ 5812 w 19050"/>
                    <a:gd name="connsiteY3" fmla="*/ 13193 h 28575"/>
                    <a:gd name="connsiteX4" fmla="*/ 9501 w 19050"/>
                    <a:gd name="connsiteY4" fmla="*/ 5812 h 28575"/>
                    <a:gd name="connsiteX5" fmla="*/ 13190 w 19050"/>
                    <a:gd name="connsiteY5" fmla="*/ 9498 h 28575"/>
                    <a:gd name="connsiteX6" fmla="*/ 20568 w 19050"/>
                    <a:gd name="connsiteY6" fmla="*/ 13193 h 28575"/>
                    <a:gd name="connsiteX7" fmla="*/ 16879 w 19050"/>
                    <a:gd name="connsiteY7" fmla="*/ 16880 h 28575"/>
                    <a:gd name="connsiteX8" fmla="*/ 16879 w 19050"/>
                    <a:gd name="connsiteY8" fmla="*/ 20575 h 28575"/>
                    <a:gd name="connsiteX9" fmla="*/ 20568 w 19050"/>
                    <a:gd name="connsiteY9" fmla="*/ 2426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9050" h="28575">
                      <a:moveTo>
                        <a:pt x="20568" y="24261"/>
                      </a:moveTo>
                      <a:lnTo>
                        <a:pt x="9501" y="16880"/>
                      </a:lnTo>
                      <a:lnTo>
                        <a:pt x="5812" y="13193"/>
                      </a:lnTo>
                      <a:lnTo>
                        <a:pt x="5812" y="13193"/>
                      </a:lnTo>
                      <a:lnTo>
                        <a:pt x="9501" y="5812"/>
                      </a:lnTo>
                      <a:lnTo>
                        <a:pt x="13190" y="9498"/>
                      </a:lnTo>
                      <a:lnTo>
                        <a:pt x="20568" y="13193"/>
                      </a:lnTo>
                      <a:lnTo>
                        <a:pt x="16879" y="16880"/>
                      </a:lnTo>
                      <a:lnTo>
                        <a:pt x="16879" y="20575"/>
                      </a:lnTo>
                      <a:lnTo>
                        <a:pt x="20568" y="24261"/>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0" name="Freeform: Shape 89">
                  <a:extLst>
                    <a:ext uri="{FF2B5EF4-FFF2-40B4-BE49-F238E27FC236}">
                      <a16:creationId xmlns:a16="http://schemas.microsoft.com/office/drawing/2014/main" id="{6FEB66F1-30F3-459F-A69E-84AA6D712AC1}"/>
                    </a:ext>
                  </a:extLst>
                </p:cNvPr>
                <p:cNvSpPr/>
                <p:nvPr/>
              </p:nvSpPr>
              <p:spPr>
                <a:xfrm>
                  <a:off x="1429335" y="4838242"/>
                  <a:ext cx="43320" cy="21660"/>
                </a:xfrm>
                <a:custGeom>
                  <a:avLst/>
                  <a:gdLst>
                    <a:gd name="connsiteX0" fmla="*/ 16879 w 19050"/>
                    <a:gd name="connsiteY0" fmla="*/ 13193 h 9525"/>
                    <a:gd name="connsiteX1" fmla="*/ 13190 w 19050"/>
                    <a:gd name="connsiteY1" fmla="*/ 13193 h 9525"/>
                    <a:gd name="connsiteX2" fmla="*/ 5812 w 19050"/>
                    <a:gd name="connsiteY2" fmla="*/ 9507 h 9525"/>
                    <a:gd name="connsiteX3" fmla="*/ 5812 w 19050"/>
                    <a:gd name="connsiteY3" fmla="*/ 9507 h 9525"/>
                    <a:gd name="connsiteX4" fmla="*/ 13190 w 19050"/>
                    <a:gd name="connsiteY4" fmla="*/ 5812 h 9525"/>
                    <a:gd name="connsiteX5" fmla="*/ 16879 w 19050"/>
                    <a:gd name="connsiteY5" fmla="*/ 5812 h 9525"/>
                    <a:gd name="connsiteX6" fmla="*/ 16879 w 19050"/>
                    <a:gd name="connsiteY6" fmla="*/ 5812 h 9525"/>
                    <a:gd name="connsiteX7" fmla="*/ 16879 w 19050"/>
                    <a:gd name="connsiteY7" fmla="*/ 13193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50" h="9525">
                      <a:moveTo>
                        <a:pt x="16879" y="13193"/>
                      </a:moveTo>
                      <a:lnTo>
                        <a:pt x="13190" y="13193"/>
                      </a:lnTo>
                      <a:lnTo>
                        <a:pt x="5812" y="9507"/>
                      </a:lnTo>
                      <a:lnTo>
                        <a:pt x="5812" y="9507"/>
                      </a:lnTo>
                      <a:lnTo>
                        <a:pt x="13190" y="5812"/>
                      </a:lnTo>
                      <a:lnTo>
                        <a:pt x="16879" y="5812"/>
                      </a:lnTo>
                      <a:lnTo>
                        <a:pt x="16879" y="5812"/>
                      </a:lnTo>
                      <a:lnTo>
                        <a:pt x="16879" y="13193"/>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1" name="Freeform: Shape 90">
                  <a:extLst>
                    <a:ext uri="{FF2B5EF4-FFF2-40B4-BE49-F238E27FC236}">
                      <a16:creationId xmlns:a16="http://schemas.microsoft.com/office/drawing/2014/main" id="{D5D3A16D-4A44-4477-84CD-C79D80D9F158}"/>
                    </a:ext>
                  </a:extLst>
                </p:cNvPr>
                <p:cNvSpPr/>
                <p:nvPr/>
              </p:nvSpPr>
              <p:spPr>
                <a:xfrm>
                  <a:off x="1689403" y="4343098"/>
                  <a:ext cx="43320" cy="21660"/>
                </a:xfrm>
                <a:custGeom>
                  <a:avLst/>
                  <a:gdLst>
                    <a:gd name="connsiteX0" fmla="*/ 5812 w 19050"/>
                    <a:gd name="connsiteY0" fmla="*/ 9507 h 9525"/>
                    <a:gd name="connsiteX1" fmla="*/ 5812 w 19050"/>
                    <a:gd name="connsiteY1" fmla="*/ 9507 h 9525"/>
                    <a:gd name="connsiteX2" fmla="*/ 5812 w 19050"/>
                    <a:gd name="connsiteY2" fmla="*/ 9507 h 9525"/>
                    <a:gd name="connsiteX3" fmla="*/ 5812 w 19050"/>
                    <a:gd name="connsiteY3" fmla="*/ 5812 h 9525"/>
                    <a:gd name="connsiteX4" fmla="*/ 9501 w 19050"/>
                    <a:gd name="connsiteY4" fmla="*/ 5812 h 9525"/>
                    <a:gd name="connsiteX5" fmla="*/ 16879 w 19050"/>
                    <a:gd name="connsiteY5" fmla="*/ 9507 h 9525"/>
                    <a:gd name="connsiteX6" fmla="*/ 13190 w 19050"/>
                    <a:gd name="connsiteY6" fmla="*/ 9507 h 9525"/>
                    <a:gd name="connsiteX7" fmla="*/ 5812 w 19050"/>
                    <a:gd name="connsiteY7" fmla="*/ 9507 h 9525"/>
                    <a:gd name="connsiteX8" fmla="*/ 5812 w 19050"/>
                    <a:gd name="connsiteY8"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5812" y="9507"/>
                      </a:moveTo>
                      <a:lnTo>
                        <a:pt x="5812" y="9507"/>
                      </a:lnTo>
                      <a:lnTo>
                        <a:pt x="5812" y="9507"/>
                      </a:lnTo>
                      <a:lnTo>
                        <a:pt x="5812" y="5812"/>
                      </a:lnTo>
                      <a:lnTo>
                        <a:pt x="9501" y="5812"/>
                      </a:lnTo>
                      <a:lnTo>
                        <a:pt x="16879" y="9507"/>
                      </a:lnTo>
                      <a:lnTo>
                        <a:pt x="13190" y="9507"/>
                      </a:lnTo>
                      <a:lnTo>
                        <a:pt x="5812" y="9507"/>
                      </a:lnTo>
                      <a:lnTo>
                        <a:pt x="5812" y="9507"/>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2" name="Freeform: Shape 91">
                  <a:extLst>
                    <a:ext uri="{FF2B5EF4-FFF2-40B4-BE49-F238E27FC236}">
                      <a16:creationId xmlns:a16="http://schemas.microsoft.com/office/drawing/2014/main" id="{8D7009D8-7925-47F9-B702-EB253B89F3DD}"/>
                    </a:ext>
                  </a:extLst>
                </p:cNvPr>
                <p:cNvSpPr/>
                <p:nvPr/>
              </p:nvSpPr>
              <p:spPr>
                <a:xfrm>
                  <a:off x="1941080" y="4494154"/>
                  <a:ext cx="64980" cy="64980"/>
                </a:xfrm>
                <a:custGeom>
                  <a:avLst/>
                  <a:gdLst>
                    <a:gd name="connsiteX0" fmla="*/ 31636 w 28575"/>
                    <a:gd name="connsiteY0" fmla="*/ 24271 h 28575"/>
                    <a:gd name="connsiteX1" fmla="*/ 31636 w 28575"/>
                    <a:gd name="connsiteY1" fmla="*/ 20575 h 28575"/>
                    <a:gd name="connsiteX2" fmla="*/ 27947 w 28575"/>
                    <a:gd name="connsiteY2" fmla="*/ 16889 h 28575"/>
                    <a:gd name="connsiteX3" fmla="*/ 24257 w 28575"/>
                    <a:gd name="connsiteY3" fmla="*/ 13194 h 28575"/>
                    <a:gd name="connsiteX4" fmla="*/ 24257 w 28575"/>
                    <a:gd name="connsiteY4" fmla="*/ 16889 h 28575"/>
                    <a:gd name="connsiteX5" fmla="*/ 20568 w 28575"/>
                    <a:gd name="connsiteY5" fmla="*/ 16889 h 28575"/>
                    <a:gd name="connsiteX6" fmla="*/ 13190 w 28575"/>
                    <a:gd name="connsiteY6" fmla="*/ 9507 h 28575"/>
                    <a:gd name="connsiteX7" fmla="*/ 16879 w 28575"/>
                    <a:gd name="connsiteY7" fmla="*/ 5812 h 28575"/>
                    <a:gd name="connsiteX8" fmla="*/ 16879 w 28575"/>
                    <a:gd name="connsiteY8" fmla="*/ 5812 h 28575"/>
                    <a:gd name="connsiteX9" fmla="*/ 13190 w 28575"/>
                    <a:gd name="connsiteY9" fmla="*/ 5812 h 28575"/>
                    <a:gd name="connsiteX10" fmla="*/ 13190 w 28575"/>
                    <a:gd name="connsiteY10" fmla="*/ 9507 h 28575"/>
                    <a:gd name="connsiteX11" fmla="*/ 5812 w 28575"/>
                    <a:gd name="connsiteY11" fmla="*/ 9507 h 28575"/>
                    <a:gd name="connsiteX12" fmla="*/ 5812 w 28575"/>
                    <a:gd name="connsiteY12" fmla="*/ 5812 h 28575"/>
                    <a:gd name="connsiteX13" fmla="*/ 13190 w 28575"/>
                    <a:gd name="connsiteY13" fmla="*/ 5812 h 28575"/>
                    <a:gd name="connsiteX14" fmla="*/ 13190 w 28575"/>
                    <a:gd name="connsiteY14" fmla="*/ 5812 h 28575"/>
                    <a:gd name="connsiteX15" fmla="*/ 24257 w 28575"/>
                    <a:gd name="connsiteY15" fmla="*/ 5812 h 28575"/>
                    <a:gd name="connsiteX16" fmla="*/ 27947 w 28575"/>
                    <a:gd name="connsiteY16" fmla="*/ 5812 h 28575"/>
                    <a:gd name="connsiteX17" fmla="*/ 27947 w 28575"/>
                    <a:gd name="connsiteY17" fmla="*/ 5812 h 28575"/>
                    <a:gd name="connsiteX18" fmla="*/ 24257 w 28575"/>
                    <a:gd name="connsiteY18" fmla="*/ 5812 h 28575"/>
                    <a:gd name="connsiteX19" fmla="*/ 24257 w 28575"/>
                    <a:gd name="connsiteY19" fmla="*/ 5812 h 28575"/>
                    <a:gd name="connsiteX20" fmla="*/ 20568 w 28575"/>
                    <a:gd name="connsiteY20" fmla="*/ 5812 h 28575"/>
                    <a:gd name="connsiteX21" fmla="*/ 20568 w 28575"/>
                    <a:gd name="connsiteY21" fmla="*/ 5812 h 28575"/>
                    <a:gd name="connsiteX22" fmla="*/ 20568 w 28575"/>
                    <a:gd name="connsiteY22" fmla="*/ 9507 h 28575"/>
                    <a:gd name="connsiteX23" fmla="*/ 20568 w 28575"/>
                    <a:gd name="connsiteY23" fmla="*/ 9507 h 28575"/>
                    <a:gd name="connsiteX24" fmla="*/ 27947 w 28575"/>
                    <a:gd name="connsiteY24" fmla="*/ 9507 h 28575"/>
                    <a:gd name="connsiteX25" fmla="*/ 27947 w 28575"/>
                    <a:gd name="connsiteY25" fmla="*/ 13194 h 28575"/>
                    <a:gd name="connsiteX26" fmla="*/ 31636 w 28575"/>
                    <a:gd name="connsiteY26" fmla="*/ 16889 h 28575"/>
                    <a:gd name="connsiteX27" fmla="*/ 31636 w 28575"/>
                    <a:gd name="connsiteY27" fmla="*/ 20575 h 28575"/>
                    <a:gd name="connsiteX28" fmla="*/ 31636 w 28575"/>
                    <a:gd name="connsiteY28" fmla="*/ 24271 h 28575"/>
                    <a:gd name="connsiteX29" fmla="*/ 31636 w 28575"/>
                    <a:gd name="connsiteY29" fmla="*/ 24271 h 28575"/>
                    <a:gd name="connsiteX30" fmla="*/ 31636 w 28575"/>
                    <a:gd name="connsiteY30" fmla="*/ 24271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8575" h="28575">
                      <a:moveTo>
                        <a:pt x="31636" y="24271"/>
                      </a:moveTo>
                      <a:lnTo>
                        <a:pt x="31636" y="20575"/>
                      </a:lnTo>
                      <a:lnTo>
                        <a:pt x="27947" y="16889"/>
                      </a:lnTo>
                      <a:lnTo>
                        <a:pt x="24257" y="13194"/>
                      </a:lnTo>
                      <a:lnTo>
                        <a:pt x="24257" y="16889"/>
                      </a:lnTo>
                      <a:lnTo>
                        <a:pt x="20568" y="16889"/>
                      </a:lnTo>
                      <a:lnTo>
                        <a:pt x="13190" y="9507"/>
                      </a:lnTo>
                      <a:lnTo>
                        <a:pt x="16879" y="5812"/>
                      </a:lnTo>
                      <a:lnTo>
                        <a:pt x="16879" y="5812"/>
                      </a:lnTo>
                      <a:lnTo>
                        <a:pt x="13190" y="5812"/>
                      </a:lnTo>
                      <a:lnTo>
                        <a:pt x="13190" y="9507"/>
                      </a:lnTo>
                      <a:lnTo>
                        <a:pt x="5812" y="9507"/>
                      </a:lnTo>
                      <a:lnTo>
                        <a:pt x="5812" y="5812"/>
                      </a:lnTo>
                      <a:lnTo>
                        <a:pt x="13190" y="5812"/>
                      </a:lnTo>
                      <a:lnTo>
                        <a:pt x="13190" y="5812"/>
                      </a:lnTo>
                      <a:lnTo>
                        <a:pt x="24257" y="5812"/>
                      </a:lnTo>
                      <a:lnTo>
                        <a:pt x="27947" y="5812"/>
                      </a:lnTo>
                      <a:lnTo>
                        <a:pt x="27947" y="5812"/>
                      </a:lnTo>
                      <a:lnTo>
                        <a:pt x="24257" y="5812"/>
                      </a:lnTo>
                      <a:lnTo>
                        <a:pt x="24257" y="5812"/>
                      </a:lnTo>
                      <a:lnTo>
                        <a:pt x="20568" y="5812"/>
                      </a:lnTo>
                      <a:lnTo>
                        <a:pt x="20568" y="5812"/>
                      </a:lnTo>
                      <a:lnTo>
                        <a:pt x="20568" y="9507"/>
                      </a:lnTo>
                      <a:lnTo>
                        <a:pt x="20568" y="9507"/>
                      </a:lnTo>
                      <a:lnTo>
                        <a:pt x="27947" y="9507"/>
                      </a:lnTo>
                      <a:lnTo>
                        <a:pt x="27947" y="13194"/>
                      </a:lnTo>
                      <a:lnTo>
                        <a:pt x="31636" y="16889"/>
                      </a:lnTo>
                      <a:lnTo>
                        <a:pt x="31636" y="20575"/>
                      </a:lnTo>
                      <a:lnTo>
                        <a:pt x="31636" y="24271"/>
                      </a:lnTo>
                      <a:lnTo>
                        <a:pt x="31636" y="24271"/>
                      </a:lnTo>
                      <a:lnTo>
                        <a:pt x="31636" y="24271"/>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3" name="Freeform: Shape 92">
                  <a:extLst>
                    <a:ext uri="{FF2B5EF4-FFF2-40B4-BE49-F238E27FC236}">
                      <a16:creationId xmlns:a16="http://schemas.microsoft.com/office/drawing/2014/main" id="{3E801F5E-6B67-4B56-A956-6101FC7B90F5}"/>
                    </a:ext>
                  </a:extLst>
                </p:cNvPr>
                <p:cNvSpPr/>
                <p:nvPr/>
              </p:nvSpPr>
              <p:spPr>
                <a:xfrm>
                  <a:off x="1622288" y="4695568"/>
                  <a:ext cx="21660" cy="21660"/>
                </a:xfrm>
                <a:custGeom>
                  <a:avLst/>
                  <a:gdLst>
                    <a:gd name="connsiteX0" fmla="*/ 9501 w 9525"/>
                    <a:gd name="connsiteY0" fmla="*/ 9507 h 9525"/>
                    <a:gd name="connsiteX1" fmla="*/ 9501 w 9525"/>
                    <a:gd name="connsiteY1" fmla="*/ 5812 h 9525"/>
                    <a:gd name="connsiteX2" fmla="*/ 5812 w 9525"/>
                    <a:gd name="connsiteY2" fmla="*/ 5812 h 9525"/>
                    <a:gd name="connsiteX3" fmla="*/ 9501 w 9525"/>
                    <a:gd name="connsiteY3" fmla="*/ 5812 h 9525"/>
                    <a:gd name="connsiteX4" fmla="*/ 9501 w 9525"/>
                    <a:gd name="connsiteY4" fmla="*/ 5812 h 9525"/>
                    <a:gd name="connsiteX5" fmla="*/ 9501 w 9525"/>
                    <a:gd name="connsiteY5" fmla="*/ 9507 h 9525"/>
                    <a:gd name="connsiteX6" fmla="*/ 9501 w 9525"/>
                    <a:gd name="connsiteY6" fmla="*/ 9507 h 9525"/>
                    <a:gd name="connsiteX7" fmla="*/ 9501 w 9525"/>
                    <a:gd name="connsiteY7" fmla="*/ 9507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25" h="9525">
                      <a:moveTo>
                        <a:pt x="9501" y="9507"/>
                      </a:moveTo>
                      <a:lnTo>
                        <a:pt x="9501" y="5812"/>
                      </a:lnTo>
                      <a:lnTo>
                        <a:pt x="5812" y="5812"/>
                      </a:lnTo>
                      <a:lnTo>
                        <a:pt x="9501" y="5812"/>
                      </a:lnTo>
                      <a:lnTo>
                        <a:pt x="9501" y="5812"/>
                      </a:lnTo>
                      <a:lnTo>
                        <a:pt x="9501" y="9507"/>
                      </a:lnTo>
                      <a:lnTo>
                        <a:pt x="9501" y="9507"/>
                      </a:lnTo>
                      <a:lnTo>
                        <a:pt x="9501" y="9507"/>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4" name="Freeform: Shape 93">
                  <a:extLst>
                    <a:ext uri="{FF2B5EF4-FFF2-40B4-BE49-F238E27FC236}">
                      <a16:creationId xmlns:a16="http://schemas.microsoft.com/office/drawing/2014/main" id="{B4EB95A8-BD6A-4107-B3C6-8CCB6EA54733}"/>
                    </a:ext>
                  </a:extLst>
                </p:cNvPr>
                <p:cNvSpPr/>
                <p:nvPr/>
              </p:nvSpPr>
              <p:spPr>
                <a:xfrm>
                  <a:off x="1370613" y="4586470"/>
                  <a:ext cx="303240" cy="151620"/>
                </a:xfrm>
                <a:custGeom>
                  <a:avLst/>
                  <a:gdLst>
                    <a:gd name="connsiteX0" fmla="*/ 109108 w 133350"/>
                    <a:gd name="connsiteY0" fmla="*/ 5812 h 66675"/>
                    <a:gd name="connsiteX1" fmla="*/ 109108 w 133350"/>
                    <a:gd name="connsiteY1" fmla="*/ 5812 h 66675"/>
                    <a:gd name="connsiteX2" fmla="*/ 112797 w 133350"/>
                    <a:gd name="connsiteY2" fmla="*/ 5812 h 66675"/>
                    <a:gd name="connsiteX3" fmla="*/ 112797 w 133350"/>
                    <a:gd name="connsiteY3" fmla="*/ 5812 h 66675"/>
                    <a:gd name="connsiteX4" fmla="*/ 112797 w 133350"/>
                    <a:gd name="connsiteY4" fmla="*/ 9507 h 66675"/>
                    <a:gd name="connsiteX5" fmla="*/ 116487 w 133350"/>
                    <a:gd name="connsiteY5" fmla="*/ 9507 h 66675"/>
                    <a:gd name="connsiteX6" fmla="*/ 120176 w 133350"/>
                    <a:gd name="connsiteY6" fmla="*/ 9507 h 66675"/>
                    <a:gd name="connsiteX7" fmla="*/ 123865 w 133350"/>
                    <a:gd name="connsiteY7" fmla="*/ 13193 h 66675"/>
                    <a:gd name="connsiteX8" fmla="*/ 123865 w 133350"/>
                    <a:gd name="connsiteY8" fmla="*/ 16889 h 66675"/>
                    <a:gd name="connsiteX9" fmla="*/ 127554 w 133350"/>
                    <a:gd name="connsiteY9" fmla="*/ 24271 h 66675"/>
                    <a:gd name="connsiteX10" fmla="*/ 131243 w 133350"/>
                    <a:gd name="connsiteY10" fmla="*/ 27957 h 66675"/>
                    <a:gd name="connsiteX11" fmla="*/ 131243 w 133350"/>
                    <a:gd name="connsiteY11" fmla="*/ 31653 h 66675"/>
                    <a:gd name="connsiteX12" fmla="*/ 131243 w 133350"/>
                    <a:gd name="connsiteY12" fmla="*/ 31653 h 66675"/>
                    <a:gd name="connsiteX13" fmla="*/ 134932 w 133350"/>
                    <a:gd name="connsiteY13" fmla="*/ 31653 h 66675"/>
                    <a:gd name="connsiteX14" fmla="*/ 134932 w 133350"/>
                    <a:gd name="connsiteY14" fmla="*/ 35339 h 66675"/>
                    <a:gd name="connsiteX15" fmla="*/ 134932 w 133350"/>
                    <a:gd name="connsiteY15" fmla="*/ 39035 h 66675"/>
                    <a:gd name="connsiteX16" fmla="*/ 134932 w 133350"/>
                    <a:gd name="connsiteY16" fmla="*/ 39035 h 66675"/>
                    <a:gd name="connsiteX17" fmla="*/ 134932 w 133350"/>
                    <a:gd name="connsiteY17" fmla="*/ 42721 h 66675"/>
                    <a:gd name="connsiteX18" fmla="*/ 134932 w 133350"/>
                    <a:gd name="connsiteY18" fmla="*/ 42721 h 66675"/>
                    <a:gd name="connsiteX19" fmla="*/ 131243 w 133350"/>
                    <a:gd name="connsiteY19" fmla="*/ 46417 h 66675"/>
                    <a:gd name="connsiteX20" fmla="*/ 123865 w 133350"/>
                    <a:gd name="connsiteY20" fmla="*/ 46417 h 66675"/>
                    <a:gd name="connsiteX21" fmla="*/ 123865 w 133350"/>
                    <a:gd name="connsiteY21" fmla="*/ 46417 h 66675"/>
                    <a:gd name="connsiteX22" fmla="*/ 123865 w 133350"/>
                    <a:gd name="connsiteY22" fmla="*/ 46417 h 66675"/>
                    <a:gd name="connsiteX23" fmla="*/ 120176 w 133350"/>
                    <a:gd name="connsiteY23" fmla="*/ 53789 h 66675"/>
                    <a:gd name="connsiteX24" fmla="*/ 120176 w 133350"/>
                    <a:gd name="connsiteY24" fmla="*/ 53789 h 66675"/>
                    <a:gd name="connsiteX25" fmla="*/ 112797 w 133350"/>
                    <a:gd name="connsiteY25" fmla="*/ 53789 h 66675"/>
                    <a:gd name="connsiteX26" fmla="*/ 109108 w 133350"/>
                    <a:gd name="connsiteY26" fmla="*/ 50103 h 66675"/>
                    <a:gd name="connsiteX27" fmla="*/ 105419 w 133350"/>
                    <a:gd name="connsiteY27" fmla="*/ 46417 h 66675"/>
                    <a:gd name="connsiteX28" fmla="*/ 105419 w 133350"/>
                    <a:gd name="connsiteY28" fmla="*/ 46417 h 66675"/>
                    <a:gd name="connsiteX29" fmla="*/ 98041 w 133350"/>
                    <a:gd name="connsiteY29" fmla="*/ 46417 h 66675"/>
                    <a:gd name="connsiteX30" fmla="*/ 94352 w 133350"/>
                    <a:gd name="connsiteY30" fmla="*/ 46417 h 66675"/>
                    <a:gd name="connsiteX31" fmla="*/ 94352 w 133350"/>
                    <a:gd name="connsiteY31" fmla="*/ 50103 h 66675"/>
                    <a:gd name="connsiteX32" fmla="*/ 90662 w 133350"/>
                    <a:gd name="connsiteY32" fmla="*/ 50103 h 66675"/>
                    <a:gd name="connsiteX33" fmla="*/ 90662 w 133350"/>
                    <a:gd name="connsiteY33" fmla="*/ 50103 h 66675"/>
                    <a:gd name="connsiteX34" fmla="*/ 86973 w 133350"/>
                    <a:gd name="connsiteY34" fmla="*/ 50103 h 66675"/>
                    <a:gd name="connsiteX35" fmla="*/ 79595 w 133350"/>
                    <a:gd name="connsiteY35" fmla="*/ 50103 h 66675"/>
                    <a:gd name="connsiteX36" fmla="*/ 75906 w 133350"/>
                    <a:gd name="connsiteY36" fmla="*/ 46417 h 66675"/>
                    <a:gd name="connsiteX37" fmla="*/ 68528 w 133350"/>
                    <a:gd name="connsiteY37" fmla="*/ 46417 h 66675"/>
                    <a:gd name="connsiteX38" fmla="*/ 53771 w 133350"/>
                    <a:gd name="connsiteY38" fmla="*/ 50103 h 66675"/>
                    <a:gd name="connsiteX39" fmla="*/ 50082 w 133350"/>
                    <a:gd name="connsiteY39" fmla="*/ 53789 h 66675"/>
                    <a:gd name="connsiteX40" fmla="*/ 46393 w 133350"/>
                    <a:gd name="connsiteY40" fmla="*/ 61171 h 66675"/>
                    <a:gd name="connsiteX41" fmla="*/ 42703 w 133350"/>
                    <a:gd name="connsiteY41" fmla="*/ 61171 h 66675"/>
                    <a:gd name="connsiteX42" fmla="*/ 39014 w 133350"/>
                    <a:gd name="connsiteY42" fmla="*/ 68553 h 66675"/>
                    <a:gd name="connsiteX43" fmla="*/ 39014 w 133350"/>
                    <a:gd name="connsiteY43" fmla="*/ 68553 h 66675"/>
                    <a:gd name="connsiteX44" fmla="*/ 39014 w 133350"/>
                    <a:gd name="connsiteY44" fmla="*/ 64867 h 66675"/>
                    <a:gd name="connsiteX45" fmla="*/ 35325 w 133350"/>
                    <a:gd name="connsiteY45" fmla="*/ 61171 h 66675"/>
                    <a:gd name="connsiteX46" fmla="*/ 39014 w 133350"/>
                    <a:gd name="connsiteY46" fmla="*/ 57485 h 66675"/>
                    <a:gd name="connsiteX47" fmla="*/ 39014 w 133350"/>
                    <a:gd name="connsiteY47" fmla="*/ 53789 h 66675"/>
                    <a:gd name="connsiteX48" fmla="*/ 39014 w 133350"/>
                    <a:gd name="connsiteY48" fmla="*/ 50103 h 66675"/>
                    <a:gd name="connsiteX49" fmla="*/ 31636 w 133350"/>
                    <a:gd name="connsiteY49" fmla="*/ 42721 h 66675"/>
                    <a:gd name="connsiteX50" fmla="*/ 35325 w 133350"/>
                    <a:gd name="connsiteY50" fmla="*/ 42721 h 66675"/>
                    <a:gd name="connsiteX51" fmla="*/ 35325 w 133350"/>
                    <a:gd name="connsiteY51" fmla="*/ 39035 h 66675"/>
                    <a:gd name="connsiteX52" fmla="*/ 39014 w 133350"/>
                    <a:gd name="connsiteY52" fmla="*/ 35339 h 66675"/>
                    <a:gd name="connsiteX53" fmla="*/ 39014 w 133350"/>
                    <a:gd name="connsiteY53" fmla="*/ 35339 h 66675"/>
                    <a:gd name="connsiteX54" fmla="*/ 35325 w 133350"/>
                    <a:gd name="connsiteY54" fmla="*/ 39035 h 66675"/>
                    <a:gd name="connsiteX55" fmla="*/ 35325 w 133350"/>
                    <a:gd name="connsiteY55" fmla="*/ 39035 h 66675"/>
                    <a:gd name="connsiteX56" fmla="*/ 31636 w 133350"/>
                    <a:gd name="connsiteY56" fmla="*/ 42721 h 66675"/>
                    <a:gd name="connsiteX57" fmla="*/ 31636 w 133350"/>
                    <a:gd name="connsiteY57" fmla="*/ 42721 h 66675"/>
                    <a:gd name="connsiteX58" fmla="*/ 27947 w 133350"/>
                    <a:gd name="connsiteY58" fmla="*/ 39035 h 66675"/>
                    <a:gd name="connsiteX59" fmla="*/ 24258 w 133350"/>
                    <a:gd name="connsiteY59" fmla="*/ 35339 h 66675"/>
                    <a:gd name="connsiteX60" fmla="*/ 20568 w 133350"/>
                    <a:gd name="connsiteY60" fmla="*/ 35339 h 66675"/>
                    <a:gd name="connsiteX61" fmla="*/ 16879 w 133350"/>
                    <a:gd name="connsiteY61" fmla="*/ 31653 h 66675"/>
                    <a:gd name="connsiteX62" fmla="*/ 13190 w 133350"/>
                    <a:gd name="connsiteY62" fmla="*/ 31653 h 66675"/>
                    <a:gd name="connsiteX63" fmla="*/ 13190 w 133350"/>
                    <a:gd name="connsiteY63" fmla="*/ 24271 h 66675"/>
                    <a:gd name="connsiteX64" fmla="*/ 9501 w 133350"/>
                    <a:gd name="connsiteY64" fmla="*/ 24271 h 66675"/>
                    <a:gd name="connsiteX65" fmla="*/ 9501 w 133350"/>
                    <a:gd name="connsiteY65" fmla="*/ 20575 h 66675"/>
                    <a:gd name="connsiteX66" fmla="*/ 9501 w 133350"/>
                    <a:gd name="connsiteY66" fmla="*/ 16889 h 66675"/>
                    <a:gd name="connsiteX67" fmla="*/ 13190 w 133350"/>
                    <a:gd name="connsiteY67" fmla="*/ 16889 h 66675"/>
                    <a:gd name="connsiteX68" fmla="*/ 13190 w 133350"/>
                    <a:gd name="connsiteY68" fmla="*/ 16889 h 66675"/>
                    <a:gd name="connsiteX69" fmla="*/ 9501 w 133350"/>
                    <a:gd name="connsiteY69" fmla="*/ 16889 h 66675"/>
                    <a:gd name="connsiteX70" fmla="*/ 5812 w 133350"/>
                    <a:gd name="connsiteY70" fmla="*/ 16889 h 66675"/>
                    <a:gd name="connsiteX71" fmla="*/ 5812 w 133350"/>
                    <a:gd name="connsiteY71" fmla="*/ 16889 h 66675"/>
                    <a:gd name="connsiteX72" fmla="*/ 5812 w 133350"/>
                    <a:gd name="connsiteY72" fmla="*/ 16889 h 66675"/>
                    <a:gd name="connsiteX73" fmla="*/ 16879 w 133350"/>
                    <a:gd name="connsiteY73" fmla="*/ 13193 h 66675"/>
                    <a:gd name="connsiteX74" fmla="*/ 27947 w 133350"/>
                    <a:gd name="connsiteY74" fmla="*/ 9507 h 66675"/>
                    <a:gd name="connsiteX75" fmla="*/ 27947 w 133350"/>
                    <a:gd name="connsiteY75" fmla="*/ 5812 h 66675"/>
                    <a:gd name="connsiteX76" fmla="*/ 27947 w 133350"/>
                    <a:gd name="connsiteY76" fmla="*/ 5812 h 66675"/>
                    <a:gd name="connsiteX77" fmla="*/ 31636 w 133350"/>
                    <a:gd name="connsiteY77" fmla="*/ 5812 h 66675"/>
                    <a:gd name="connsiteX78" fmla="*/ 31636 w 133350"/>
                    <a:gd name="connsiteY78" fmla="*/ 5812 h 66675"/>
                    <a:gd name="connsiteX79" fmla="*/ 31636 w 133350"/>
                    <a:gd name="connsiteY79" fmla="*/ 9507 h 66675"/>
                    <a:gd name="connsiteX80" fmla="*/ 35325 w 133350"/>
                    <a:gd name="connsiteY80" fmla="*/ 9507 h 66675"/>
                    <a:gd name="connsiteX81" fmla="*/ 39014 w 133350"/>
                    <a:gd name="connsiteY81" fmla="*/ 9507 h 66675"/>
                    <a:gd name="connsiteX82" fmla="*/ 42703 w 133350"/>
                    <a:gd name="connsiteY82" fmla="*/ 13193 h 66675"/>
                    <a:gd name="connsiteX83" fmla="*/ 46393 w 133350"/>
                    <a:gd name="connsiteY83" fmla="*/ 13193 h 66675"/>
                    <a:gd name="connsiteX84" fmla="*/ 50082 w 133350"/>
                    <a:gd name="connsiteY84" fmla="*/ 16889 h 66675"/>
                    <a:gd name="connsiteX85" fmla="*/ 50082 w 133350"/>
                    <a:gd name="connsiteY85" fmla="*/ 16889 h 66675"/>
                    <a:gd name="connsiteX86" fmla="*/ 53771 w 133350"/>
                    <a:gd name="connsiteY86" fmla="*/ 16889 h 66675"/>
                    <a:gd name="connsiteX87" fmla="*/ 57460 w 133350"/>
                    <a:gd name="connsiteY87" fmla="*/ 13193 h 66675"/>
                    <a:gd name="connsiteX88" fmla="*/ 61149 w 133350"/>
                    <a:gd name="connsiteY88" fmla="*/ 13193 h 66675"/>
                    <a:gd name="connsiteX89" fmla="*/ 68528 w 133350"/>
                    <a:gd name="connsiteY89" fmla="*/ 9507 h 66675"/>
                    <a:gd name="connsiteX90" fmla="*/ 68528 w 133350"/>
                    <a:gd name="connsiteY90" fmla="*/ 9507 h 66675"/>
                    <a:gd name="connsiteX91" fmla="*/ 75906 w 133350"/>
                    <a:gd name="connsiteY91" fmla="*/ 13193 h 66675"/>
                    <a:gd name="connsiteX92" fmla="*/ 79595 w 133350"/>
                    <a:gd name="connsiteY92" fmla="*/ 9507 h 66675"/>
                    <a:gd name="connsiteX93" fmla="*/ 79595 w 133350"/>
                    <a:gd name="connsiteY93" fmla="*/ 9507 h 66675"/>
                    <a:gd name="connsiteX94" fmla="*/ 86973 w 133350"/>
                    <a:gd name="connsiteY94" fmla="*/ 5812 h 66675"/>
                    <a:gd name="connsiteX95" fmla="*/ 86973 w 133350"/>
                    <a:gd name="connsiteY95" fmla="*/ 5812 h 66675"/>
                    <a:gd name="connsiteX96" fmla="*/ 94352 w 133350"/>
                    <a:gd name="connsiteY96" fmla="*/ 5812 h 66675"/>
                    <a:gd name="connsiteX97" fmla="*/ 98041 w 133350"/>
                    <a:gd name="connsiteY97" fmla="*/ 9507 h 66675"/>
                    <a:gd name="connsiteX98" fmla="*/ 105419 w 133350"/>
                    <a:gd name="connsiteY98" fmla="*/ 5812 h 66675"/>
                    <a:gd name="connsiteX99" fmla="*/ 109108 w 133350"/>
                    <a:gd name="connsiteY99" fmla="*/ 5812 h 66675"/>
                    <a:gd name="connsiteX100" fmla="*/ 109108 w 133350"/>
                    <a:gd name="connsiteY100" fmla="*/ 5812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133350" h="66675">
                      <a:moveTo>
                        <a:pt x="109108" y="5812"/>
                      </a:moveTo>
                      <a:lnTo>
                        <a:pt x="109108" y="5812"/>
                      </a:lnTo>
                      <a:lnTo>
                        <a:pt x="112797" y="5812"/>
                      </a:lnTo>
                      <a:lnTo>
                        <a:pt x="112797" y="5812"/>
                      </a:lnTo>
                      <a:lnTo>
                        <a:pt x="112797" y="9507"/>
                      </a:lnTo>
                      <a:lnTo>
                        <a:pt x="116487" y="9507"/>
                      </a:lnTo>
                      <a:lnTo>
                        <a:pt x="120176" y="9507"/>
                      </a:lnTo>
                      <a:lnTo>
                        <a:pt x="123865" y="13193"/>
                      </a:lnTo>
                      <a:lnTo>
                        <a:pt x="123865" y="16889"/>
                      </a:lnTo>
                      <a:lnTo>
                        <a:pt x="127554" y="24271"/>
                      </a:lnTo>
                      <a:lnTo>
                        <a:pt x="131243" y="27957"/>
                      </a:lnTo>
                      <a:lnTo>
                        <a:pt x="131243" y="31653"/>
                      </a:lnTo>
                      <a:lnTo>
                        <a:pt x="131243" y="31653"/>
                      </a:lnTo>
                      <a:lnTo>
                        <a:pt x="134932" y="31653"/>
                      </a:lnTo>
                      <a:lnTo>
                        <a:pt x="134932" y="35339"/>
                      </a:lnTo>
                      <a:lnTo>
                        <a:pt x="134932" y="39035"/>
                      </a:lnTo>
                      <a:lnTo>
                        <a:pt x="134932" y="39035"/>
                      </a:lnTo>
                      <a:lnTo>
                        <a:pt x="134932" y="42721"/>
                      </a:lnTo>
                      <a:lnTo>
                        <a:pt x="134932" y="42721"/>
                      </a:lnTo>
                      <a:lnTo>
                        <a:pt x="131243" y="46417"/>
                      </a:lnTo>
                      <a:lnTo>
                        <a:pt x="123865" y="46417"/>
                      </a:lnTo>
                      <a:lnTo>
                        <a:pt x="123865" y="46417"/>
                      </a:lnTo>
                      <a:lnTo>
                        <a:pt x="123865" y="46417"/>
                      </a:lnTo>
                      <a:lnTo>
                        <a:pt x="120176" y="53789"/>
                      </a:lnTo>
                      <a:lnTo>
                        <a:pt x="120176" y="53789"/>
                      </a:lnTo>
                      <a:lnTo>
                        <a:pt x="112797" y="53789"/>
                      </a:lnTo>
                      <a:lnTo>
                        <a:pt x="109108" y="50103"/>
                      </a:lnTo>
                      <a:lnTo>
                        <a:pt x="105419" y="46417"/>
                      </a:lnTo>
                      <a:lnTo>
                        <a:pt x="105419" y="46417"/>
                      </a:lnTo>
                      <a:lnTo>
                        <a:pt x="98041" y="46417"/>
                      </a:lnTo>
                      <a:lnTo>
                        <a:pt x="94352" y="46417"/>
                      </a:lnTo>
                      <a:lnTo>
                        <a:pt x="94352" y="50103"/>
                      </a:lnTo>
                      <a:lnTo>
                        <a:pt x="90662" y="50103"/>
                      </a:lnTo>
                      <a:lnTo>
                        <a:pt x="90662" y="50103"/>
                      </a:lnTo>
                      <a:lnTo>
                        <a:pt x="86973" y="50103"/>
                      </a:lnTo>
                      <a:lnTo>
                        <a:pt x="79595" y="50103"/>
                      </a:lnTo>
                      <a:lnTo>
                        <a:pt x="75906" y="46417"/>
                      </a:lnTo>
                      <a:lnTo>
                        <a:pt x="68528" y="46417"/>
                      </a:lnTo>
                      <a:lnTo>
                        <a:pt x="53771" y="50103"/>
                      </a:lnTo>
                      <a:lnTo>
                        <a:pt x="50082" y="53789"/>
                      </a:lnTo>
                      <a:lnTo>
                        <a:pt x="46393" y="61171"/>
                      </a:lnTo>
                      <a:lnTo>
                        <a:pt x="42703" y="61171"/>
                      </a:lnTo>
                      <a:lnTo>
                        <a:pt x="39014" y="68553"/>
                      </a:lnTo>
                      <a:lnTo>
                        <a:pt x="39014" y="68553"/>
                      </a:lnTo>
                      <a:lnTo>
                        <a:pt x="39014" y="64867"/>
                      </a:lnTo>
                      <a:lnTo>
                        <a:pt x="35325" y="61171"/>
                      </a:lnTo>
                      <a:lnTo>
                        <a:pt x="39014" y="57485"/>
                      </a:lnTo>
                      <a:lnTo>
                        <a:pt x="39014" y="53789"/>
                      </a:lnTo>
                      <a:lnTo>
                        <a:pt x="39014" y="50103"/>
                      </a:lnTo>
                      <a:lnTo>
                        <a:pt x="31636" y="42721"/>
                      </a:lnTo>
                      <a:lnTo>
                        <a:pt x="35325" y="42721"/>
                      </a:lnTo>
                      <a:lnTo>
                        <a:pt x="35325" y="39035"/>
                      </a:lnTo>
                      <a:lnTo>
                        <a:pt x="39014" y="35339"/>
                      </a:lnTo>
                      <a:lnTo>
                        <a:pt x="39014" y="35339"/>
                      </a:lnTo>
                      <a:lnTo>
                        <a:pt x="35325" y="39035"/>
                      </a:lnTo>
                      <a:lnTo>
                        <a:pt x="35325" y="39035"/>
                      </a:lnTo>
                      <a:lnTo>
                        <a:pt x="31636" y="42721"/>
                      </a:lnTo>
                      <a:lnTo>
                        <a:pt x="31636" y="42721"/>
                      </a:lnTo>
                      <a:lnTo>
                        <a:pt x="27947" y="39035"/>
                      </a:lnTo>
                      <a:lnTo>
                        <a:pt x="24258" y="35339"/>
                      </a:lnTo>
                      <a:lnTo>
                        <a:pt x="20568" y="35339"/>
                      </a:lnTo>
                      <a:lnTo>
                        <a:pt x="16879" y="31653"/>
                      </a:lnTo>
                      <a:lnTo>
                        <a:pt x="13190" y="31653"/>
                      </a:lnTo>
                      <a:lnTo>
                        <a:pt x="13190" y="24271"/>
                      </a:lnTo>
                      <a:lnTo>
                        <a:pt x="9501" y="24271"/>
                      </a:lnTo>
                      <a:lnTo>
                        <a:pt x="9501" y="20575"/>
                      </a:lnTo>
                      <a:lnTo>
                        <a:pt x="9501" y="16889"/>
                      </a:lnTo>
                      <a:lnTo>
                        <a:pt x="13190" y="16889"/>
                      </a:lnTo>
                      <a:lnTo>
                        <a:pt x="13190" y="16889"/>
                      </a:lnTo>
                      <a:lnTo>
                        <a:pt x="9501" y="16889"/>
                      </a:lnTo>
                      <a:lnTo>
                        <a:pt x="5812" y="16889"/>
                      </a:lnTo>
                      <a:lnTo>
                        <a:pt x="5812" y="16889"/>
                      </a:lnTo>
                      <a:lnTo>
                        <a:pt x="5812" y="16889"/>
                      </a:lnTo>
                      <a:lnTo>
                        <a:pt x="16879" y="13193"/>
                      </a:lnTo>
                      <a:lnTo>
                        <a:pt x="27947" y="9507"/>
                      </a:lnTo>
                      <a:lnTo>
                        <a:pt x="27947" y="5812"/>
                      </a:lnTo>
                      <a:lnTo>
                        <a:pt x="27947" y="5812"/>
                      </a:lnTo>
                      <a:lnTo>
                        <a:pt x="31636" y="5812"/>
                      </a:lnTo>
                      <a:lnTo>
                        <a:pt x="31636" y="5812"/>
                      </a:lnTo>
                      <a:lnTo>
                        <a:pt x="31636" y="9507"/>
                      </a:lnTo>
                      <a:lnTo>
                        <a:pt x="35325" y="9507"/>
                      </a:lnTo>
                      <a:lnTo>
                        <a:pt x="39014" y="9507"/>
                      </a:lnTo>
                      <a:lnTo>
                        <a:pt x="42703" y="13193"/>
                      </a:lnTo>
                      <a:lnTo>
                        <a:pt x="46393" y="13193"/>
                      </a:lnTo>
                      <a:lnTo>
                        <a:pt x="50082" y="16889"/>
                      </a:lnTo>
                      <a:lnTo>
                        <a:pt x="50082" y="16889"/>
                      </a:lnTo>
                      <a:lnTo>
                        <a:pt x="53771" y="16889"/>
                      </a:lnTo>
                      <a:lnTo>
                        <a:pt x="57460" y="13193"/>
                      </a:lnTo>
                      <a:lnTo>
                        <a:pt x="61149" y="13193"/>
                      </a:lnTo>
                      <a:lnTo>
                        <a:pt x="68528" y="9507"/>
                      </a:lnTo>
                      <a:lnTo>
                        <a:pt x="68528" y="9507"/>
                      </a:lnTo>
                      <a:lnTo>
                        <a:pt x="75906" y="13193"/>
                      </a:lnTo>
                      <a:lnTo>
                        <a:pt x="79595" y="9507"/>
                      </a:lnTo>
                      <a:lnTo>
                        <a:pt x="79595" y="9507"/>
                      </a:lnTo>
                      <a:lnTo>
                        <a:pt x="86973" y="5812"/>
                      </a:lnTo>
                      <a:lnTo>
                        <a:pt x="86973" y="5812"/>
                      </a:lnTo>
                      <a:lnTo>
                        <a:pt x="94352" y="5812"/>
                      </a:lnTo>
                      <a:lnTo>
                        <a:pt x="98041" y="9507"/>
                      </a:lnTo>
                      <a:lnTo>
                        <a:pt x="105419" y="5812"/>
                      </a:lnTo>
                      <a:lnTo>
                        <a:pt x="109108" y="5812"/>
                      </a:lnTo>
                      <a:lnTo>
                        <a:pt x="109108"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grpSp>
          <p:grpSp>
            <p:nvGrpSpPr>
              <p:cNvPr id="95" name="Group 94">
                <a:extLst>
                  <a:ext uri="{FF2B5EF4-FFF2-40B4-BE49-F238E27FC236}">
                    <a16:creationId xmlns:a16="http://schemas.microsoft.com/office/drawing/2014/main" id="{AC26B8C8-7032-4DB8-8F0A-E8977A07B09F}"/>
                  </a:ext>
                </a:extLst>
              </p:cNvPr>
              <p:cNvGrpSpPr/>
              <p:nvPr/>
            </p:nvGrpSpPr>
            <p:grpSpPr>
              <a:xfrm>
                <a:off x="4124034" y="3382017"/>
                <a:ext cx="1462979" cy="1202811"/>
                <a:chOff x="1605510" y="3294039"/>
                <a:chExt cx="1489044" cy="1224241"/>
              </a:xfrm>
              <a:grpFill/>
            </p:grpSpPr>
            <p:sp>
              <p:nvSpPr>
                <p:cNvPr id="96" name="Freeform: Shape 95">
                  <a:extLst>
                    <a:ext uri="{FF2B5EF4-FFF2-40B4-BE49-F238E27FC236}">
                      <a16:creationId xmlns:a16="http://schemas.microsoft.com/office/drawing/2014/main" id="{2DBDE394-1F4D-4C6F-BAA5-7A0DC3E8C221}"/>
                    </a:ext>
                  </a:extLst>
                </p:cNvPr>
                <p:cNvSpPr/>
                <p:nvPr/>
              </p:nvSpPr>
              <p:spPr>
                <a:xfrm>
                  <a:off x="1773296" y="3294039"/>
                  <a:ext cx="1321258" cy="1147977"/>
                </a:xfrm>
                <a:custGeom>
                  <a:avLst/>
                  <a:gdLst>
                    <a:gd name="connsiteX0" fmla="*/ 260365 w 581025"/>
                    <a:gd name="connsiteY0" fmla="*/ 5812 h 504825"/>
                    <a:gd name="connsiteX1" fmla="*/ 238230 w 581025"/>
                    <a:gd name="connsiteY1" fmla="*/ 53789 h 504825"/>
                    <a:gd name="connsiteX2" fmla="*/ 230852 w 581025"/>
                    <a:gd name="connsiteY2" fmla="*/ 64867 h 504825"/>
                    <a:gd name="connsiteX3" fmla="*/ 227163 w 581025"/>
                    <a:gd name="connsiteY3" fmla="*/ 72248 h 504825"/>
                    <a:gd name="connsiteX4" fmla="*/ 216096 w 581025"/>
                    <a:gd name="connsiteY4" fmla="*/ 90698 h 504825"/>
                    <a:gd name="connsiteX5" fmla="*/ 212406 w 581025"/>
                    <a:gd name="connsiteY5" fmla="*/ 94385 h 504825"/>
                    <a:gd name="connsiteX6" fmla="*/ 212406 w 581025"/>
                    <a:gd name="connsiteY6" fmla="*/ 98080 h 504825"/>
                    <a:gd name="connsiteX7" fmla="*/ 205028 w 581025"/>
                    <a:gd name="connsiteY7" fmla="*/ 109148 h 504825"/>
                    <a:gd name="connsiteX8" fmla="*/ 201339 w 581025"/>
                    <a:gd name="connsiteY8" fmla="*/ 116530 h 504825"/>
                    <a:gd name="connsiteX9" fmla="*/ 190271 w 581025"/>
                    <a:gd name="connsiteY9" fmla="*/ 131294 h 504825"/>
                    <a:gd name="connsiteX10" fmla="*/ 168136 w 581025"/>
                    <a:gd name="connsiteY10" fmla="*/ 160821 h 504825"/>
                    <a:gd name="connsiteX11" fmla="*/ 157069 w 581025"/>
                    <a:gd name="connsiteY11" fmla="*/ 168203 h 504825"/>
                    <a:gd name="connsiteX12" fmla="*/ 157069 w 581025"/>
                    <a:gd name="connsiteY12" fmla="*/ 171889 h 504825"/>
                    <a:gd name="connsiteX13" fmla="*/ 149690 w 581025"/>
                    <a:gd name="connsiteY13" fmla="*/ 179271 h 504825"/>
                    <a:gd name="connsiteX14" fmla="*/ 146001 w 581025"/>
                    <a:gd name="connsiteY14" fmla="*/ 179271 h 504825"/>
                    <a:gd name="connsiteX15" fmla="*/ 146001 w 581025"/>
                    <a:gd name="connsiteY15" fmla="*/ 182967 h 504825"/>
                    <a:gd name="connsiteX16" fmla="*/ 146001 w 581025"/>
                    <a:gd name="connsiteY16" fmla="*/ 186653 h 504825"/>
                    <a:gd name="connsiteX17" fmla="*/ 149690 w 581025"/>
                    <a:gd name="connsiteY17" fmla="*/ 186653 h 504825"/>
                    <a:gd name="connsiteX18" fmla="*/ 146001 w 581025"/>
                    <a:gd name="connsiteY18" fmla="*/ 190339 h 504825"/>
                    <a:gd name="connsiteX19" fmla="*/ 146001 w 581025"/>
                    <a:gd name="connsiteY19" fmla="*/ 186653 h 504825"/>
                    <a:gd name="connsiteX20" fmla="*/ 142311 w 581025"/>
                    <a:gd name="connsiteY20" fmla="*/ 186653 h 504825"/>
                    <a:gd name="connsiteX21" fmla="*/ 138622 w 581025"/>
                    <a:gd name="connsiteY21" fmla="*/ 190339 h 504825"/>
                    <a:gd name="connsiteX22" fmla="*/ 134933 w 581025"/>
                    <a:gd name="connsiteY22" fmla="*/ 197721 h 504825"/>
                    <a:gd name="connsiteX23" fmla="*/ 131244 w 581025"/>
                    <a:gd name="connsiteY23" fmla="*/ 201417 h 504825"/>
                    <a:gd name="connsiteX24" fmla="*/ 120176 w 581025"/>
                    <a:gd name="connsiteY24" fmla="*/ 212485 h 504825"/>
                    <a:gd name="connsiteX25" fmla="*/ 112798 w 581025"/>
                    <a:gd name="connsiteY25" fmla="*/ 219867 h 504825"/>
                    <a:gd name="connsiteX26" fmla="*/ 101731 w 581025"/>
                    <a:gd name="connsiteY26" fmla="*/ 234631 h 504825"/>
                    <a:gd name="connsiteX27" fmla="*/ 98041 w 581025"/>
                    <a:gd name="connsiteY27" fmla="*/ 238317 h 504825"/>
                    <a:gd name="connsiteX28" fmla="*/ 90663 w 581025"/>
                    <a:gd name="connsiteY28" fmla="*/ 245699 h 504825"/>
                    <a:gd name="connsiteX29" fmla="*/ 86974 w 581025"/>
                    <a:gd name="connsiteY29" fmla="*/ 249394 h 504825"/>
                    <a:gd name="connsiteX30" fmla="*/ 86974 w 581025"/>
                    <a:gd name="connsiteY30" fmla="*/ 253081 h 504825"/>
                    <a:gd name="connsiteX31" fmla="*/ 79596 w 581025"/>
                    <a:gd name="connsiteY31" fmla="*/ 264158 h 504825"/>
                    <a:gd name="connsiteX32" fmla="*/ 72217 w 581025"/>
                    <a:gd name="connsiteY32" fmla="*/ 267844 h 504825"/>
                    <a:gd name="connsiteX33" fmla="*/ 64839 w 581025"/>
                    <a:gd name="connsiteY33" fmla="*/ 275226 h 504825"/>
                    <a:gd name="connsiteX34" fmla="*/ 61150 w 581025"/>
                    <a:gd name="connsiteY34" fmla="*/ 275226 h 504825"/>
                    <a:gd name="connsiteX35" fmla="*/ 57461 w 581025"/>
                    <a:gd name="connsiteY35" fmla="*/ 271540 h 504825"/>
                    <a:gd name="connsiteX36" fmla="*/ 39015 w 581025"/>
                    <a:gd name="connsiteY36" fmla="*/ 267844 h 504825"/>
                    <a:gd name="connsiteX37" fmla="*/ 35326 w 581025"/>
                    <a:gd name="connsiteY37" fmla="*/ 271540 h 504825"/>
                    <a:gd name="connsiteX38" fmla="*/ 31637 w 581025"/>
                    <a:gd name="connsiteY38" fmla="*/ 271540 h 504825"/>
                    <a:gd name="connsiteX39" fmla="*/ 27947 w 581025"/>
                    <a:gd name="connsiteY39" fmla="*/ 271540 h 504825"/>
                    <a:gd name="connsiteX40" fmla="*/ 24258 w 581025"/>
                    <a:gd name="connsiteY40" fmla="*/ 275226 h 504825"/>
                    <a:gd name="connsiteX41" fmla="*/ 24258 w 581025"/>
                    <a:gd name="connsiteY41" fmla="*/ 278922 h 504825"/>
                    <a:gd name="connsiteX42" fmla="*/ 20569 w 581025"/>
                    <a:gd name="connsiteY42" fmla="*/ 282608 h 504825"/>
                    <a:gd name="connsiteX43" fmla="*/ 16880 w 581025"/>
                    <a:gd name="connsiteY43" fmla="*/ 289990 h 504825"/>
                    <a:gd name="connsiteX44" fmla="*/ 20569 w 581025"/>
                    <a:gd name="connsiteY44" fmla="*/ 293676 h 504825"/>
                    <a:gd name="connsiteX45" fmla="*/ 24258 w 581025"/>
                    <a:gd name="connsiteY45" fmla="*/ 297372 h 504825"/>
                    <a:gd name="connsiteX46" fmla="*/ 24258 w 581025"/>
                    <a:gd name="connsiteY46" fmla="*/ 301058 h 504825"/>
                    <a:gd name="connsiteX47" fmla="*/ 16880 w 581025"/>
                    <a:gd name="connsiteY47" fmla="*/ 308440 h 504825"/>
                    <a:gd name="connsiteX48" fmla="*/ 13191 w 581025"/>
                    <a:gd name="connsiteY48" fmla="*/ 315822 h 504825"/>
                    <a:gd name="connsiteX49" fmla="*/ 5812 w 581025"/>
                    <a:gd name="connsiteY49" fmla="*/ 326899 h 504825"/>
                    <a:gd name="connsiteX50" fmla="*/ 9502 w 581025"/>
                    <a:gd name="connsiteY50" fmla="*/ 326899 h 504825"/>
                    <a:gd name="connsiteX51" fmla="*/ 13191 w 581025"/>
                    <a:gd name="connsiteY51" fmla="*/ 326899 h 504825"/>
                    <a:gd name="connsiteX52" fmla="*/ 16880 w 581025"/>
                    <a:gd name="connsiteY52" fmla="*/ 330585 h 504825"/>
                    <a:gd name="connsiteX53" fmla="*/ 20569 w 581025"/>
                    <a:gd name="connsiteY53" fmla="*/ 326899 h 504825"/>
                    <a:gd name="connsiteX54" fmla="*/ 35326 w 581025"/>
                    <a:gd name="connsiteY54" fmla="*/ 323204 h 504825"/>
                    <a:gd name="connsiteX55" fmla="*/ 39015 w 581025"/>
                    <a:gd name="connsiteY55" fmla="*/ 323204 h 504825"/>
                    <a:gd name="connsiteX56" fmla="*/ 42704 w 581025"/>
                    <a:gd name="connsiteY56" fmla="*/ 330585 h 504825"/>
                    <a:gd name="connsiteX57" fmla="*/ 39015 w 581025"/>
                    <a:gd name="connsiteY57" fmla="*/ 330585 h 504825"/>
                    <a:gd name="connsiteX58" fmla="*/ 39015 w 581025"/>
                    <a:gd name="connsiteY58" fmla="*/ 334272 h 504825"/>
                    <a:gd name="connsiteX59" fmla="*/ 31637 w 581025"/>
                    <a:gd name="connsiteY59" fmla="*/ 341654 h 504825"/>
                    <a:gd name="connsiteX60" fmla="*/ 31637 w 581025"/>
                    <a:gd name="connsiteY60" fmla="*/ 345349 h 504825"/>
                    <a:gd name="connsiteX61" fmla="*/ 27947 w 581025"/>
                    <a:gd name="connsiteY61" fmla="*/ 349035 h 504825"/>
                    <a:gd name="connsiteX62" fmla="*/ 27947 w 581025"/>
                    <a:gd name="connsiteY62" fmla="*/ 352731 h 504825"/>
                    <a:gd name="connsiteX63" fmla="*/ 31637 w 581025"/>
                    <a:gd name="connsiteY63" fmla="*/ 356417 h 504825"/>
                    <a:gd name="connsiteX64" fmla="*/ 46393 w 581025"/>
                    <a:gd name="connsiteY64" fmla="*/ 378563 h 504825"/>
                    <a:gd name="connsiteX65" fmla="*/ 46393 w 581025"/>
                    <a:gd name="connsiteY65" fmla="*/ 382249 h 504825"/>
                    <a:gd name="connsiteX66" fmla="*/ 46393 w 581025"/>
                    <a:gd name="connsiteY66" fmla="*/ 385945 h 504825"/>
                    <a:gd name="connsiteX67" fmla="*/ 42704 w 581025"/>
                    <a:gd name="connsiteY67" fmla="*/ 389631 h 504825"/>
                    <a:gd name="connsiteX68" fmla="*/ 50082 w 581025"/>
                    <a:gd name="connsiteY68" fmla="*/ 385945 h 504825"/>
                    <a:gd name="connsiteX69" fmla="*/ 53772 w 581025"/>
                    <a:gd name="connsiteY69" fmla="*/ 389631 h 504825"/>
                    <a:gd name="connsiteX70" fmla="*/ 57461 w 581025"/>
                    <a:gd name="connsiteY70" fmla="*/ 393327 h 504825"/>
                    <a:gd name="connsiteX71" fmla="*/ 61150 w 581025"/>
                    <a:gd name="connsiteY71" fmla="*/ 397013 h 504825"/>
                    <a:gd name="connsiteX72" fmla="*/ 61150 w 581025"/>
                    <a:gd name="connsiteY72" fmla="*/ 400709 h 504825"/>
                    <a:gd name="connsiteX73" fmla="*/ 64839 w 581025"/>
                    <a:gd name="connsiteY73" fmla="*/ 400709 h 504825"/>
                    <a:gd name="connsiteX74" fmla="*/ 68528 w 581025"/>
                    <a:gd name="connsiteY74" fmla="*/ 400709 h 504825"/>
                    <a:gd name="connsiteX75" fmla="*/ 72217 w 581025"/>
                    <a:gd name="connsiteY75" fmla="*/ 400709 h 504825"/>
                    <a:gd name="connsiteX76" fmla="*/ 75906 w 581025"/>
                    <a:gd name="connsiteY76" fmla="*/ 400709 h 504825"/>
                    <a:gd name="connsiteX77" fmla="*/ 72217 w 581025"/>
                    <a:gd name="connsiteY77" fmla="*/ 404395 h 504825"/>
                    <a:gd name="connsiteX78" fmla="*/ 75906 w 581025"/>
                    <a:gd name="connsiteY78" fmla="*/ 408090 h 504825"/>
                    <a:gd name="connsiteX79" fmla="*/ 79596 w 581025"/>
                    <a:gd name="connsiteY79" fmla="*/ 408090 h 504825"/>
                    <a:gd name="connsiteX80" fmla="*/ 79596 w 581025"/>
                    <a:gd name="connsiteY80" fmla="*/ 404395 h 504825"/>
                    <a:gd name="connsiteX81" fmla="*/ 83285 w 581025"/>
                    <a:gd name="connsiteY81" fmla="*/ 404395 h 504825"/>
                    <a:gd name="connsiteX82" fmla="*/ 86974 w 581025"/>
                    <a:gd name="connsiteY82" fmla="*/ 404395 h 504825"/>
                    <a:gd name="connsiteX83" fmla="*/ 90663 w 581025"/>
                    <a:gd name="connsiteY83" fmla="*/ 404395 h 504825"/>
                    <a:gd name="connsiteX84" fmla="*/ 94352 w 581025"/>
                    <a:gd name="connsiteY84" fmla="*/ 408090 h 504825"/>
                    <a:gd name="connsiteX85" fmla="*/ 101731 w 581025"/>
                    <a:gd name="connsiteY85" fmla="*/ 419158 h 504825"/>
                    <a:gd name="connsiteX86" fmla="*/ 105420 w 581025"/>
                    <a:gd name="connsiteY86" fmla="*/ 419158 h 504825"/>
                    <a:gd name="connsiteX87" fmla="*/ 109109 w 581025"/>
                    <a:gd name="connsiteY87" fmla="*/ 419158 h 504825"/>
                    <a:gd name="connsiteX88" fmla="*/ 112798 w 581025"/>
                    <a:gd name="connsiteY88" fmla="*/ 419158 h 504825"/>
                    <a:gd name="connsiteX89" fmla="*/ 112798 w 581025"/>
                    <a:gd name="connsiteY89" fmla="*/ 422854 h 504825"/>
                    <a:gd name="connsiteX90" fmla="*/ 120176 w 581025"/>
                    <a:gd name="connsiteY90" fmla="*/ 422854 h 504825"/>
                    <a:gd name="connsiteX91" fmla="*/ 123866 w 581025"/>
                    <a:gd name="connsiteY91" fmla="*/ 430227 h 504825"/>
                    <a:gd name="connsiteX92" fmla="*/ 127555 w 581025"/>
                    <a:gd name="connsiteY92" fmla="*/ 433922 h 504825"/>
                    <a:gd name="connsiteX93" fmla="*/ 131244 w 581025"/>
                    <a:gd name="connsiteY93" fmla="*/ 433922 h 504825"/>
                    <a:gd name="connsiteX94" fmla="*/ 134933 w 581025"/>
                    <a:gd name="connsiteY94" fmla="*/ 433922 h 504825"/>
                    <a:gd name="connsiteX95" fmla="*/ 131244 w 581025"/>
                    <a:gd name="connsiteY95" fmla="*/ 437608 h 504825"/>
                    <a:gd name="connsiteX96" fmla="*/ 127555 w 581025"/>
                    <a:gd name="connsiteY96" fmla="*/ 437608 h 504825"/>
                    <a:gd name="connsiteX97" fmla="*/ 131244 w 581025"/>
                    <a:gd name="connsiteY97" fmla="*/ 444990 h 504825"/>
                    <a:gd name="connsiteX98" fmla="*/ 134933 w 581025"/>
                    <a:gd name="connsiteY98" fmla="*/ 448686 h 504825"/>
                    <a:gd name="connsiteX99" fmla="*/ 146001 w 581025"/>
                    <a:gd name="connsiteY99" fmla="*/ 452372 h 504825"/>
                    <a:gd name="connsiteX100" fmla="*/ 146001 w 581025"/>
                    <a:gd name="connsiteY100" fmla="*/ 456068 h 504825"/>
                    <a:gd name="connsiteX101" fmla="*/ 153380 w 581025"/>
                    <a:gd name="connsiteY101" fmla="*/ 456068 h 504825"/>
                    <a:gd name="connsiteX102" fmla="*/ 160758 w 581025"/>
                    <a:gd name="connsiteY102" fmla="*/ 459754 h 504825"/>
                    <a:gd name="connsiteX103" fmla="*/ 168136 w 581025"/>
                    <a:gd name="connsiteY103" fmla="*/ 459754 h 504825"/>
                    <a:gd name="connsiteX104" fmla="*/ 168136 w 581025"/>
                    <a:gd name="connsiteY104" fmla="*/ 463450 h 504825"/>
                    <a:gd name="connsiteX105" fmla="*/ 182893 w 581025"/>
                    <a:gd name="connsiteY105" fmla="*/ 467136 h 504825"/>
                    <a:gd name="connsiteX106" fmla="*/ 190271 w 581025"/>
                    <a:gd name="connsiteY106" fmla="*/ 474518 h 504825"/>
                    <a:gd name="connsiteX107" fmla="*/ 193961 w 581025"/>
                    <a:gd name="connsiteY107" fmla="*/ 474518 h 504825"/>
                    <a:gd name="connsiteX108" fmla="*/ 201339 w 581025"/>
                    <a:gd name="connsiteY108" fmla="*/ 478204 h 504825"/>
                    <a:gd name="connsiteX109" fmla="*/ 212406 w 581025"/>
                    <a:gd name="connsiteY109" fmla="*/ 485586 h 504825"/>
                    <a:gd name="connsiteX110" fmla="*/ 216096 w 581025"/>
                    <a:gd name="connsiteY110" fmla="*/ 485586 h 504825"/>
                    <a:gd name="connsiteX111" fmla="*/ 219785 w 581025"/>
                    <a:gd name="connsiteY111" fmla="*/ 489281 h 504825"/>
                    <a:gd name="connsiteX112" fmla="*/ 227163 w 581025"/>
                    <a:gd name="connsiteY112" fmla="*/ 489281 h 504825"/>
                    <a:gd name="connsiteX113" fmla="*/ 227163 w 581025"/>
                    <a:gd name="connsiteY113" fmla="*/ 492968 h 504825"/>
                    <a:gd name="connsiteX114" fmla="*/ 241920 w 581025"/>
                    <a:gd name="connsiteY114" fmla="*/ 492968 h 504825"/>
                    <a:gd name="connsiteX115" fmla="*/ 245609 w 581025"/>
                    <a:gd name="connsiteY115" fmla="*/ 492968 h 504825"/>
                    <a:gd name="connsiteX116" fmla="*/ 252987 w 581025"/>
                    <a:gd name="connsiteY116" fmla="*/ 496663 h 504825"/>
                    <a:gd name="connsiteX117" fmla="*/ 256676 w 581025"/>
                    <a:gd name="connsiteY117" fmla="*/ 496663 h 504825"/>
                    <a:gd name="connsiteX118" fmla="*/ 260365 w 581025"/>
                    <a:gd name="connsiteY118" fmla="*/ 496663 h 504825"/>
                    <a:gd name="connsiteX119" fmla="*/ 264055 w 581025"/>
                    <a:gd name="connsiteY119" fmla="*/ 500350 h 504825"/>
                    <a:gd name="connsiteX120" fmla="*/ 267744 w 581025"/>
                    <a:gd name="connsiteY120" fmla="*/ 500350 h 504825"/>
                    <a:gd name="connsiteX121" fmla="*/ 271433 w 581025"/>
                    <a:gd name="connsiteY121" fmla="*/ 504045 h 504825"/>
                    <a:gd name="connsiteX122" fmla="*/ 275122 w 581025"/>
                    <a:gd name="connsiteY122" fmla="*/ 504045 h 504825"/>
                    <a:gd name="connsiteX123" fmla="*/ 282500 w 581025"/>
                    <a:gd name="connsiteY123" fmla="*/ 500350 h 504825"/>
                    <a:gd name="connsiteX124" fmla="*/ 286190 w 581025"/>
                    <a:gd name="connsiteY124" fmla="*/ 500350 h 504825"/>
                    <a:gd name="connsiteX125" fmla="*/ 297258 w 581025"/>
                    <a:gd name="connsiteY125" fmla="*/ 496663 h 504825"/>
                    <a:gd name="connsiteX126" fmla="*/ 300947 w 581025"/>
                    <a:gd name="connsiteY126" fmla="*/ 496663 h 504825"/>
                    <a:gd name="connsiteX127" fmla="*/ 304636 w 581025"/>
                    <a:gd name="connsiteY127" fmla="*/ 492968 h 504825"/>
                    <a:gd name="connsiteX128" fmla="*/ 312015 w 581025"/>
                    <a:gd name="connsiteY128" fmla="*/ 492968 h 504825"/>
                    <a:gd name="connsiteX129" fmla="*/ 315704 w 581025"/>
                    <a:gd name="connsiteY129" fmla="*/ 485586 h 504825"/>
                    <a:gd name="connsiteX130" fmla="*/ 319393 w 581025"/>
                    <a:gd name="connsiteY130" fmla="*/ 489281 h 504825"/>
                    <a:gd name="connsiteX131" fmla="*/ 323082 w 581025"/>
                    <a:gd name="connsiteY131" fmla="*/ 489281 h 504825"/>
                    <a:gd name="connsiteX132" fmla="*/ 330460 w 581025"/>
                    <a:gd name="connsiteY132" fmla="*/ 485586 h 504825"/>
                    <a:gd name="connsiteX133" fmla="*/ 330460 w 581025"/>
                    <a:gd name="connsiteY133" fmla="*/ 489281 h 504825"/>
                    <a:gd name="connsiteX134" fmla="*/ 345217 w 581025"/>
                    <a:gd name="connsiteY134" fmla="*/ 485586 h 504825"/>
                    <a:gd name="connsiteX135" fmla="*/ 348906 w 581025"/>
                    <a:gd name="connsiteY135" fmla="*/ 481900 h 504825"/>
                    <a:gd name="connsiteX136" fmla="*/ 352595 w 581025"/>
                    <a:gd name="connsiteY136" fmla="*/ 478204 h 504825"/>
                    <a:gd name="connsiteX137" fmla="*/ 359974 w 581025"/>
                    <a:gd name="connsiteY137" fmla="*/ 474518 h 504825"/>
                    <a:gd name="connsiteX138" fmla="*/ 371041 w 581025"/>
                    <a:gd name="connsiteY138" fmla="*/ 467136 h 504825"/>
                    <a:gd name="connsiteX139" fmla="*/ 374730 w 581025"/>
                    <a:gd name="connsiteY139" fmla="*/ 459754 h 504825"/>
                    <a:gd name="connsiteX140" fmla="*/ 378420 w 581025"/>
                    <a:gd name="connsiteY140" fmla="*/ 456068 h 504825"/>
                    <a:gd name="connsiteX141" fmla="*/ 382109 w 581025"/>
                    <a:gd name="connsiteY141" fmla="*/ 444990 h 504825"/>
                    <a:gd name="connsiteX142" fmla="*/ 385798 w 581025"/>
                    <a:gd name="connsiteY142" fmla="*/ 441304 h 504825"/>
                    <a:gd name="connsiteX143" fmla="*/ 389487 w 581025"/>
                    <a:gd name="connsiteY143" fmla="*/ 437608 h 504825"/>
                    <a:gd name="connsiteX144" fmla="*/ 389487 w 581025"/>
                    <a:gd name="connsiteY144" fmla="*/ 433922 h 504825"/>
                    <a:gd name="connsiteX145" fmla="*/ 393176 w 581025"/>
                    <a:gd name="connsiteY145" fmla="*/ 430227 h 504825"/>
                    <a:gd name="connsiteX146" fmla="*/ 396865 w 581025"/>
                    <a:gd name="connsiteY146" fmla="*/ 430227 h 504825"/>
                    <a:gd name="connsiteX147" fmla="*/ 404244 w 581025"/>
                    <a:gd name="connsiteY147" fmla="*/ 426540 h 504825"/>
                    <a:gd name="connsiteX148" fmla="*/ 411622 w 581025"/>
                    <a:gd name="connsiteY148" fmla="*/ 426540 h 504825"/>
                    <a:gd name="connsiteX149" fmla="*/ 419000 w 581025"/>
                    <a:gd name="connsiteY149" fmla="*/ 426540 h 504825"/>
                    <a:gd name="connsiteX150" fmla="*/ 426379 w 581025"/>
                    <a:gd name="connsiteY150" fmla="*/ 426540 h 504825"/>
                    <a:gd name="connsiteX151" fmla="*/ 430068 w 581025"/>
                    <a:gd name="connsiteY151" fmla="*/ 426540 h 504825"/>
                    <a:gd name="connsiteX152" fmla="*/ 437446 w 581025"/>
                    <a:gd name="connsiteY152" fmla="*/ 422854 h 504825"/>
                    <a:gd name="connsiteX153" fmla="*/ 441136 w 581025"/>
                    <a:gd name="connsiteY153" fmla="*/ 422854 h 504825"/>
                    <a:gd name="connsiteX154" fmla="*/ 448515 w 581025"/>
                    <a:gd name="connsiteY154" fmla="*/ 411777 h 504825"/>
                    <a:gd name="connsiteX155" fmla="*/ 452204 w 581025"/>
                    <a:gd name="connsiteY155" fmla="*/ 411777 h 504825"/>
                    <a:gd name="connsiteX156" fmla="*/ 459582 w 581025"/>
                    <a:gd name="connsiteY156" fmla="*/ 408090 h 504825"/>
                    <a:gd name="connsiteX157" fmla="*/ 463271 w 581025"/>
                    <a:gd name="connsiteY157" fmla="*/ 404395 h 504825"/>
                    <a:gd name="connsiteX158" fmla="*/ 470650 w 581025"/>
                    <a:gd name="connsiteY158" fmla="*/ 404395 h 504825"/>
                    <a:gd name="connsiteX159" fmla="*/ 474339 w 581025"/>
                    <a:gd name="connsiteY159" fmla="*/ 404395 h 504825"/>
                    <a:gd name="connsiteX160" fmla="*/ 478028 w 581025"/>
                    <a:gd name="connsiteY160" fmla="*/ 404395 h 504825"/>
                    <a:gd name="connsiteX161" fmla="*/ 485406 w 581025"/>
                    <a:gd name="connsiteY161" fmla="*/ 408090 h 504825"/>
                    <a:gd name="connsiteX162" fmla="*/ 492784 w 581025"/>
                    <a:gd name="connsiteY162" fmla="*/ 408090 h 504825"/>
                    <a:gd name="connsiteX163" fmla="*/ 496474 w 581025"/>
                    <a:gd name="connsiteY163" fmla="*/ 408090 h 504825"/>
                    <a:gd name="connsiteX164" fmla="*/ 500163 w 581025"/>
                    <a:gd name="connsiteY164" fmla="*/ 411777 h 504825"/>
                    <a:gd name="connsiteX165" fmla="*/ 507541 w 581025"/>
                    <a:gd name="connsiteY165" fmla="*/ 411777 h 504825"/>
                    <a:gd name="connsiteX166" fmla="*/ 511230 w 581025"/>
                    <a:gd name="connsiteY166" fmla="*/ 411777 h 504825"/>
                    <a:gd name="connsiteX167" fmla="*/ 518609 w 581025"/>
                    <a:gd name="connsiteY167" fmla="*/ 411777 h 504825"/>
                    <a:gd name="connsiteX168" fmla="*/ 518609 w 581025"/>
                    <a:gd name="connsiteY168" fmla="*/ 408090 h 504825"/>
                    <a:gd name="connsiteX169" fmla="*/ 522298 w 581025"/>
                    <a:gd name="connsiteY169" fmla="*/ 393327 h 504825"/>
                    <a:gd name="connsiteX170" fmla="*/ 514919 w 581025"/>
                    <a:gd name="connsiteY170" fmla="*/ 393327 h 504825"/>
                    <a:gd name="connsiteX171" fmla="*/ 511230 w 581025"/>
                    <a:gd name="connsiteY171" fmla="*/ 393327 h 504825"/>
                    <a:gd name="connsiteX172" fmla="*/ 507541 w 581025"/>
                    <a:gd name="connsiteY172" fmla="*/ 393327 h 504825"/>
                    <a:gd name="connsiteX173" fmla="*/ 503852 w 581025"/>
                    <a:gd name="connsiteY173" fmla="*/ 389631 h 504825"/>
                    <a:gd name="connsiteX174" fmla="*/ 507541 w 581025"/>
                    <a:gd name="connsiteY174" fmla="*/ 389631 h 504825"/>
                    <a:gd name="connsiteX175" fmla="*/ 503852 w 581025"/>
                    <a:gd name="connsiteY175" fmla="*/ 385945 h 504825"/>
                    <a:gd name="connsiteX176" fmla="*/ 503852 w 581025"/>
                    <a:gd name="connsiteY176" fmla="*/ 382249 h 504825"/>
                    <a:gd name="connsiteX177" fmla="*/ 503852 w 581025"/>
                    <a:gd name="connsiteY177" fmla="*/ 378563 h 504825"/>
                    <a:gd name="connsiteX178" fmla="*/ 507541 w 581025"/>
                    <a:gd name="connsiteY178" fmla="*/ 382249 h 504825"/>
                    <a:gd name="connsiteX179" fmla="*/ 514919 w 581025"/>
                    <a:gd name="connsiteY179" fmla="*/ 378563 h 504825"/>
                    <a:gd name="connsiteX180" fmla="*/ 518609 w 581025"/>
                    <a:gd name="connsiteY180" fmla="*/ 382249 h 504825"/>
                    <a:gd name="connsiteX181" fmla="*/ 529676 w 581025"/>
                    <a:gd name="connsiteY181" fmla="*/ 378563 h 504825"/>
                    <a:gd name="connsiteX182" fmla="*/ 533365 w 581025"/>
                    <a:gd name="connsiteY182" fmla="*/ 382249 h 504825"/>
                    <a:gd name="connsiteX183" fmla="*/ 537054 w 581025"/>
                    <a:gd name="connsiteY183" fmla="*/ 382249 h 504825"/>
                    <a:gd name="connsiteX184" fmla="*/ 537054 w 581025"/>
                    <a:gd name="connsiteY184" fmla="*/ 378563 h 504825"/>
                    <a:gd name="connsiteX185" fmla="*/ 533365 w 581025"/>
                    <a:gd name="connsiteY185" fmla="*/ 374877 h 504825"/>
                    <a:gd name="connsiteX186" fmla="*/ 533365 w 581025"/>
                    <a:gd name="connsiteY186" fmla="*/ 371181 h 504825"/>
                    <a:gd name="connsiteX187" fmla="*/ 533365 w 581025"/>
                    <a:gd name="connsiteY187" fmla="*/ 367495 h 504825"/>
                    <a:gd name="connsiteX188" fmla="*/ 537054 w 581025"/>
                    <a:gd name="connsiteY188" fmla="*/ 367495 h 504825"/>
                    <a:gd name="connsiteX189" fmla="*/ 540744 w 581025"/>
                    <a:gd name="connsiteY189" fmla="*/ 367495 h 504825"/>
                    <a:gd name="connsiteX190" fmla="*/ 544433 w 581025"/>
                    <a:gd name="connsiteY190" fmla="*/ 367495 h 504825"/>
                    <a:gd name="connsiteX191" fmla="*/ 548122 w 581025"/>
                    <a:gd name="connsiteY191" fmla="*/ 363799 h 504825"/>
                    <a:gd name="connsiteX192" fmla="*/ 548122 w 581025"/>
                    <a:gd name="connsiteY192" fmla="*/ 356417 h 504825"/>
                    <a:gd name="connsiteX193" fmla="*/ 551811 w 581025"/>
                    <a:gd name="connsiteY193" fmla="*/ 356417 h 504825"/>
                    <a:gd name="connsiteX194" fmla="*/ 559189 w 581025"/>
                    <a:gd name="connsiteY194" fmla="*/ 356417 h 504825"/>
                    <a:gd name="connsiteX195" fmla="*/ 562879 w 581025"/>
                    <a:gd name="connsiteY195" fmla="*/ 356417 h 504825"/>
                    <a:gd name="connsiteX196" fmla="*/ 562879 w 581025"/>
                    <a:gd name="connsiteY196" fmla="*/ 352731 h 504825"/>
                    <a:gd name="connsiteX197" fmla="*/ 566568 w 581025"/>
                    <a:gd name="connsiteY197" fmla="*/ 349035 h 504825"/>
                    <a:gd name="connsiteX198" fmla="*/ 570257 w 581025"/>
                    <a:gd name="connsiteY198" fmla="*/ 337967 h 504825"/>
                    <a:gd name="connsiteX199" fmla="*/ 570257 w 581025"/>
                    <a:gd name="connsiteY199" fmla="*/ 334272 h 504825"/>
                    <a:gd name="connsiteX200" fmla="*/ 573946 w 581025"/>
                    <a:gd name="connsiteY200" fmla="*/ 334272 h 504825"/>
                    <a:gd name="connsiteX201" fmla="*/ 577635 w 581025"/>
                    <a:gd name="connsiteY201" fmla="*/ 326899 h 504825"/>
                    <a:gd name="connsiteX202" fmla="*/ 581324 w 581025"/>
                    <a:gd name="connsiteY202" fmla="*/ 323204 h 504825"/>
                    <a:gd name="connsiteX203" fmla="*/ 577635 w 581025"/>
                    <a:gd name="connsiteY203" fmla="*/ 323204 h 504825"/>
                    <a:gd name="connsiteX204" fmla="*/ 581324 w 581025"/>
                    <a:gd name="connsiteY204" fmla="*/ 319517 h 504825"/>
                    <a:gd name="connsiteX205" fmla="*/ 577635 w 581025"/>
                    <a:gd name="connsiteY205" fmla="*/ 319517 h 504825"/>
                    <a:gd name="connsiteX206" fmla="*/ 573946 w 581025"/>
                    <a:gd name="connsiteY206" fmla="*/ 319517 h 504825"/>
                    <a:gd name="connsiteX207" fmla="*/ 570257 w 581025"/>
                    <a:gd name="connsiteY207" fmla="*/ 319517 h 504825"/>
                    <a:gd name="connsiteX208" fmla="*/ 555500 w 581025"/>
                    <a:gd name="connsiteY208" fmla="*/ 312136 h 504825"/>
                    <a:gd name="connsiteX209" fmla="*/ 548122 w 581025"/>
                    <a:gd name="connsiteY209" fmla="*/ 308440 h 504825"/>
                    <a:gd name="connsiteX210" fmla="*/ 533365 w 581025"/>
                    <a:gd name="connsiteY210" fmla="*/ 304754 h 504825"/>
                    <a:gd name="connsiteX211" fmla="*/ 537054 w 581025"/>
                    <a:gd name="connsiteY211" fmla="*/ 297372 h 504825"/>
                    <a:gd name="connsiteX212" fmla="*/ 533365 w 581025"/>
                    <a:gd name="connsiteY212" fmla="*/ 286294 h 504825"/>
                    <a:gd name="connsiteX213" fmla="*/ 529676 w 581025"/>
                    <a:gd name="connsiteY213" fmla="*/ 286294 h 504825"/>
                    <a:gd name="connsiteX214" fmla="*/ 525987 w 581025"/>
                    <a:gd name="connsiteY214" fmla="*/ 286294 h 504825"/>
                    <a:gd name="connsiteX215" fmla="*/ 525987 w 581025"/>
                    <a:gd name="connsiteY215" fmla="*/ 289990 h 504825"/>
                    <a:gd name="connsiteX216" fmla="*/ 522298 w 581025"/>
                    <a:gd name="connsiteY216" fmla="*/ 293676 h 504825"/>
                    <a:gd name="connsiteX217" fmla="*/ 518609 w 581025"/>
                    <a:gd name="connsiteY217" fmla="*/ 293676 h 504825"/>
                    <a:gd name="connsiteX218" fmla="*/ 511230 w 581025"/>
                    <a:gd name="connsiteY218" fmla="*/ 286294 h 504825"/>
                    <a:gd name="connsiteX219" fmla="*/ 507541 w 581025"/>
                    <a:gd name="connsiteY219" fmla="*/ 286294 h 504825"/>
                    <a:gd name="connsiteX220" fmla="*/ 503852 w 581025"/>
                    <a:gd name="connsiteY220" fmla="*/ 286294 h 504825"/>
                    <a:gd name="connsiteX221" fmla="*/ 500163 w 581025"/>
                    <a:gd name="connsiteY221" fmla="*/ 289990 h 504825"/>
                    <a:gd name="connsiteX222" fmla="*/ 496474 w 581025"/>
                    <a:gd name="connsiteY222" fmla="*/ 293676 h 504825"/>
                    <a:gd name="connsiteX223" fmla="*/ 496474 w 581025"/>
                    <a:gd name="connsiteY223" fmla="*/ 297372 h 504825"/>
                    <a:gd name="connsiteX224" fmla="*/ 492784 w 581025"/>
                    <a:gd name="connsiteY224" fmla="*/ 301058 h 504825"/>
                    <a:gd name="connsiteX225" fmla="*/ 489095 w 581025"/>
                    <a:gd name="connsiteY225" fmla="*/ 301058 h 504825"/>
                    <a:gd name="connsiteX226" fmla="*/ 485406 w 581025"/>
                    <a:gd name="connsiteY226" fmla="*/ 297372 h 504825"/>
                    <a:gd name="connsiteX227" fmla="*/ 481717 w 581025"/>
                    <a:gd name="connsiteY227" fmla="*/ 297372 h 504825"/>
                    <a:gd name="connsiteX228" fmla="*/ 478028 w 581025"/>
                    <a:gd name="connsiteY228" fmla="*/ 297372 h 504825"/>
                    <a:gd name="connsiteX229" fmla="*/ 474339 w 581025"/>
                    <a:gd name="connsiteY229" fmla="*/ 301058 h 504825"/>
                    <a:gd name="connsiteX230" fmla="*/ 470650 w 581025"/>
                    <a:gd name="connsiteY230" fmla="*/ 308440 h 504825"/>
                    <a:gd name="connsiteX231" fmla="*/ 466960 w 581025"/>
                    <a:gd name="connsiteY231" fmla="*/ 308440 h 504825"/>
                    <a:gd name="connsiteX232" fmla="*/ 466960 w 581025"/>
                    <a:gd name="connsiteY232" fmla="*/ 312136 h 504825"/>
                    <a:gd name="connsiteX233" fmla="*/ 463271 w 581025"/>
                    <a:gd name="connsiteY233" fmla="*/ 312136 h 504825"/>
                    <a:gd name="connsiteX234" fmla="*/ 459582 w 581025"/>
                    <a:gd name="connsiteY234" fmla="*/ 315822 h 504825"/>
                    <a:gd name="connsiteX235" fmla="*/ 455893 w 581025"/>
                    <a:gd name="connsiteY235" fmla="*/ 315822 h 504825"/>
                    <a:gd name="connsiteX236" fmla="*/ 448515 w 581025"/>
                    <a:gd name="connsiteY236" fmla="*/ 315822 h 504825"/>
                    <a:gd name="connsiteX237" fmla="*/ 444825 w 581025"/>
                    <a:gd name="connsiteY237" fmla="*/ 315822 h 504825"/>
                    <a:gd name="connsiteX238" fmla="*/ 444825 w 581025"/>
                    <a:gd name="connsiteY238" fmla="*/ 312136 h 504825"/>
                    <a:gd name="connsiteX239" fmla="*/ 444825 w 581025"/>
                    <a:gd name="connsiteY239" fmla="*/ 304754 h 504825"/>
                    <a:gd name="connsiteX240" fmla="*/ 441136 w 581025"/>
                    <a:gd name="connsiteY240" fmla="*/ 301058 h 504825"/>
                    <a:gd name="connsiteX241" fmla="*/ 441136 w 581025"/>
                    <a:gd name="connsiteY241" fmla="*/ 297372 h 504825"/>
                    <a:gd name="connsiteX242" fmla="*/ 437446 w 581025"/>
                    <a:gd name="connsiteY242" fmla="*/ 293676 h 504825"/>
                    <a:gd name="connsiteX243" fmla="*/ 433757 w 581025"/>
                    <a:gd name="connsiteY243" fmla="*/ 289990 h 504825"/>
                    <a:gd name="connsiteX244" fmla="*/ 430068 w 581025"/>
                    <a:gd name="connsiteY244" fmla="*/ 286294 h 504825"/>
                    <a:gd name="connsiteX245" fmla="*/ 426379 w 581025"/>
                    <a:gd name="connsiteY245" fmla="*/ 278922 h 504825"/>
                    <a:gd name="connsiteX246" fmla="*/ 422689 w 581025"/>
                    <a:gd name="connsiteY246" fmla="*/ 271540 h 504825"/>
                    <a:gd name="connsiteX247" fmla="*/ 419000 w 581025"/>
                    <a:gd name="connsiteY247" fmla="*/ 267844 h 504825"/>
                    <a:gd name="connsiteX248" fmla="*/ 433757 w 581025"/>
                    <a:gd name="connsiteY248" fmla="*/ 264158 h 504825"/>
                    <a:gd name="connsiteX249" fmla="*/ 437446 w 581025"/>
                    <a:gd name="connsiteY249" fmla="*/ 264158 h 504825"/>
                    <a:gd name="connsiteX250" fmla="*/ 433757 w 581025"/>
                    <a:gd name="connsiteY250" fmla="*/ 253081 h 504825"/>
                    <a:gd name="connsiteX251" fmla="*/ 430068 w 581025"/>
                    <a:gd name="connsiteY251" fmla="*/ 253081 h 504825"/>
                    <a:gd name="connsiteX252" fmla="*/ 426379 w 581025"/>
                    <a:gd name="connsiteY252" fmla="*/ 253081 h 504825"/>
                    <a:gd name="connsiteX253" fmla="*/ 422689 w 581025"/>
                    <a:gd name="connsiteY253" fmla="*/ 253081 h 504825"/>
                    <a:gd name="connsiteX254" fmla="*/ 419000 w 581025"/>
                    <a:gd name="connsiteY254" fmla="*/ 253081 h 504825"/>
                    <a:gd name="connsiteX255" fmla="*/ 415311 w 581025"/>
                    <a:gd name="connsiteY255" fmla="*/ 256776 h 504825"/>
                    <a:gd name="connsiteX256" fmla="*/ 411622 w 581025"/>
                    <a:gd name="connsiteY256" fmla="*/ 256776 h 504825"/>
                    <a:gd name="connsiteX257" fmla="*/ 407933 w 581025"/>
                    <a:gd name="connsiteY257" fmla="*/ 249394 h 504825"/>
                    <a:gd name="connsiteX258" fmla="*/ 411622 w 581025"/>
                    <a:gd name="connsiteY258" fmla="*/ 245699 h 504825"/>
                    <a:gd name="connsiteX259" fmla="*/ 411622 w 581025"/>
                    <a:gd name="connsiteY259" fmla="*/ 242013 h 504825"/>
                    <a:gd name="connsiteX260" fmla="*/ 415311 w 581025"/>
                    <a:gd name="connsiteY260" fmla="*/ 242013 h 504825"/>
                    <a:gd name="connsiteX261" fmla="*/ 419000 w 581025"/>
                    <a:gd name="connsiteY261" fmla="*/ 238317 h 504825"/>
                    <a:gd name="connsiteX262" fmla="*/ 422689 w 581025"/>
                    <a:gd name="connsiteY262" fmla="*/ 227249 h 504825"/>
                    <a:gd name="connsiteX263" fmla="*/ 433757 w 581025"/>
                    <a:gd name="connsiteY263" fmla="*/ 219867 h 504825"/>
                    <a:gd name="connsiteX264" fmla="*/ 437446 w 581025"/>
                    <a:gd name="connsiteY264" fmla="*/ 219867 h 504825"/>
                    <a:gd name="connsiteX265" fmla="*/ 441136 w 581025"/>
                    <a:gd name="connsiteY265" fmla="*/ 216181 h 504825"/>
                    <a:gd name="connsiteX266" fmla="*/ 444825 w 581025"/>
                    <a:gd name="connsiteY266" fmla="*/ 212485 h 504825"/>
                    <a:gd name="connsiteX267" fmla="*/ 430068 w 581025"/>
                    <a:gd name="connsiteY267" fmla="*/ 212485 h 504825"/>
                    <a:gd name="connsiteX268" fmla="*/ 422689 w 581025"/>
                    <a:gd name="connsiteY268" fmla="*/ 212485 h 504825"/>
                    <a:gd name="connsiteX269" fmla="*/ 426379 w 581025"/>
                    <a:gd name="connsiteY269" fmla="*/ 208799 h 504825"/>
                    <a:gd name="connsiteX270" fmla="*/ 422689 w 581025"/>
                    <a:gd name="connsiteY270" fmla="*/ 208799 h 504825"/>
                    <a:gd name="connsiteX271" fmla="*/ 422689 w 581025"/>
                    <a:gd name="connsiteY271" fmla="*/ 205103 h 504825"/>
                    <a:gd name="connsiteX272" fmla="*/ 419000 w 581025"/>
                    <a:gd name="connsiteY272" fmla="*/ 194035 h 504825"/>
                    <a:gd name="connsiteX273" fmla="*/ 419000 w 581025"/>
                    <a:gd name="connsiteY273" fmla="*/ 182967 h 504825"/>
                    <a:gd name="connsiteX274" fmla="*/ 422689 w 581025"/>
                    <a:gd name="connsiteY274" fmla="*/ 182967 h 504825"/>
                    <a:gd name="connsiteX275" fmla="*/ 419000 w 581025"/>
                    <a:gd name="connsiteY275" fmla="*/ 179271 h 504825"/>
                    <a:gd name="connsiteX276" fmla="*/ 404244 w 581025"/>
                    <a:gd name="connsiteY276" fmla="*/ 171889 h 504825"/>
                    <a:gd name="connsiteX277" fmla="*/ 404244 w 581025"/>
                    <a:gd name="connsiteY277" fmla="*/ 168203 h 504825"/>
                    <a:gd name="connsiteX278" fmla="*/ 407933 w 581025"/>
                    <a:gd name="connsiteY278" fmla="*/ 168203 h 504825"/>
                    <a:gd name="connsiteX279" fmla="*/ 411622 w 581025"/>
                    <a:gd name="connsiteY279" fmla="*/ 168203 h 504825"/>
                    <a:gd name="connsiteX280" fmla="*/ 411622 w 581025"/>
                    <a:gd name="connsiteY280" fmla="*/ 164508 h 504825"/>
                    <a:gd name="connsiteX281" fmla="*/ 415311 w 581025"/>
                    <a:gd name="connsiteY281" fmla="*/ 160821 h 504825"/>
                    <a:gd name="connsiteX282" fmla="*/ 411622 w 581025"/>
                    <a:gd name="connsiteY282" fmla="*/ 160821 h 504825"/>
                    <a:gd name="connsiteX283" fmla="*/ 415311 w 581025"/>
                    <a:gd name="connsiteY283" fmla="*/ 157126 h 504825"/>
                    <a:gd name="connsiteX284" fmla="*/ 419000 w 581025"/>
                    <a:gd name="connsiteY284" fmla="*/ 153440 h 504825"/>
                    <a:gd name="connsiteX285" fmla="*/ 426379 w 581025"/>
                    <a:gd name="connsiteY285" fmla="*/ 153440 h 504825"/>
                    <a:gd name="connsiteX286" fmla="*/ 426379 w 581025"/>
                    <a:gd name="connsiteY286" fmla="*/ 157126 h 504825"/>
                    <a:gd name="connsiteX287" fmla="*/ 430068 w 581025"/>
                    <a:gd name="connsiteY287" fmla="*/ 157126 h 504825"/>
                    <a:gd name="connsiteX288" fmla="*/ 437446 w 581025"/>
                    <a:gd name="connsiteY288" fmla="*/ 157126 h 504825"/>
                    <a:gd name="connsiteX289" fmla="*/ 441136 w 581025"/>
                    <a:gd name="connsiteY289" fmla="*/ 157126 h 504825"/>
                    <a:gd name="connsiteX290" fmla="*/ 444825 w 581025"/>
                    <a:gd name="connsiteY290" fmla="*/ 157126 h 504825"/>
                    <a:gd name="connsiteX291" fmla="*/ 444825 w 581025"/>
                    <a:gd name="connsiteY291" fmla="*/ 142362 h 504825"/>
                    <a:gd name="connsiteX292" fmla="*/ 455893 w 581025"/>
                    <a:gd name="connsiteY292" fmla="*/ 138676 h 504825"/>
                    <a:gd name="connsiteX293" fmla="*/ 441136 w 581025"/>
                    <a:gd name="connsiteY293" fmla="*/ 127608 h 504825"/>
                    <a:gd name="connsiteX294" fmla="*/ 437446 w 581025"/>
                    <a:gd name="connsiteY294" fmla="*/ 123912 h 504825"/>
                    <a:gd name="connsiteX295" fmla="*/ 430068 w 581025"/>
                    <a:gd name="connsiteY295" fmla="*/ 123912 h 504825"/>
                    <a:gd name="connsiteX296" fmla="*/ 426379 w 581025"/>
                    <a:gd name="connsiteY296" fmla="*/ 120226 h 504825"/>
                    <a:gd name="connsiteX297" fmla="*/ 422689 w 581025"/>
                    <a:gd name="connsiteY297" fmla="*/ 116530 h 504825"/>
                    <a:gd name="connsiteX298" fmla="*/ 422689 w 581025"/>
                    <a:gd name="connsiteY298" fmla="*/ 112844 h 504825"/>
                    <a:gd name="connsiteX299" fmla="*/ 419000 w 581025"/>
                    <a:gd name="connsiteY299" fmla="*/ 112844 h 504825"/>
                    <a:gd name="connsiteX300" fmla="*/ 415311 w 581025"/>
                    <a:gd name="connsiteY300" fmla="*/ 109148 h 504825"/>
                    <a:gd name="connsiteX301" fmla="*/ 415311 w 581025"/>
                    <a:gd name="connsiteY301" fmla="*/ 105462 h 504825"/>
                    <a:gd name="connsiteX302" fmla="*/ 411622 w 581025"/>
                    <a:gd name="connsiteY302" fmla="*/ 105462 h 504825"/>
                    <a:gd name="connsiteX303" fmla="*/ 411622 w 581025"/>
                    <a:gd name="connsiteY303" fmla="*/ 101766 h 504825"/>
                    <a:gd name="connsiteX304" fmla="*/ 411622 w 581025"/>
                    <a:gd name="connsiteY304" fmla="*/ 94385 h 504825"/>
                    <a:gd name="connsiteX305" fmla="*/ 407933 w 581025"/>
                    <a:gd name="connsiteY305" fmla="*/ 90698 h 504825"/>
                    <a:gd name="connsiteX306" fmla="*/ 407933 w 581025"/>
                    <a:gd name="connsiteY306" fmla="*/ 87012 h 504825"/>
                    <a:gd name="connsiteX307" fmla="*/ 404244 w 581025"/>
                    <a:gd name="connsiteY307" fmla="*/ 87012 h 504825"/>
                    <a:gd name="connsiteX308" fmla="*/ 400554 w 581025"/>
                    <a:gd name="connsiteY308" fmla="*/ 87012 h 504825"/>
                    <a:gd name="connsiteX309" fmla="*/ 396865 w 581025"/>
                    <a:gd name="connsiteY309" fmla="*/ 87012 h 504825"/>
                    <a:gd name="connsiteX310" fmla="*/ 396865 w 581025"/>
                    <a:gd name="connsiteY310" fmla="*/ 90698 h 504825"/>
                    <a:gd name="connsiteX311" fmla="*/ 393176 w 581025"/>
                    <a:gd name="connsiteY311" fmla="*/ 94385 h 504825"/>
                    <a:gd name="connsiteX312" fmla="*/ 385798 w 581025"/>
                    <a:gd name="connsiteY312" fmla="*/ 94385 h 504825"/>
                    <a:gd name="connsiteX313" fmla="*/ 382109 w 581025"/>
                    <a:gd name="connsiteY313" fmla="*/ 94385 h 504825"/>
                    <a:gd name="connsiteX314" fmla="*/ 378420 w 581025"/>
                    <a:gd name="connsiteY314" fmla="*/ 101766 h 504825"/>
                    <a:gd name="connsiteX315" fmla="*/ 374730 w 581025"/>
                    <a:gd name="connsiteY315" fmla="*/ 98080 h 504825"/>
                    <a:gd name="connsiteX316" fmla="*/ 371041 w 581025"/>
                    <a:gd name="connsiteY316" fmla="*/ 94385 h 504825"/>
                    <a:gd name="connsiteX317" fmla="*/ 374730 w 581025"/>
                    <a:gd name="connsiteY317" fmla="*/ 83316 h 504825"/>
                    <a:gd name="connsiteX318" fmla="*/ 363663 w 581025"/>
                    <a:gd name="connsiteY318" fmla="*/ 79630 h 504825"/>
                    <a:gd name="connsiteX319" fmla="*/ 359974 w 581025"/>
                    <a:gd name="connsiteY319" fmla="*/ 83316 h 504825"/>
                    <a:gd name="connsiteX320" fmla="*/ 356285 w 581025"/>
                    <a:gd name="connsiteY320" fmla="*/ 87012 h 504825"/>
                    <a:gd name="connsiteX321" fmla="*/ 352595 w 581025"/>
                    <a:gd name="connsiteY321" fmla="*/ 87012 h 504825"/>
                    <a:gd name="connsiteX322" fmla="*/ 348906 w 581025"/>
                    <a:gd name="connsiteY322" fmla="*/ 87012 h 504825"/>
                    <a:gd name="connsiteX323" fmla="*/ 345217 w 581025"/>
                    <a:gd name="connsiteY323" fmla="*/ 83316 h 504825"/>
                    <a:gd name="connsiteX324" fmla="*/ 345217 w 581025"/>
                    <a:gd name="connsiteY324" fmla="*/ 87012 h 504825"/>
                    <a:gd name="connsiteX325" fmla="*/ 341528 w 581025"/>
                    <a:gd name="connsiteY325" fmla="*/ 87012 h 504825"/>
                    <a:gd name="connsiteX326" fmla="*/ 334150 w 581025"/>
                    <a:gd name="connsiteY326" fmla="*/ 90698 h 504825"/>
                    <a:gd name="connsiteX327" fmla="*/ 330460 w 581025"/>
                    <a:gd name="connsiteY327" fmla="*/ 94385 h 504825"/>
                    <a:gd name="connsiteX328" fmla="*/ 326771 w 581025"/>
                    <a:gd name="connsiteY328" fmla="*/ 94385 h 504825"/>
                    <a:gd name="connsiteX329" fmla="*/ 323082 w 581025"/>
                    <a:gd name="connsiteY329" fmla="*/ 94385 h 504825"/>
                    <a:gd name="connsiteX330" fmla="*/ 312015 w 581025"/>
                    <a:gd name="connsiteY330" fmla="*/ 94385 h 504825"/>
                    <a:gd name="connsiteX331" fmla="*/ 304636 w 581025"/>
                    <a:gd name="connsiteY331" fmla="*/ 90698 h 504825"/>
                    <a:gd name="connsiteX332" fmla="*/ 300947 w 581025"/>
                    <a:gd name="connsiteY332" fmla="*/ 94385 h 504825"/>
                    <a:gd name="connsiteX333" fmla="*/ 297258 w 581025"/>
                    <a:gd name="connsiteY333" fmla="*/ 94385 h 504825"/>
                    <a:gd name="connsiteX334" fmla="*/ 293568 w 581025"/>
                    <a:gd name="connsiteY334" fmla="*/ 90698 h 504825"/>
                    <a:gd name="connsiteX335" fmla="*/ 289879 w 581025"/>
                    <a:gd name="connsiteY335" fmla="*/ 90698 h 504825"/>
                    <a:gd name="connsiteX336" fmla="*/ 289879 w 581025"/>
                    <a:gd name="connsiteY336" fmla="*/ 87012 h 504825"/>
                    <a:gd name="connsiteX337" fmla="*/ 289879 w 581025"/>
                    <a:gd name="connsiteY337" fmla="*/ 83316 h 504825"/>
                    <a:gd name="connsiteX338" fmla="*/ 289879 w 581025"/>
                    <a:gd name="connsiteY338" fmla="*/ 79630 h 504825"/>
                    <a:gd name="connsiteX339" fmla="*/ 293568 w 581025"/>
                    <a:gd name="connsiteY339" fmla="*/ 79630 h 504825"/>
                    <a:gd name="connsiteX340" fmla="*/ 293568 w 581025"/>
                    <a:gd name="connsiteY340" fmla="*/ 75935 h 504825"/>
                    <a:gd name="connsiteX341" fmla="*/ 297258 w 581025"/>
                    <a:gd name="connsiteY341" fmla="*/ 72248 h 504825"/>
                    <a:gd name="connsiteX342" fmla="*/ 297258 w 581025"/>
                    <a:gd name="connsiteY342" fmla="*/ 64867 h 504825"/>
                    <a:gd name="connsiteX343" fmla="*/ 297258 w 581025"/>
                    <a:gd name="connsiteY343" fmla="*/ 61171 h 504825"/>
                    <a:gd name="connsiteX344" fmla="*/ 297258 w 581025"/>
                    <a:gd name="connsiteY344" fmla="*/ 57485 h 504825"/>
                    <a:gd name="connsiteX345" fmla="*/ 297258 w 581025"/>
                    <a:gd name="connsiteY345" fmla="*/ 53789 h 504825"/>
                    <a:gd name="connsiteX346" fmla="*/ 300947 w 581025"/>
                    <a:gd name="connsiteY346" fmla="*/ 50103 h 504825"/>
                    <a:gd name="connsiteX347" fmla="*/ 304636 w 581025"/>
                    <a:gd name="connsiteY347" fmla="*/ 46407 h 504825"/>
                    <a:gd name="connsiteX348" fmla="*/ 308326 w 581025"/>
                    <a:gd name="connsiteY348" fmla="*/ 42721 h 504825"/>
                    <a:gd name="connsiteX349" fmla="*/ 308326 w 581025"/>
                    <a:gd name="connsiteY349" fmla="*/ 39035 h 504825"/>
                    <a:gd name="connsiteX350" fmla="*/ 308326 w 581025"/>
                    <a:gd name="connsiteY350" fmla="*/ 35339 h 504825"/>
                    <a:gd name="connsiteX351" fmla="*/ 312015 w 581025"/>
                    <a:gd name="connsiteY351" fmla="*/ 35339 h 504825"/>
                    <a:gd name="connsiteX352" fmla="*/ 312015 w 581025"/>
                    <a:gd name="connsiteY352" fmla="*/ 27957 h 504825"/>
                    <a:gd name="connsiteX353" fmla="*/ 315704 w 581025"/>
                    <a:gd name="connsiteY353" fmla="*/ 24271 h 504825"/>
                    <a:gd name="connsiteX354" fmla="*/ 319393 w 581025"/>
                    <a:gd name="connsiteY354" fmla="*/ 16889 h 504825"/>
                    <a:gd name="connsiteX355" fmla="*/ 312015 w 581025"/>
                    <a:gd name="connsiteY355" fmla="*/ 13193 h 504825"/>
                    <a:gd name="connsiteX356" fmla="*/ 308326 w 581025"/>
                    <a:gd name="connsiteY356" fmla="*/ 13193 h 504825"/>
                    <a:gd name="connsiteX357" fmla="*/ 304636 w 581025"/>
                    <a:gd name="connsiteY357" fmla="*/ 13193 h 504825"/>
                    <a:gd name="connsiteX358" fmla="*/ 300947 w 581025"/>
                    <a:gd name="connsiteY358" fmla="*/ 16889 h 504825"/>
                    <a:gd name="connsiteX359" fmla="*/ 297258 w 581025"/>
                    <a:gd name="connsiteY359" fmla="*/ 13193 h 504825"/>
                    <a:gd name="connsiteX360" fmla="*/ 297258 w 581025"/>
                    <a:gd name="connsiteY360" fmla="*/ 20575 h 504825"/>
                    <a:gd name="connsiteX361" fmla="*/ 286190 w 581025"/>
                    <a:gd name="connsiteY361" fmla="*/ 16889 h 504825"/>
                    <a:gd name="connsiteX362" fmla="*/ 260365 w 581025"/>
                    <a:gd name="connsiteY362" fmla="*/ 5812 h 504825"/>
                    <a:gd name="connsiteX363" fmla="*/ 42704 w 581025"/>
                    <a:gd name="connsiteY363" fmla="*/ 389631 h 504825"/>
                    <a:gd name="connsiteX364" fmla="*/ 39015 w 581025"/>
                    <a:gd name="connsiteY364" fmla="*/ 393327 h 504825"/>
                    <a:gd name="connsiteX365" fmla="*/ 42704 w 581025"/>
                    <a:gd name="connsiteY365" fmla="*/ 393327 h 504825"/>
                    <a:gd name="connsiteX366" fmla="*/ 42704 w 581025"/>
                    <a:gd name="connsiteY366" fmla="*/ 389631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581025" h="504825">
                      <a:moveTo>
                        <a:pt x="260365" y="5812"/>
                      </a:moveTo>
                      <a:lnTo>
                        <a:pt x="238230" y="53789"/>
                      </a:lnTo>
                      <a:lnTo>
                        <a:pt x="230852" y="64867"/>
                      </a:lnTo>
                      <a:lnTo>
                        <a:pt x="227163" y="72248"/>
                      </a:lnTo>
                      <a:lnTo>
                        <a:pt x="216096" y="90698"/>
                      </a:lnTo>
                      <a:lnTo>
                        <a:pt x="212406" y="94385"/>
                      </a:lnTo>
                      <a:lnTo>
                        <a:pt x="212406" y="98080"/>
                      </a:lnTo>
                      <a:lnTo>
                        <a:pt x="205028" y="109148"/>
                      </a:lnTo>
                      <a:lnTo>
                        <a:pt x="201339" y="116530"/>
                      </a:lnTo>
                      <a:lnTo>
                        <a:pt x="190271" y="131294"/>
                      </a:lnTo>
                      <a:lnTo>
                        <a:pt x="168136" y="160821"/>
                      </a:lnTo>
                      <a:lnTo>
                        <a:pt x="157069" y="168203"/>
                      </a:lnTo>
                      <a:lnTo>
                        <a:pt x="157069" y="171889"/>
                      </a:lnTo>
                      <a:lnTo>
                        <a:pt x="149690" y="179271"/>
                      </a:lnTo>
                      <a:lnTo>
                        <a:pt x="146001" y="179271"/>
                      </a:lnTo>
                      <a:lnTo>
                        <a:pt x="146001" y="182967"/>
                      </a:lnTo>
                      <a:lnTo>
                        <a:pt x="146001" y="186653"/>
                      </a:lnTo>
                      <a:lnTo>
                        <a:pt x="149690" y="186653"/>
                      </a:lnTo>
                      <a:lnTo>
                        <a:pt x="146001" y="190339"/>
                      </a:lnTo>
                      <a:lnTo>
                        <a:pt x="146001" y="186653"/>
                      </a:lnTo>
                      <a:lnTo>
                        <a:pt x="142311" y="186653"/>
                      </a:lnTo>
                      <a:lnTo>
                        <a:pt x="138622" y="190339"/>
                      </a:lnTo>
                      <a:lnTo>
                        <a:pt x="134933" y="197721"/>
                      </a:lnTo>
                      <a:lnTo>
                        <a:pt x="131244" y="201417"/>
                      </a:lnTo>
                      <a:lnTo>
                        <a:pt x="120176" y="212485"/>
                      </a:lnTo>
                      <a:lnTo>
                        <a:pt x="112798" y="219867"/>
                      </a:lnTo>
                      <a:lnTo>
                        <a:pt x="101731" y="234631"/>
                      </a:lnTo>
                      <a:lnTo>
                        <a:pt x="98041" y="238317"/>
                      </a:lnTo>
                      <a:lnTo>
                        <a:pt x="90663" y="245699"/>
                      </a:lnTo>
                      <a:lnTo>
                        <a:pt x="86974" y="249394"/>
                      </a:lnTo>
                      <a:lnTo>
                        <a:pt x="86974" y="253081"/>
                      </a:lnTo>
                      <a:lnTo>
                        <a:pt x="79596" y="264158"/>
                      </a:lnTo>
                      <a:lnTo>
                        <a:pt x="72217" y="267844"/>
                      </a:lnTo>
                      <a:lnTo>
                        <a:pt x="64839" y="275226"/>
                      </a:lnTo>
                      <a:lnTo>
                        <a:pt x="61150" y="275226"/>
                      </a:lnTo>
                      <a:lnTo>
                        <a:pt x="57461" y="271540"/>
                      </a:lnTo>
                      <a:lnTo>
                        <a:pt x="39015" y="267844"/>
                      </a:lnTo>
                      <a:lnTo>
                        <a:pt x="35326" y="271540"/>
                      </a:lnTo>
                      <a:lnTo>
                        <a:pt x="31637" y="271540"/>
                      </a:lnTo>
                      <a:lnTo>
                        <a:pt x="27947" y="271540"/>
                      </a:lnTo>
                      <a:lnTo>
                        <a:pt x="24258" y="275226"/>
                      </a:lnTo>
                      <a:lnTo>
                        <a:pt x="24258" y="278922"/>
                      </a:lnTo>
                      <a:lnTo>
                        <a:pt x="20569" y="282608"/>
                      </a:lnTo>
                      <a:lnTo>
                        <a:pt x="16880" y="289990"/>
                      </a:lnTo>
                      <a:lnTo>
                        <a:pt x="20569" y="293676"/>
                      </a:lnTo>
                      <a:lnTo>
                        <a:pt x="24258" y="297372"/>
                      </a:lnTo>
                      <a:lnTo>
                        <a:pt x="24258" y="301058"/>
                      </a:lnTo>
                      <a:lnTo>
                        <a:pt x="16880" y="308440"/>
                      </a:lnTo>
                      <a:lnTo>
                        <a:pt x="13191" y="315822"/>
                      </a:lnTo>
                      <a:lnTo>
                        <a:pt x="5812" y="326899"/>
                      </a:lnTo>
                      <a:lnTo>
                        <a:pt x="9502" y="326899"/>
                      </a:lnTo>
                      <a:lnTo>
                        <a:pt x="13191" y="326899"/>
                      </a:lnTo>
                      <a:lnTo>
                        <a:pt x="16880" y="330585"/>
                      </a:lnTo>
                      <a:lnTo>
                        <a:pt x="20569" y="326899"/>
                      </a:lnTo>
                      <a:lnTo>
                        <a:pt x="35326" y="323204"/>
                      </a:lnTo>
                      <a:lnTo>
                        <a:pt x="39015" y="323204"/>
                      </a:lnTo>
                      <a:lnTo>
                        <a:pt x="42704" y="330585"/>
                      </a:lnTo>
                      <a:lnTo>
                        <a:pt x="39015" y="330585"/>
                      </a:lnTo>
                      <a:lnTo>
                        <a:pt x="39015" y="334272"/>
                      </a:lnTo>
                      <a:lnTo>
                        <a:pt x="31637" y="341654"/>
                      </a:lnTo>
                      <a:lnTo>
                        <a:pt x="31637" y="345349"/>
                      </a:lnTo>
                      <a:lnTo>
                        <a:pt x="27947" y="349035"/>
                      </a:lnTo>
                      <a:lnTo>
                        <a:pt x="27947" y="352731"/>
                      </a:lnTo>
                      <a:lnTo>
                        <a:pt x="31637" y="356417"/>
                      </a:lnTo>
                      <a:lnTo>
                        <a:pt x="46393" y="378563"/>
                      </a:lnTo>
                      <a:lnTo>
                        <a:pt x="46393" y="382249"/>
                      </a:lnTo>
                      <a:lnTo>
                        <a:pt x="46393" y="385945"/>
                      </a:lnTo>
                      <a:lnTo>
                        <a:pt x="42704" y="389631"/>
                      </a:lnTo>
                      <a:lnTo>
                        <a:pt x="50082" y="385945"/>
                      </a:lnTo>
                      <a:lnTo>
                        <a:pt x="53772" y="389631"/>
                      </a:lnTo>
                      <a:lnTo>
                        <a:pt x="57461" y="393327"/>
                      </a:lnTo>
                      <a:lnTo>
                        <a:pt x="61150" y="397013"/>
                      </a:lnTo>
                      <a:lnTo>
                        <a:pt x="61150" y="400709"/>
                      </a:lnTo>
                      <a:lnTo>
                        <a:pt x="64839" y="400709"/>
                      </a:lnTo>
                      <a:lnTo>
                        <a:pt x="68528" y="400709"/>
                      </a:lnTo>
                      <a:lnTo>
                        <a:pt x="72217" y="400709"/>
                      </a:lnTo>
                      <a:lnTo>
                        <a:pt x="75906" y="400709"/>
                      </a:lnTo>
                      <a:lnTo>
                        <a:pt x="72217" y="404395"/>
                      </a:lnTo>
                      <a:lnTo>
                        <a:pt x="75906" y="408090"/>
                      </a:lnTo>
                      <a:lnTo>
                        <a:pt x="79596" y="408090"/>
                      </a:lnTo>
                      <a:lnTo>
                        <a:pt x="79596" y="404395"/>
                      </a:lnTo>
                      <a:lnTo>
                        <a:pt x="83285" y="404395"/>
                      </a:lnTo>
                      <a:lnTo>
                        <a:pt x="86974" y="404395"/>
                      </a:lnTo>
                      <a:lnTo>
                        <a:pt x="90663" y="404395"/>
                      </a:lnTo>
                      <a:lnTo>
                        <a:pt x="94352" y="408090"/>
                      </a:lnTo>
                      <a:lnTo>
                        <a:pt x="101731" y="419158"/>
                      </a:lnTo>
                      <a:lnTo>
                        <a:pt x="105420" y="419158"/>
                      </a:lnTo>
                      <a:lnTo>
                        <a:pt x="109109" y="419158"/>
                      </a:lnTo>
                      <a:lnTo>
                        <a:pt x="112798" y="419158"/>
                      </a:lnTo>
                      <a:lnTo>
                        <a:pt x="112798" y="422854"/>
                      </a:lnTo>
                      <a:lnTo>
                        <a:pt x="120176" y="422854"/>
                      </a:lnTo>
                      <a:lnTo>
                        <a:pt x="123866" y="430227"/>
                      </a:lnTo>
                      <a:lnTo>
                        <a:pt x="127555" y="433922"/>
                      </a:lnTo>
                      <a:lnTo>
                        <a:pt x="131244" y="433922"/>
                      </a:lnTo>
                      <a:lnTo>
                        <a:pt x="134933" y="433922"/>
                      </a:lnTo>
                      <a:lnTo>
                        <a:pt x="131244" y="437608"/>
                      </a:lnTo>
                      <a:lnTo>
                        <a:pt x="127555" y="437608"/>
                      </a:lnTo>
                      <a:lnTo>
                        <a:pt x="131244" y="444990"/>
                      </a:lnTo>
                      <a:lnTo>
                        <a:pt x="134933" y="448686"/>
                      </a:lnTo>
                      <a:lnTo>
                        <a:pt x="146001" y="452372"/>
                      </a:lnTo>
                      <a:lnTo>
                        <a:pt x="146001" y="456068"/>
                      </a:lnTo>
                      <a:lnTo>
                        <a:pt x="153380" y="456068"/>
                      </a:lnTo>
                      <a:lnTo>
                        <a:pt x="160758" y="459754"/>
                      </a:lnTo>
                      <a:lnTo>
                        <a:pt x="168136" y="459754"/>
                      </a:lnTo>
                      <a:lnTo>
                        <a:pt x="168136" y="463450"/>
                      </a:lnTo>
                      <a:lnTo>
                        <a:pt x="182893" y="467136"/>
                      </a:lnTo>
                      <a:lnTo>
                        <a:pt x="190271" y="474518"/>
                      </a:lnTo>
                      <a:lnTo>
                        <a:pt x="193961" y="474518"/>
                      </a:lnTo>
                      <a:lnTo>
                        <a:pt x="201339" y="478204"/>
                      </a:lnTo>
                      <a:lnTo>
                        <a:pt x="212406" y="485586"/>
                      </a:lnTo>
                      <a:lnTo>
                        <a:pt x="216096" y="485586"/>
                      </a:lnTo>
                      <a:lnTo>
                        <a:pt x="219785" y="489281"/>
                      </a:lnTo>
                      <a:lnTo>
                        <a:pt x="227163" y="489281"/>
                      </a:lnTo>
                      <a:lnTo>
                        <a:pt x="227163" y="492968"/>
                      </a:lnTo>
                      <a:lnTo>
                        <a:pt x="241920" y="492968"/>
                      </a:lnTo>
                      <a:lnTo>
                        <a:pt x="245609" y="492968"/>
                      </a:lnTo>
                      <a:lnTo>
                        <a:pt x="252987" y="496663"/>
                      </a:lnTo>
                      <a:lnTo>
                        <a:pt x="256676" y="496663"/>
                      </a:lnTo>
                      <a:lnTo>
                        <a:pt x="260365" y="496663"/>
                      </a:lnTo>
                      <a:lnTo>
                        <a:pt x="264055" y="500350"/>
                      </a:lnTo>
                      <a:lnTo>
                        <a:pt x="267744" y="500350"/>
                      </a:lnTo>
                      <a:lnTo>
                        <a:pt x="271433" y="504045"/>
                      </a:lnTo>
                      <a:lnTo>
                        <a:pt x="275122" y="504045"/>
                      </a:lnTo>
                      <a:lnTo>
                        <a:pt x="282500" y="500350"/>
                      </a:lnTo>
                      <a:lnTo>
                        <a:pt x="286190" y="500350"/>
                      </a:lnTo>
                      <a:lnTo>
                        <a:pt x="297258" y="496663"/>
                      </a:lnTo>
                      <a:lnTo>
                        <a:pt x="300947" y="496663"/>
                      </a:lnTo>
                      <a:lnTo>
                        <a:pt x="304636" y="492968"/>
                      </a:lnTo>
                      <a:lnTo>
                        <a:pt x="312015" y="492968"/>
                      </a:lnTo>
                      <a:lnTo>
                        <a:pt x="315704" y="485586"/>
                      </a:lnTo>
                      <a:lnTo>
                        <a:pt x="319393" y="489281"/>
                      </a:lnTo>
                      <a:lnTo>
                        <a:pt x="323082" y="489281"/>
                      </a:lnTo>
                      <a:lnTo>
                        <a:pt x="330460" y="485586"/>
                      </a:lnTo>
                      <a:lnTo>
                        <a:pt x="330460" y="489281"/>
                      </a:lnTo>
                      <a:lnTo>
                        <a:pt x="345217" y="485586"/>
                      </a:lnTo>
                      <a:lnTo>
                        <a:pt x="348906" y="481900"/>
                      </a:lnTo>
                      <a:lnTo>
                        <a:pt x="352595" y="478204"/>
                      </a:lnTo>
                      <a:lnTo>
                        <a:pt x="359974" y="474518"/>
                      </a:lnTo>
                      <a:lnTo>
                        <a:pt x="371041" y="467136"/>
                      </a:lnTo>
                      <a:lnTo>
                        <a:pt x="374730" y="459754"/>
                      </a:lnTo>
                      <a:lnTo>
                        <a:pt x="378420" y="456068"/>
                      </a:lnTo>
                      <a:lnTo>
                        <a:pt x="382109" y="444990"/>
                      </a:lnTo>
                      <a:lnTo>
                        <a:pt x="385798" y="441304"/>
                      </a:lnTo>
                      <a:lnTo>
                        <a:pt x="389487" y="437608"/>
                      </a:lnTo>
                      <a:lnTo>
                        <a:pt x="389487" y="433922"/>
                      </a:lnTo>
                      <a:lnTo>
                        <a:pt x="393176" y="430227"/>
                      </a:lnTo>
                      <a:lnTo>
                        <a:pt x="396865" y="430227"/>
                      </a:lnTo>
                      <a:lnTo>
                        <a:pt x="404244" y="426540"/>
                      </a:lnTo>
                      <a:lnTo>
                        <a:pt x="411622" y="426540"/>
                      </a:lnTo>
                      <a:lnTo>
                        <a:pt x="419000" y="426540"/>
                      </a:lnTo>
                      <a:lnTo>
                        <a:pt x="426379" y="426540"/>
                      </a:lnTo>
                      <a:lnTo>
                        <a:pt x="430068" y="426540"/>
                      </a:lnTo>
                      <a:lnTo>
                        <a:pt x="437446" y="422854"/>
                      </a:lnTo>
                      <a:lnTo>
                        <a:pt x="441136" y="422854"/>
                      </a:lnTo>
                      <a:lnTo>
                        <a:pt x="448515" y="411777"/>
                      </a:lnTo>
                      <a:lnTo>
                        <a:pt x="452204" y="411777"/>
                      </a:lnTo>
                      <a:lnTo>
                        <a:pt x="459582" y="408090"/>
                      </a:lnTo>
                      <a:lnTo>
                        <a:pt x="463271" y="404395"/>
                      </a:lnTo>
                      <a:lnTo>
                        <a:pt x="470650" y="404395"/>
                      </a:lnTo>
                      <a:lnTo>
                        <a:pt x="474339" y="404395"/>
                      </a:lnTo>
                      <a:lnTo>
                        <a:pt x="478028" y="404395"/>
                      </a:lnTo>
                      <a:lnTo>
                        <a:pt x="485406" y="408090"/>
                      </a:lnTo>
                      <a:lnTo>
                        <a:pt x="492784" y="408090"/>
                      </a:lnTo>
                      <a:lnTo>
                        <a:pt x="496474" y="408090"/>
                      </a:lnTo>
                      <a:lnTo>
                        <a:pt x="500163" y="411777"/>
                      </a:lnTo>
                      <a:lnTo>
                        <a:pt x="507541" y="411777"/>
                      </a:lnTo>
                      <a:lnTo>
                        <a:pt x="511230" y="411777"/>
                      </a:lnTo>
                      <a:lnTo>
                        <a:pt x="518609" y="411777"/>
                      </a:lnTo>
                      <a:lnTo>
                        <a:pt x="518609" y="408090"/>
                      </a:lnTo>
                      <a:lnTo>
                        <a:pt x="522298" y="393327"/>
                      </a:lnTo>
                      <a:lnTo>
                        <a:pt x="514919" y="393327"/>
                      </a:lnTo>
                      <a:lnTo>
                        <a:pt x="511230" y="393327"/>
                      </a:lnTo>
                      <a:lnTo>
                        <a:pt x="507541" y="393327"/>
                      </a:lnTo>
                      <a:lnTo>
                        <a:pt x="503852" y="389631"/>
                      </a:lnTo>
                      <a:lnTo>
                        <a:pt x="507541" y="389631"/>
                      </a:lnTo>
                      <a:lnTo>
                        <a:pt x="503852" y="385945"/>
                      </a:lnTo>
                      <a:lnTo>
                        <a:pt x="503852" y="382249"/>
                      </a:lnTo>
                      <a:lnTo>
                        <a:pt x="503852" y="378563"/>
                      </a:lnTo>
                      <a:lnTo>
                        <a:pt x="507541" y="382249"/>
                      </a:lnTo>
                      <a:lnTo>
                        <a:pt x="514919" y="378563"/>
                      </a:lnTo>
                      <a:lnTo>
                        <a:pt x="518609" y="382249"/>
                      </a:lnTo>
                      <a:lnTo>
                        <a:pt x="529676" y="378563"/>
                      </a:lnTo>
                      <a:lnTo>
                        <a:pt x="533365" y="382249"/>
                      </a:lnTo>
                      <a:lnTo>
                        <a:pt x="537054" y="382249"/>
                      </a:lnTo>
                      <a:lnTo>
                        <a:pt x="537054" y="378563"/>
                      </a:lnTo>
                      <a:lnTo>
                        <a:pt x="533365" y="374877"/>
                      </a:lnTo>
                      <a:lnTo>
                        <a:pt x="533365" y="371181"/>
                      </a:lnTo>
                      <a:lnTo>
                        <a:pt x="533365" y="367495"/>
                      </a:lnTo>
                      <a:lnTo>
                        <a:pt x="537054" y="367495"/>
                      </a:lnTo>
                      <a:lnTo>
                        <a:pt x="540744" y="367495"/>
                      </a:lnTo>
                      <a:lnTo>
                        <a:pt x="544433" y="367495"/>
                      </a:lnTo>
                      <a:lnTo>
                        <a:pt x="548122" y="363799"/>
                      </a:lnTo>
                      <a:lnTo>
                        <a:pt x="548122" y="356417"/>
                      </a:lnTo>
                      <a:lnTo>
                        <a:pt x="551811" y="356417"/>
                      </a:lnTo>
                      <a:lnTo>
                        <a:pt x="559189" y="356417"/>
                      </a:lnTo>
                      <a:lnTo>
                        <a:pt x="562879" y="356417"/>
                      </a:lnTo>
                      <a:lnTo>
                        <a:pt x="562879" y="352731"/>
                      </a:lnTo>
                      <a:lnTo>
                        <a:pt x="566568" y="349035"/>
                      </a:lnTo>
                      <a:lnTo>
                        <a:pt x="570257" y="337967"/>
                      </a:lnTo>
                      <a:lnTo>
                        <a:pt x="570257" y="334272"/>
                      </a:lnTo>
                      <a:lnTo>
                        <a:pt x="573946" y="334272"/>
                      </a:lnTo>
                      <a:lnTo>
                        <a:pt x="577635" y="326899"/>
                      </a:lnTo>
                      <a:lnTo>
                        <a:pt x="581324" y="323204"/>
                      </a:lnTo>
                      <a:lnTo>
                        <a:pt x="577635" y="323204"/>
                      </a:lnTo>
                      <a:lnTo>
                        <a:pt x="581324" y="319517"/>
                      </a:lnTo>
                      <a:lnTo>
                        <a:pt x="577635" y="319517"/>
                      </a:lnTo>
                      <a:lnTo>
                        <a:pt x="573946" y="319517"/>
                      </a:lnTo>
                      <a:lnTo>
                        <a:pt x="570257" y="319517"/>
                      </a:lnTo>
                      <a:lnTo>
                        <a:pt x="555500" y="312136"/>
                      </a:lnTo>
                      <a:lnTo>
                        <a:pt x="548122" y="308440"/>
                      </a:lnTo>
                      <a:lnTo>
                        <a:pt x="533365" y="304754"/>
                      </a:lnTo>
                      <a:lnTo>
                        <a:pt x="537054" y="297372"/>
                      </a:lnTo>
                      <a:lnTo>
                        <a:pt x="533365" y="286294"/>
                      </a:lnTo>
                      <a:lnTo>
                        <a:pt x="529676" y="286294"/>
                      </a:lnTo>
                      <a:lnTo>
                        <a:pt x="525987" y="286294"/>
                      </a:lnTo>
                      <a:lnTo>
                        <a:pt x="525987" y="289990"/>
                      </a:lnTo>
                      <a:lnTo>
                        <a:pt x="522298" y="293676"/>
                      </a:lnTo>
                      <a:lnTo>
                        <a:pt x="518609" y="293676"/>
                      </a:lnTo>
                      <a:lnTo>
                        <a:pt x="511230" y="286294"/>
                      </a:lnTo>
                      <a:lnTo>
                        <a:pt x="507541" y="286294"/>
                      </a:lnTo>
                      <a:lnTo>
                        <a:pt x="503852" y="286294"/>
                      </a:lnTo>
                      <a:lnTo>
                        <a:pt x="500163" y="289990"/>
                      </a:lnTo>
                      <a:lnTo>
                        <a:pt x="496474" y="293676"/>
                      </a:lnTo>
                      <a:lnTo>
                        <a:pt x="496474" y="297372"/>
                      </a:lnTo>
                      <a:lnTo>
                        <a:pt x="492784" y="301058"/>
                      </a:lnTo>
                      <a:lnTo>
                        <a:pt x="489095" y="301058"/>
                      </a:lnTo>
                      <a:lnTo>
                        <a:pt x="485406" y="297372"/>
                      </a:lnTo>
                      <a:lnTo>
                        <a:pt x="481717" y="297372"/>
                      </a:lnTo>
                      <a:lnTo>
                        <a:pt x="478028" y="297372"/>
                      </a:lnTo>
                      <a:lnTo>
                        <a:pt x="474339" y="301058"/>
                      </a:lnTo>
                      <a:lnTo>
                        <a:pt x="470650" y="308440"/>
                      </a:lnTo>
                      <a:lnTo>
                        <a:pt x="466960" y="308440"/>
                      </a:lnTo>
                      <a:lnTo>
                        <a:pt x="466960" y="312136"/>
                      </a:lnTo>
                      <a:lnTo>
                        <a:pt x="463271" y="312136"/>
                      </a:lnTo>
                      <a:lnTo>
                        <a:pt x="459582" y="315822"/>
                      </a:lnTo>
                      <a:lnTo>
                        <a:pt x="455893" y="315822"/>
                      </a:lnTo>
                      <a:lnTo>
                        <a:pt x="448515" y="315822"/>
                      </a:lnTo>
                      <a:lnTo>
                        <a:pt x="444825" y="315822"/>
                      </a:lnTo>
                      <a:lnTo>
                        <a:pt x="444825" y="312136"/>
                      </a:lnTo>
                      <a:lnTo>
                        <a:pt x="444825" y="304754"/>
                      </a:lnTo>
                      <a:lnTo>
                        <a:pt x="441136" y="301058"/>
                      </a:lnTo>
                      <a:lnTo>
                        <a:pt x="441136" y="297372"/>
                      </a:lnTo>
                      <a:lnTo>
                        <a:pt x="437446" y="293676"/>
                      </a:lnTo>
                      <a:lnTo>
                        <a:pt x="433757" y="289990"/>
                      </a:lnTo>
                      <a:lnTo>
                        <a:pt x="430068" y="286294"/>
                      </a:lnTo>
                      <a:lnTo>
                        <a:pt x="426379" y="278922"/>
                      </a:lnTo>
                      <a:lnTo>
                        <a:pt x="422689" y="271540"/>
                      </a:lnTo>
                      <a:lnTo>
                        <a:pt x="419000" y="267844"/>
                      </a:lnTo>
                      <a:lnTo>
                        <a:pt x="433757" y="264158"/>
                      </a:lnTo>
                      <a:lnTo>
                        <a:pt x="437446" y="264158"/>
                      </a:lnTo>
                      <a:lnTo>
                        <a:pt x="433757" y="253081"/>
                      </a:lnTo>
                      <a:lnTo>
                        <a:pt x="430068" y="253081"/>
                      </a:lnTo>
                      <a:lnTo>
                        <a:pt x="426379" y="253081"/>
                      </a:lnTo>
                      <a:lnTo>
                        <a:pt x="422689" y="253081"/>
                      </a:lnTo>
                      <a:lnTo>
                        <a:pt x="419000" y="253081"/>
                      </a:lnTo>
                      <a:lnTo>
                        <a:pt x="415311" y="256776"/>
                      </a:lnTo>
                      <a:lnTo>
                        <a:pt x="411622" y="256776"/>
                      </a:lnTo>
                      <a:lnTo>
                        <a:pt x="407933" y="249394"/>
                      </a:lnTo>
                      <a:lnTo>
                        <a:pt x="411622" y="245699"/>
                      </a:lnTo>
                      <a:lnTo>
                        <a:pt x="411622" y="242013"/>
                      </a:lnTo>
                      <a:lnTo>
                        <a:pt x="415311" y="242013"/>
                      </a:lnTo>
                      <a:lnTo>
                        <a:pt x="419000" y="238317"/>
                      </a:lnTo>
                      <a:lnTo>
                        <a:pt x="422689" y="227249"/>
                      </a:lnTo>
                      <a:lnTo>
                        <a:pt x="433757" y="219867"/>
                      </a:lnTo>
                      <a:lnTo>
                        <a:pt x="437446" y="219867"/>
                      </a:lnTo>
                      <a:lnTo>
                        <a:pt x="441136" y="216181"/>
                      </a:lnTo>
                      <a:lnTo>
                        <a:pt x="444825" y="212485"/>
                      </a:lnTo>
                      <a:lnTo>
                        <a:pt x="430068" y="212485"/>
                      </a:lnTo>
                      <a:lnTo>
                        <a:pt x="422689" y="212485"/>
                      </a:lnTo>
                      <a:lnTo>
                        <a:pt x="426379" y="208799"/>
                      </a:lnTo>
                      <a:lnTo>
                        <a:pt x="422689" y="208799"/>
                      </a:lnTo>
                      <a:lnTo>
                        <a:pt x="422689" y="205103"/>
                      </a:lnTo>
                      <a:lnTo>
                        <a:pt x="419000" y="194035"/>
                      </a:lnTo>
                      <a:lnTo>
                        <a:pt x="419000" y="182967"/>
                      </a:lnTo>
                      <a:lnTo>
                        <a:pt x="422689" y="182967"/>
                      </a:lnTo>
                      <a:lnTo>
                        <a:pt x="419000" y="179271"/>
                      </a:lnTo>
                      <a:lnTo>
                        <a:pt x="404244" y="171889"/>
                      </a:lnTo>
                      <a:lnTo>
                        <a:pt x="404244" y="168203"/>
                      </a:lnTo>
                      <a:lnTo>
                        <a:pt x="407933" y="168203"/>
                      </a:lnTo>
                      <a:lnTo>
                        <a:pt x="411622" y="168203"/>
                      </a:lnTo>
                      <a:lnTo>
                        <a:pt x="411622" y="164508"/>
                      </a:lnTo>
                      <a:lnTo>
                        <a:pt x="415311" y="160821"/>
                      </a:lnTo>
                      <a:lnTo>
                        <a:pt x="411622" y="160821"/>
                      </a:lnTo>
                      <a:lnTo>
                        <a:pt x="415311" y="157126"/>
                      </a:lnTo>
                      <a:lnTo>
                        <a:pt x="419000" y="153440"/>
                      </a:lnTo>
                      <a:lnTo>
                        <a:pt x="426379" y="153440"/>
                      </a:lnTo>
                      <a:lnTo>
                        <a:pt x="426379" y="157126"/>
                      </a:lnTo>
                      <a:lnTo>
                        <a:pt x="430068" y="157126"/>
                      </a:lnTo>
                      <a:lnTo>
                        <a:pt x="437446" y="157126"/>
                      </a:lnTo>
                      <a:lnTo>
                        <a:pt x="441136" y="157126"/>
                      </a:lnTo>
                      <a:lnTo>
                        <a:pt x="444825" y="157126"/>
                      </a:lnTo>
                      <a:lnTo>
                        <a:pt x="444825" y="142362"/>
                      </a:lnTo>
                      <a:lnTo>
                        <a:pt x="455893" y="138676"/>
                      </a:lnTo>
                      <a:lnTo>
                        <a:pt x="441136" y="127608"/>
                      </a:lnTo>
                      <a:lnTo>
                        <a:pt x="437446" y="123912"/>
                      </a:lnTo>
                      <a:lnTo>
                        <a:pt x="430068" y="123912"/>
                      </a:lnTo>
                      <a:lnTo>
                        <a:pt x="426379" y="120226"/>
                      </a:lnTo>
                      <a:lnTo>
                        <a:pt x="422689" y="116530"/>
                      </a:lnTo>
                      <a:lnTo>
                        <a:pt x="422689" y="112844"/>
                      </a:lnTo>
                      <a:lnTo>
                        <a:pt x="419000" y="112844"/>
                      </a:lnTo>
                      <a:lnTo>
                        <a:pt x="415311" y="109148"/>
                      </a:lnTo>
                      <a:lnTo>
                        <a:pt x="415311" y="105462"/>
                      </a:lnTo>
                      <a:lnTo>
                        <a:pt x="411622" y="105462"/>
                      </a:lnTo>
                      <a:lnTo>
                        <a:pt x="411622" y="101766"/>
                      </a:lnTo>
                      <a:lnTo>
                        <a:pt x="411622" y="94385"/>
                      </a:lnTo>
                      <a:lnTo>
                        <a:pt x="407933" y="90698"/>
                      </a:lnTo>
                      <a:lnTo>
                        <a:pt x="407933" y="87012"/>
                      </a:lnTo>
                      <a:lnTo>
                        <a:pt x="404244" y="87012"/>
                      </a:lnTo>
                      <a:lnTo>
                        <a:pt x="400554" y="87012"/>
                      </a:lnTo>
                      <a:lnTo>
                        <a:pt x="396865" y="87012"/>
                      </a:lnTo>
                      <a:lnTo>
                        <a:pt x="396865" y="90698"/>
                      </a:lnTo>
                      <a:lnTo>
                        <a:pt x="393176" y="94385"/>
                      </a:lnTo>
                      <a:lnTo>
                        <a:pt x="385798" y="94385"/>
                      </a:lnTo>
                      <a:lnTo>
                        <a:pt x="382109" y="94385"/>
                      </a:lnTo>
                      <a:lnTo>
                        <a:pt x="378420" y="101766"/>
                      </a:lnTo>
                      <a:lnTo>
                        <a:pt x="374730" y="98080"/>
                      </a:lnTo>
                      <a:lnTo>
                        <a:pt x="371041" y="94385"/>
                      </a:lnTo>
                      <a:lnTo>
                        <a:pt x="374730" y="83316"/>
                      </a:lnTo>
                      <a:lnTo>
                        <a:pt x="363663" y="79630"/>
                      </a:lnTo>
                      <a:lnTo>
                        <a:pt x="359974" y="83316"/>
                      </a:lnTo>
                      <a:lnTo>
                        <a:pt x="356285" y="87012"/>
                      </a:lnTo>
                      <a:lnTo>
                        <a:pt x="352595" y="87012"/>
                      </a:lnTo>
                      <a:lnTo>
                        <a:pt x="348906" y="87012"/>
                      </a:lnTo>
                      <a:lnTo>
                        <a:pt x="345217" y="83316"/>
                      </a:lnTo>
                      <a:lnTo>
                        <a:pt x="345217" y="87012"/>
                      </a:lnTo>
                      <a:lnTo>
                        <a:pt x="341528" y="87012"/>
                      </a:lnTo>
                      <a:lnTo>
                        <a:pt x="334150" y="90698"/>
                      </a:lnTo>
                      <a:lnTo>
                        <a:pt x="330460" y="94385"/>
                      </a:lnTo>
                      <a:lnTo>
                        <a:pt x="326771" y="94385"/>
                      </a:lnTo>
                      <a:lnTo>
                        <a:pt x="323082" y="94385"/>
                      </a:lnTo>
                      <a:lnTo>
                        <a:pt x="312015" y="94385"/>
                      </a:lnTo>
                      <a:lnTo>
                        <a:pt x="304636" y="90698"/>
                      </a:lnTo>
                      <a:lnTo>
                        <a:pt x="300947" y="94385"/>
                      </a:lnTo>
                      <a:lnTo>
                        <a:pt x="297258" y="94385"/>
                      </a:lnTo>
                      <a:lnTo>
                        <a:pt x="293568" y="90698"/>
                      </a:lnTo>
                      <a:lnTo>
                        <a:pt x="289879" y="90698"/>
                      </a:lnTo>
                      <a:lnTo>
                        <a:pt x="289879" y="87012"/>
                      </a:lnTo>
                      <a:lnTo>
                        <a:pt x="289879" y="83316"/>
                      </a:lnTo>
                      <a:lnTo>
                        <a:pt x="289879" y="79630"/>
                      </a:lnTo>
                      <a:lnTo>
                        <a:pt x="293568" y="79630"/>
                      </a:lnTo>
                      <a:lnTo>
                        <a:pt x="293568" y="75935"/>
                      </a:lnTo>
                      <a:lnTo>
                        <a:pt x="297258" y="72248"/>
                      </a:lnTo>
                      <a:lnTo>
                        <a:pt x="297258" y="64867"/>
                      </a:lnTo>
                      <a:lnTo>
                        <a:pt x="297258" y="61171"/>
                      </a:lnTo>
                      <a:lnTo>
                        <a:pt x="297258" y="57485"/>
                      </a:lnTo>
                      <a:lnTo>
                        <a:pt x="297258" y="53789"/>
                      </a:lnTo>
                      <a:lnTo>
                        <a:pt x="300947" y="50103"/>
                      </a:lnTo>
                      <a:lnTo>
                        <a:pt x="304636" y="46407"/>
                      </a:lnTo>
                      <a:lnTo>
                        <a:pt x="308326" y="42721"/>
                      </a:lnTo>
                      <a:lnTo>
                        <a:pt x="308326" y="39035"/>
                      </a:lnTo>
                      <a:lnTo>
                        <a:pt x="308326" y="35339"/>
                      </a:lnTo>
                      <a:lnTo>
                        <a:pt x="312015" y="35339"/>
                      </a:lnTo>
                      <a:lnTo>
                        <a:pt x="312015" y="27957"/>
                      </a:lnTo>
                      <a:lnTo>
                        <a:pt x="315704" y="24271"/>
                      </a:lnTo>
                      <a:lnTo>
                        <a:pt x="319393" y="16889"/>
                      </a:lnTo>
                      <a:lnTo>
                        <a:pt x="312015" y="13193"/>
                      </a:lnTo>
                      <a:lnTo>
                        <a:pt x="308326" y="13193"/>
                      </a:lnTo>
                      <a:lnTo>
                        <a:pt x="304636" y="13193"/>
                      </a:lnTo>
                      <a:lnTo>
                        <a:pt x="300947" y="16889"/>
                      </a:lnTo>
                      <a:lnTo>
                        <a:pt x="297258" y="13193"/>
                      </a:lnTo>
                      <a:lnTo>
                        <a:pt x="297258" y="20575"/>
                      </a:lnTo>
                      <a:lnTo>
                        <a:pt x="286190" y="16889"/>
                      </a:lnTo>
                      <a:lnTo>
                        <a:pt x="260365" y="5812"/>
                      </a:lnTo>
                      <a:close/>
                      <a:moveTo>
                        <a:pt x="42704" y="389631"/>
                      </a:moveTo>
                      <a:lnTo>
                        <a:pt x="39015" y="393327"/>
                      </a:lnTo>
                      <a:lnTo>
                        <a:pt x="42704" y="393327"/>
                      </a:lnTo>
                      <a:lnTo>
                        <a:pt x="42704" y="389631"/>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7" name="Freeform: Shape 96">
                  <a:extLst>
                    <a:ext uri="{FF2B5EF4-FFF2-40B4-BE49-F238E27FC236}">
                      <a16:creationId xmlns:a16="http://schemas.microsoft.com/office/drawing/2014/main" id="{0B3D8145-B114-4B4E-9D30-AE248F326E87}"/>
                    </a:ext>
                  </a:extLst>
                </p:cNvPr>
                <p:cNvSpPr/>
                <p:nvPr/>
              </p:nvSpPr>
              <p:spPr>
                <a:xfrm>
                  <a:off x="1714569" y="4334716"/>
                  <a:ext cx="43320" cy="21660"/>
                </a:xfrm>
                <a:custGeom>
                  <a:avLst/>
                  <a:gdLst>
                    <a:gd name="connsiteX0" fmla="*/ 16880 w 19050"/>
                    <a:gd name="connsiteY0" fmla="*/ 5812 h 9525"/>
                    <a:gd name="connsiteX1" fmla="*/ 13191 w 19050"/>
                    <a:gd name="connsiteY1" fmla="*/ 9498 h 9525"/>
                    <a:gd name="connsiteX2" fmla="*/ 9501 w 19050"/>
                    <a:gd name="connsiteY2" fmla="*/ 9498 h 9525"/>
                    <a:gd name="connsiteX3" fmla="*/ 5812 w 19050"/>
                    <a:gd name="connsiteY3" fmla="*/ 9498 h 9525"/>
                    <a:gd name="connsiteX4" fmla="*/ 5812 w 19050"/>
                    <a:gd name="connsiteY4" fmla="*/ 5812 h 9525"/>
                    <a:gd name="connsiteX5" fmla="*/ 9501 w 19050"/>
                    <a:gd name="connsiteY5" fmla="*/ 5812 h 9525"/>
                    <a:gd name="connsiteX6" fmla="*/ 13191 w 19050"/>
                    <a:gd name="connsiteY6" fmla="*/ 5812 h 9525"/>
                    <a:gd name="connsiteX7" fmla="*/ 20569 w 19050"/>
                    <a:gd name="connsiteY7" fmla="*/ 5812 h 9525"/>
                    <a:gd name="connsiteX8" fmla="*/ 16880 w 19050"/>
                    <a:gd name="connsiteY8"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 h="9525">
                      <a:moveTo>
                        <a:pt x="16880" y="5812"/>
                      </a:moveTo>
                      <a:lnTo>
                        <a:pt x="13191" y="9498"/>
                      </a:lnTo>
                      <a:lnTo>
                        <a:pt x="9501" y="9498"/>
                      </a:lnTo>
                      <a:lnTo>
                        <a:pt x="5812" y="9498"/>
                      </a:lnTo>
                      <a:lnTo>
                        <a:pt x="5812" y="5812"/>
                      </a:lnTo>
                      <a:lnTo>
                        <a:pt x="9501" y="5812"/>
                      </a:lnTo>
                      <a:lnTo>
                        <a:pt x="13191" y="5812"/>
                      </a:lnTo>
                      <a:lnTo>
                        <a:pt x="20569" y="5812"/>
                      </a:lnTo>
                      <a:lnTo>
                        <a:pt x="16880"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8" name="Freeform: Shape 97">
                  <a:extLst>
                    <a:ext uri="{FF2B5EF4-FFF2-40B4-BE49-F238E27FC236}">
                      <a16:creationId xmlns:a16="http://schemas.microsoft.com/office/drawing/2014/main" id="{3268C3A4-07F6-4E62-9CD7-9C0310F6AC68}"/>
                    </a:ext>
                  </a:extLst>
                </p:cNvPr>
                <p:cNvSpPr/>
                <p:nvPr/>
              </p:nvSpPr>
              <p:spPr>
                <a:xfrm>
                  <a:off x="1681016" y="4250782"/>
                  <a:ext cx="86640" cy="64980"/>
                </a:xfrm>
                <a:custGeom>
                  <a:avLst/>
                  <a:gdLst>
                    <a:gd name="connsiteX0" fmla="*/ 31636 w 38100"/>
                    <a:gd name="connsiteY0" fmla="*/ 16880 h 28575"/>
                    <a:gd name="connsiteX1" fmla="*/ 35325 w 38100"/>
                    <a:gd name="connsiteY1" fmla="*/ 20575 h 28575"/>
                    <a:gd name="connsiteX2" fmla="*/ 35325 w 38100"/>
                    <a:gd name="connsiteY2" fmla="*/ 20575 h 28575"/>
                    <a:gd name="connsiteX3" fmla="*/ 31636 w 38100"/>
                    <a:gd name="connsiteY3" fmla="*/ 16880 h 28575"/>
                    <a:gd name="connsiteX4" fmla="*/ 24257 w 38100"/>
                    <a:gd name="connsiteY4" fmla="*/ 16880 h 28575"/>
                    <a:gd name="connsiteX5" fmla="*/ 16879 w 38100"/>
                    <a:gd name="connsiteY5" fmla="*/ 20575 h 28575"/>
                    <a:gd name="connsiteX6" fmla="*/ 9501 w 38100"/>
                    <a:gd name="connsiteY6" fmla="*/ 24261 h 28575"/>
                    <a:gd name="connsiteX7" fmla="*/ 5812 w 38100"/>
                    <a:gd name="connsiteY7" fmla="*/ 24261 h 28575"/>
                    <a:gd name="connsiteX8" fmla="*/ 5812 w 38100"/>
                    <a:gd name="connsiteY8" fmla="*/ 20575 h 28575"/>
                    <a:gd name="connsiteX9" fmla="*/ 5812 w 38100"/>
                    <a:gd name="connsiteY9" fmla="*/ 20575 h 28575"/>
                    <a:gd name="connsiteX10" fmla="*/ 13190 w 38100"/>
                    <a:gd name="connsiteY10" fmla="*/ 16880 h 28575"/>
                    <a:gd name="connsiteX11" fmla="*/ 13190 w 38100"/>
                    <a:gd name="connsiteY11" fmla="*/ 13193 h 28575"/>
                    <a:gd name="connsiteX12" fmla="*/ 16879 w 38100"/>
                    <a:gd name="connsiteY12" fmla="*/ 9498 h 28575"/>
                    <a:gd name="connsiteX13" fmla="*/ 20568 w 38100"/>
                    <a:gd name="connsiteY13" fmla="*/ 5812 h 28575"/>
                    <a:gd name="connsiteX14" fmla="*/ 20568 w 38100"/>
                    <a:gd name="connsiteY14" fmla="*/ 9498 h 28575"/>
                    <a:gd name="connsiteX15" fmla="*/ 24257 w 38100"/>
                    <a:gd name="connsiteY15" fmla="*/ 9498 h 28575"/>
                    <a:gd name="connsiteX16" fmla="*/ 31636 w 38100"/>
                    <a:gd name="connsiteY16" fmla="*/ 16880 h 28575"/>
                    <a:gd name="connsiteX17" fmla="*/ 31636 w 38100"/>
                    <a:gd name="connsiteY17" fmla="*/ 16880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8100" h="28575">
                      <a:moveTo>
                        <a:pt x="31636" y="16880"/>
                      </a:moveTo>
                      <a:lnTo>
                        <a:pt x="35325" y="20575"/>
                      </a:lnTo>
                      <a:lnTo>
                        <a:pt x="35325" y="20575"/>
                      </a:lnTo>
                      <a:lnTo>
                        <a:pt x="31636" y="16880"/>
                      </a:lnTo>
                      <a:lnTo>
                        <a:pt x="24257" y="16880"/>
                      </a:lnTo>
                      <a:lnTo>
                        <a:pt x="16879" y="20575"/>
                      </a:lnTo>
                      <a:lnTo>
                        <a:pt x="9501" y="24261"/>
                      </a:lnTo>
                      <a:lnTo>
                        <a:pt x="5812" y="24261"/>
                      </a:lnTo>
                      <a:lnTo>
                        <a:pt x="5812" y="20575"/>
                      </a:lnTo>
                      <a:lnTo>
                        <a:pt x="5812" y="20575"/>
                      </a:lnTo>
                      <a:lnTo>
                        <a:pt x="13190" y="16880"/>
                      </a:lnTo>
                      <a:lnTo>
                        <a:pt x="13190" y="13193"/>
                      </a:lnTo>
                      <a:lnTo>
                        <a:pt x="16879" y="9498"/>
                      </a:lnTo>
                      <a:lnTo>
                        <a:pt x="20568" y="5812"/>
                      </a:lnTo>
                      <a:lnTo>
                        <a:pt x="20568" y="9498"/>
                      </a:lnTo>
                      <a:lnTo>
                        <a:pt x="24257" y="9498"/>
                      </a:lnTo>
                      <a:lnTo>
                        <a:pt x="31636" y="16880"/>
                      </a:lnTo>
                      <a:lnTo>
                        <a:pt x="31636" y="16880"/>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99" name="Freeform: Shape 98">
                  <a:extLst>
                    <a:ext uri="{FF2B5EF4-FFF2-40B4-BE49-F238E27FC236}">
                      <a16:creationId xmlns:a16="http://schemas.microsoft.com/office/drawing/2014/main" id="{8C40CF16-9CC8-45DF-A760-256259C9C8A8}"/>
                    </a:ext>
                  </a:extLst>
                </p:cNvPr>
                <p:cNvSpPr/>
                <p:nvPr/>
              </p:nvSpPr>
              <p:spPr>
                <a:xfrm>
                  <a:off x="1605510" y="4150060"/>
                  <a:ext cx="649800" cy="368220"/>
                </a:xfrm>
                <a:custGeom>
                  <a:avLst/>
                  <a:gdLst>
                    <a:gd name="connsiteX0" fmla="*/ 90663 w 285750"/>
                    <a:gd name="connsiteY0" fmla="*/ 5812 h 161925"/>
                    <a:gd name="connsiteX1" fmla="*/ 83285 w 285750"/>
                    <a:gd name="connsiteY1" fmla="*/ 9507 h 161925"/>
                    <a:gd name="connsiteX2" fmla="*/ 90663 w 285750"/>
                    <a:gd name="connsiteY2" fmla="*/ 9507 h 161925"/>
                    <a:gd name="connsiteX3" fmla="*/ 90663 w 285750"/>
                    <a:gd name="connsiteY3" fmla="*/ 5812 h 161925"/>
                    <a:gd name="connsiteX4" fmla="*/ 90663 w 285750"/>
                    <a:gd name="connsiteY4" fmla="*/ 9507 h 161925"/>
                    <a:gd name="connsiteX5" fmla="*/ 79595 w 285750"/>
                    <a:gd name="connsiteY5" fmla="*/ 13194 h 161925"/>
                    <a:gd name="connsiteX6" fmla="*/ 75906 w 285750"/>
                    <a:gd name="connsiteY6" fmla="*/ 13194 h 161925"/>
                    <a:gd name="connsiteX7" fmla="*/ 72217 w 285750"/>
                    <a:gd name="connsiteY7" fmla="*/ 13194 h 161925"/>
                    <a:gd name="connsiteX8" fmla="*/ 79595 w 285750"/>
                    <a:gd name="connsiteY8" fmla="*/ 9507 h 161925"/>
                    <a:gd name="connsiteX9" fmla="*/ 68528 w 285750"/>
                    <a:gd name="connsiteY9" fmla="*/ 13194 h 161925"/>
                    <a:gd name="connsiteX10" fmla="*/ 46393 w 285750"/>
                    <a:gd name="connsiteY10" fmla="*/ 20575 h 161925"/>
                    <a:gd name="connsiteX11" fmla="*/ 39015 w 285750"/>
                    <a:gd name="connsiteY11" fmla="*/ 24271 h 161925"/>
                    <a:gd name="connsiteX12" fmla="*/ 35326 w 285750"/>
                    <a:gd name="connsiteY12" fmla="*/ 24271 h 161925"/>
                    <a:gd name="connsiteX13" fmla="*/ 24258 w 285750"/>
                    <a:gd name="connsiteY13" fmla="*/ 27957 h 161925"/>
                    <a:gd name="connsiteX14" fmla="*/ 20569 w 285750"/>
                    <a:gd name="connsiteY14" fmla="*/ 27957 h 161925"/>
                    <a:gd name="connsiteX15" fmla="*/ 16880 w 285750"/>
                    <a:gd name="connsiteY15" fmla="*/ 35339 h 161925"/>
                    <a:gd name="connsiteX16" fmla="*/ 16880 w 285750"/>
                    <a:gd name="connsiteY16" fmla="*/ 39035 h 161925"/>
                    <a:gd name="connsiteX17" fmla="*/ 16880 w 285750"/>
                    <a:gd name="connsiteY17" fmla="*/ 42721 h 161925"/>
                    <a:gd name="connsiteX18" fmla="*/ 20569 w 285750"/>
                    <a:gd name="connsiteY18" fmla="*/ 53789 h 161925"/>
                    <a:gd name="connsiteX19" fmla="*/ 20569 w 285750"/>
                    <a:gd name="connsiteY19" fmla="*/ 57485 h 161925"/>
                    <a:gd name="connsiteX20" fmla="*/ 24258 w 285750"/>
                    <a:gd name="connsiteY20" fmla="*/ 57485 h 161925"/>
                    <a:gd name="connsiteX21" fmla="*/ 24258 w 285750"/>
                    <a:gd name="connsiteY21" fmla="*/ 61171 h 161925"/>
                    <a:gd name="connsiteX22" fmla="*/ 27947 w 285750"/>
                    <a:gd name="connsiteY22" fmla="*/ 61171 h 161925"/>
                    <a:gd name="connsiteX23" fmla="*/ 35326 w 285750"/>
                    <a:gd name="connsiteY23" fmla="*/ 57485 h 161925"/>
                    <a:gd name="connsiteX24" fmla="*/ 35326 w 285750"/>
                    <a:gd name="connsiteY24" fmla="*/ 53789 h 161925"/>
                    <a:gd name="connsiteX25" fmla="*/ 31636 w 285750"/>
                    <a:gd name="connsiteY25" fmla="*/ 53789 h 161925"/>
                    <a:gd name="connsiteX26" fmla="*/ 31636 w 285750"/>
                    <a:gd name="connsiteY26" fmla="*/ 50103 h 161925"/>
                    <a:gd name="connsiteX27" fmla="*/ 35326 w 285750"/>
                    <a:gd name="connsiteY27" fmla="*/ 50103 h 161925"/>
                    <a:gd name="connsiteX28" fmla="*/ 39015 w 285750"/>
                    <a:gd name="connsiteY28" fmla="*/ 50103 h 161925"/>
                    <a:gd name="connsiteX29" fmla="*/ 42704 w 285750"/>
                    <a:gd name="connsiteY29" fmla="*/ 50103 h 161925"/>
                    <a:gd name="connsiteX30" fmla="*/ 46393 w 285750"/>
                    <a:gd name="connsiteY30" fmla="*/ 46417 h 161925"/>
                    <a:gd name="connsiteX31" fmla="*/ 50082 w 285750"/>
                    <a:gd name="connsiteY31" fmla="*/ 46417 h 161925"/>
                    <a:gd name="connsiteX32" fmla="*/ 53771 w 285750"/>
                    <a:gd name="connsiteY32" fmla="*/ 46417 h 161925"/>
                    <a:gd name="connsiteX33" fmla="*/ 57460 w 285750"/>
                    <a:gd name="connsiteY33" fmla="*/ 46417 h 161925"/>
                    <a:gd name="connsiteX34" fmla="*/ 61150 w 285750"/>
                    <a:gd name="connsiteY34" fmla="*/ 42721 h 161925"/>
                    <a:gd name="connsiteX35" fmla="*/ 64839 w 285750"/>
                    <a:gd name="connsiteY35" fmla="*/ 39035 h 161925"/>
                    <a:gd name="connsiteX36" fmla="*/ 72217 w 285750"/>
                    <a:gd name="connsiteY36" fmla="*/ 42721 h 161925"/>
                    <a:gd name="connsiteX37" fmla="*/ 79595 w 285750"/>
                    <a:gd name="connsiteY37" fmla="*/ 42721 h 161925"/>
                    <a:gd name="connsiteX38" fmla="*/ 86974 w 285750"/>
                    <a:gd name="connsiteY38" fmla="*/ 46417 h 161925"/>
                    <a:gd name="connsiteX39" fmla="*/ 86974 w 285750"/>
                    <a:gd name="connsiteY39" fmla="*/ 50103 h 161925"/>
                    <a:gd name="connsiteX40" fmla="*/ 90663 w 285750"/>
                    <a:gd name="connsiteY40" fmla="*/ 53789 h 161925"/>
                    <a:gd name="connsiteX41" fmla="*/ 94352 w 285750"/>
                    <a:gd name="connsiteY41" fmla="*/ 61171 h 161925"/>
                    <a:gd name="connsiteX42" fmla="*/ 98041 w 285750"/>
                    <a:gd name="connsiteY42" fmla="*/ 61171 h 161925"/>
                    <a:gd name="connsiteX43" fmla="*/ 98041 w 285750"/>
                    <a:gd name="connsiteY43" fmla="*/ 68553 h 161925"/>
                    <a:gd name="connsiteX44" fmla="*/ 98041 w 285750"/>
                    <a:gd name="connsiteY44" fmla="*/ 72248 h 161925"/>
                    <a:gd name="connsiteX45" fmla="*/ 94352 w 285750"/>
                    <a:gd name="connsiteY45" fmla="*/ 72248 h 161925"/>
                    <a:gd name="connsiteX46" fmla="*/ 94352 w 285750"/>
                    <a:gd name="connsiteY46" fmla="*/ 75935 h 161925"/>
                    <a:gd name="connsiteX47" fmla="*/ 98041 w 285750"/>
                    <a:gd name="connsiteY47" fmla="*/ 75935 h 161925"/>
                    <a:gd name="connsiteX48" fmla="*/ 94352 w 285750"/>
                    <a:gd name="connsiteY48" fmla="*/ 79630 h 161925"/>
                    <a:gd name="connsiteX49" fmla="*/ 94352 w 285750"/>
                    <a:gd name="connsiteY49" fmla="*/ 83317 h 161925"/>
                    <a:gd name="connsiteX50" fmla="*/ 98041 w 285750"/>
                    <a:gd name="connsiteY50" fmla="*/ 90698 h 161925"/>
                    <a:gd name="connsiteX51" fmla="*/ 101730 w 285750"/>
                    <a:gd name="connsiteY51" fmla="*/ 90698 h 161925"/>
                    <a:gd name="connsiteX52" fmla="*/ 101730 w 285750"/>
                    <a:gd name="connsiteY52" fmla="*/ 94394 h 161925"/>
                    <a:gd name="connsiteX53" fmla="*/ 105420 w 285750"/>
                    <a:gd name="connsiteY53" fmla="*/ 98080 h 161925"/>
                    <a:gd name="connsiteX54" fmla="*/ 105420 w 285750"/>
                    <a:gd name="connsiteY54" fmla="*/ 101766 h 161925"/>
                    <a:gd name="connsiteX55" fmla="*/ 109109 w 285750"/>
                    <a:gd name="connsiteY55" fmla="*/ 109148 h 161925"/>
                    <a:gd name="connsiteX56" fmla="*/ 109109 w 285750"/>
                    <a:gd name="connsiteY56" fmla="*/ 116530 h 161925"/>
                    <a:gd name="connsiteX57" fmla="*/ 112798 w 285750"/>
                    <a:gd name="connsiteY57" fmla="*/ 116530 h 161925"/>
                    <a:gd name="connsiteX58" fmla="*/ 116487 w 285750"/>
                    <a:gd name="connsiteY58" fmla="*/ 116530 h 161925"/>
                    <a:gd name="connsiteX59" fmla="*/ 120176 w 285750"/>
                    <a:gd name="connsiteY59" fmla="*/ 120226 h 161925"/>
                    <a:gd name="connsiteX60" fmla="*/ 123865 w 285750"/>
                    <a:gd name="connsiteY60" fmla="*/ 116530 h 161925"/>
                    <a:gd name="connsiteX61" fmla="*/ 123865 w 285750"/>
                    <a:gd name="connsiteY61" fmla="*/ 120226 h 161925"/>
                    <a:gd name="connsiteX62" fmla="*/ 131244 w 285750"/>
                    <a:gd name="connsiteY62" fmla="*/ 120226 h 161925"/>
                    <a:gd name="connsiteX63" fmla="*/ 138622 w 285750"/>
                    <a:gd name="connsiteY63" fmla="*/ 120226 h 161925"/>
                    <a:gd name="connsiteX64" fmla="*/ 142311 w 285750"/>
                    <a:gd name="connsiteY64" fmla="*/ 120226 h 161925"/>
                    <a:gd name="connsiteX65" fmla="*/ 146001 w 285750"/>
                    <a:gd name="connsiteY65" fmla="*/ 120226 h 161925"/>
                    <a:gd name="connsiteX66" fmla="*/ 149690 w 285750"/>
                    <a:gd name="connsiteY66" fmla="*/ 123912 h 161925"/>
                    <a:gd name="connsiteX67" fmla="*/ 160758 w 285750"/>
                    <a:gd name="connsiteY67" fmla="*/ 127608 h 161925"/>
                    <a:gd name="connsiteX68" fmla="*/ 164447 w 285750"/>
                    <a:gd name="connsiteY68" fmla="*/ 134990 h 161925"/>
                    <a:gd name="connsiteX69" fmla="*/ 168136 w 285750"/>
                    <a:gd name="connsiteY69" fmla="*/ 138676 h 161925"/>
                    <a:gd name="connsiteX70" fmla="*/ 175515 w 285750"/>
                    <a:gd name="connsiteY70" fmla="*/ 138676 h 161925"/>
                    <a:gd name="connsiteX71" fmla="*/ 179204 w 285750"/>
                    <a:gd name="connsiteY71" fmla="*/ 138676 h 161925"/>
                    <a:gd name="connsiteX72" fmla="*/ 179204 w 285750"/>
                    <a:gd name="connsiteY72" fmla="*/ 142372 h 161925"/>
                    <a:gd name="connsiteX73" fmla="*/ 186582 w 285750"/>
                    <a:gd name="connsiteY73" fmla="*/ 142372 h 161925"/>
                    <a:gd name="connsiteX74" fmla="*/ 190271 w 285750"/>
                    <a:gd name="connsiteY74" fmla="*/ 146058 h 161925"/>
                    <a:gd name="connsiteX75" fmla="*/ 193960 w 285750"/>
                    <a:gd name="connsiteY75" fmla="*/ 146058 h 161925"/>
                    <a:gd name="connsiteX76" fmla="*/ 193960 w 285750"/>
                    <a:gd name="connsiteY76" fmla="*/ 149744 h 161925"/>
                    <a:gd name="connsiteX77" fmla="*/ 193960 w 285750"/>
                    <a:gd name="connsiteY77" fmla="*/ 153440 h 161925"/>
                    <a:gd name="connsiteX78" fmla="*/ 201339 w 285750"/>
                    <a:gd name="connsiteY78" fmla="*/ 157126 h 161925"/>
                    <a:gd name="connsiteX79" fmla="*/ 205028 w 285750"/>
                    <a:gd name="connsiteY79" fmla="*/ 160821 h 161925"/>
                    <a:gd name="connsiteX80" fmla="*/ 216095 w 285750"/>
                    <a:gd name="connsiteY80" fmla="*/ 160821 h 161925"/>
                    <a:gd name="connsiteX81" fmla="*/ 219785 w 285750"/>
                    <a:gd name="connsiteY81" fmla="*/ 160821 h 161925"/>
                    <a:gd name="connsiteX82" fmla="*/ 223474 w 285750"/>
                    <a:gd name="connsiteY82" fmla="*/ 160821 h 161925"/>
                    <a:gd name="connsiteX83" fmla="*/ 230852 w 285750"/>
                    <a:gd name="connsiteY83" fmla="*/ 157126 h 161925"/>
                    <a:gd name="connsiteX84" fmla="*/ 238230 w 285750"/>
                    <a:gd name="connsiteY84" fmla="*/ 157126 h 161925"/>
                    <a:gd name="connsiteX85" fmla="*/ 241919 w 285750"/>
                    <a:gd name="connsiteY85" fmla="*/ 157126 h 161925"/>
                    <a:gd name="connsiteX86" fmla="*/ 252987 w 285750"/>
                    <a:gd name="connsiteY86" fmla="*/ 153440 h 161925"/>
                    <a:gd name="connsiteX87" fmla="*/ 260365 w 285750"/>
                    <a:gd name="connsiteY87" fmla="*/ 149744 h 161925"/>
                    <a:gd name="connsiteX88" fmla="*/ 264054 w 285750"/>
                    <a:gd name="connsiteY88" fmla="*/ 146058 h 161925"/>
                    <a:gd name="connsiteX89" fmla="*/ 267744 w 285750"/>
                    <a:gd name="connsiteY89" fmla="*/ 138676 h 161925"/>
                    <a:gd name="connsiteX90" fmla="*/ 267744 w 285750"/>
                    <a:gd name="connsiteY90" fmla="*/ 134990 h 161925"/>
                    <a:gd name="connsiteX91" fmla="*/ 264054 w 285750"/>
                    <a:gd name="connsiteY91" fmla="*/ 134990 h 161925"/>
                    <a:gd name="connsiteX92" fmla="*/ 264054 w 285750"/>
                    <a:gd name="connsiteY92" fmla="*/ 131294 h 161925"/>
                    <a:gd name="connsiteX93" fmla="*/ 267744 w 285750"/>
                    <a:gd name="connsiteY93" fmla="*/ 131294 h 161925"/>
                    <a:gd name="connsiteX94" fmla="*/ 271433 w 285750"/>
                    <a:gd name="connsiteY94" fmla="*/ 131294 h 161925"/>
                    <a:gd name="connsiteX95" fmla="*/ 275122 w 285750"/>
                    <a:gd name="connsiteY95" fmla="*/ 131294 h 161925"/>
                    <a:gd name="connsiteX96" fmla="*/ 278811 w 285750"/>
                    <a:gd name="connsiteY96" fmla="*/ 131294 h 161925"/>
                    <a:gd name="connsiteX97" fmla="*/ 286189 w 285750"/>
                    <a:gd name="connsiteY97" fmla="*/ 127608 h 161925"/>
                    <a:gd name="connsiteX98" fmla="*/ 282500 w 285750"/>
                    <a:gd name="connsiteY98" fmla="*/ 127608 h 161925"/>
                    <a:gd name="connsiteX99" fmla="*/ 282500 w 285750"/>
                    <a:gd name="connsiteY99" fmla="*/ 123912 h 161925"/>
                    <a:gd name="connsiteX100" fmla="*/ 282500 w 285750"/>
                    <a:gd name="connsiteY100" fmla="*/ 120226 h 161925"/>
                    <a:gd name="connsiteX101" fmla="*/ 278811 w 285750"/>
                    <a:gd name="connsiteY101" fmla="*/ 120226 h 161925"/>
                    <a:gd name="connsiteX102" fmla="*/ 275122 w 285750"/>
                    <a:gd name="connsiteY102" fmla="*/ 123912 h 161925"/>
                    <a:gd name="connsiteX103" fmla="*/ 267744 w 285750"/>
                    <a:gd name="connsiteY103" fmla="*/ 123912 h 161925"/>
                    <a:gd name="connsiteX104" fmla="*/ 260365 w 285750"/>
                    <a:gd name="connsiteY104" fmla="*/ 123912 h 161925"/>
                    <a:gd name="connsiteX105" fmla="*/ 252987 w 285750"/>
                    <a:gd name="connsiteY105" fmla="*/ 123912 h 161925"/>
                    <a:gd name="connsiteX106" fmla="*/ 249298 w 285750"/>
                    <a:gd name="connsiteY106" fmla="*/ 123912 h 161925"/>
                    <a:gd name="connsiteX107" fmla="*/ 241919 w 285750"/>
                    <a:gd name="connsiteY107" fmla="*/ 123912 h 161925"/>
                    <a:gd name="connsiteX108" fmla="*/ 234541 w 285750"/>
                    <a:gd name="connsiteY108" fmla="*/ 112844 h 161925"/>
                    <a:gd name="connsiteX109" fmla="*/ 227163 w 285750"/>
                    <a:gd name="connsiteY109" fmla="*/ 112844 h 161925"/>
                    <a:gd name="connsiteX110" fmla="*/ 223474 w 285750"/>
                    <a:gd name="connsiteY110" fmla="*/ 109148 h 161925"/>
                    <a:gd name="connsiteX111" fmla="*/ 219785 w 285750"/>
                    <a:gd name="connsiteY111" fmla="*/ 109148 h 161925"/>
                    <a:gd name="connsiteX112" fmla="*/ 216095 w 285750"/>
                    <a:gd name="connsiteY112" fmla="*/ 105462 h 161925"/>
                    <a:gd name="connsiteX113" fmla="*/ 216095 w 285750"/>
                    <a:gd name="connsiteY113" fmla="*/ 101766 h 161925"/>
                    <a:gd name="connsiteX114" fmla="*/ 208717 w 285750"/>
                    <a:gd name="connsiteY114" fmla="*/ 98080 h 161925"/>
                    <a:gd name="connsiteX115" fmla="*/ 208717 w 285750"/>
                    <a:gd name="connsiteY115" fmla="*/ 94394 h 161925"/>
                    <a:gd name="connsiteX116" fmla="*/ 208717 w 285750"/>
                    <a:gd name="connsiteY116" fmla="*/ 90698 h 161925"/>
                    <a:gd name="connsiteX117" fmla="*/ 205028 w 285750"/>
                    <a:gd name="connsiteY117" fmla="*/ 90698 h 161925"/>
                    <a:gd name="connsiteX118" fmla="*/ 193960 w 285750"/>
                    <a:gd name="connsiteY118" fmla="*/ 79630 h 161925"/>
                    <a:gd name="connsiteX119" fmla="*/ 182893 w 285750"/>
                    <a:gd name="connsiteY119" fmla="*/ 68553 h 161925"/>
                    <a:gd name="connsiteX120" fmla="*/ 179204 w 285750"/>
                    <a:gd name="connsiteY120" fmla="*/ 68553 h 161925"/>
                    <a:gd name="connsiteX121" fmla="*/ 179204 w 285750"/>
                    <a:gd name="connsiteY121" fmla="*/ 64867 h 161925"/>
                    <a:gd name="connsiteX122" fmla="*/ 171825 w 285750"/>
                    <a:gd name="connsiteY122" fmla="*/ 64867 h 161925"/>
                    <a:gd name="connsiteX123" fmla="*/ 168136 w 285750"/>
                    <a:gd name="connsiteY123" fmla="*/ 61171 h 161925"/>
                    <a:gd name="connsiteX124" fmla="*/ 164447 w 285750"/>
                    <a:gd name="connsiteY124" fmla="*/ 61171 h 161925"/>
                    <a:gd name="connsiteX125" fmla="*/ 157069 w 285750"/>
                    <a:gd name="connsiteY125" fmla="*/ 53789 h 161925"/>
                    <a:gd name="connsiteX126" fmla="*/ 149690 w 285750"/>
                    <a:gd name="connsiteY126" fmla="*/ 50103 h 161925"/>
                    <a:gd name="connsiteX127" fmla="*/ 146001 w 285750"/>
                    <a:gd name="connsiteY127" fmla="*/ 50103 h 161925"/>
                    <a:gd name="connsiteX128" fmla="*/ 131244 w 285750"/>
                    <a:gd name="connsiteY128" fmla="*/ 42721 h 161925"/>
                    <a:gd name="connsiteX129" fmla="*/ 127555 w 285750"/>
                    <a:gd name="connsiteY129" fmla="*/ 39035 h 161925"/>
                    <a:gd name="connsiteX130" fmla="*/ 116487 w 285750"/>
                    <a:gd name="connsiteY130" fmla="*/ 35339 h 161925"/>
                    <a:gd name="connsiteX131" fmla="*/ 116487 w 285750"/>
                    <a:gd name="connsiteY131" fmla="*/ 31653 h 161925"/>
                    <a:gd name="connsiteX132" fmla="*/ 112798 w 285750"/>
                    <a:gd name="connsiteY132" fmla="*/ 27957 h 161925"/>
                    <a:gd name="connsiteX133" fmla="*/ 109109 w 285750"/>
                    <a:gd name="connsiteY133" fmla="*/ 27957 h 161925"/>
                    <a:gd name="connsiteX134" fmla="*/ 109109 w 285750"/>
                    <a:gd name="connsiteY134" fmla="*/ 31653 h 161925"/>
                    <a:gd name="connsiteX135" fmla="*/ 105420 w 285750"/>
                    <a:gd name="connsiteY135" fmla="*/ 27957 h 161925"/>
                    <a:gd name="connsiteX136" fmla="*/ 109109 w 285750"/>
                    <a:gd name="connsiteY136" fmla="*/ 27957 h 161925"/>
                    <a:gd name="connsiteX137" fmla="*/ 109109 w 285750"/>
                    <a:gd name="connsiteY137" fmla="*/ 24271 h 161925"/>
                    <a:gd name="connsiteX138" fmla="*/ 109109 w 285750"/>
                    <a:gd name="connsiteY138" fmla="*/ 20575 h 161925"/>
                    <a:gd name="connsiteX139" fmla="*/ 105420 w 285750"/>
                    <a:gd name="connsiteY139" fmla="*/ 20575 h 161925"/>
                    <a:gd name="connsiteX140" fmla="*/ 105420 w 285750"/>
                    <a:gd name="connsiteY140" fmla="*/ 24271 h 161925"/>
                    <a:gd name="connsiteX141" fmla="*/ 101730 w 285750"/>
                    <a:gd name="connsiteY141" fmla="*/ 24271 h 161925"/>
                    <a:gd name="connsiteX142" fmla="*/ 101730 w 285750"/>
                    <a:gd name="connsiteY142" fmla="*/ 20575 h 161925"/>
                    <a:gd name="connsiteX143" fmla="*/ 94352 w 285750"/>
                    <a:gd name="connsiteY143" fmla="*/ 16889 h 161925"/>
                    <a:gd name="connsiteX144" fmla="*/ 94352 w 285750"/>
                    <a:gd name="connsiteY144" fmla="*/ 13194 h 161925"/>
                    <a:gd name="connsiteX145" fmla="*/ 90663 w 285750"/>
                    <a:gd name="connsiteY145" fmla="*/ 9507 h 161925"/>
                    <a:gd name="connsiteX146" fmla="*/ 20569 w 285750"/>
                    <a:gd name="connsiteY146" fmla="*/ 61171 h 161925"/>
                    <a:gd name="connsiteX147" fmla="*/ 16880 w 285750"/>
                    <a:gd name="connsiteY147" fmla="*/ 68553 h 161925"/>
                    <a:gd name="connsiteX148" fmla="*/ 13191 w 285750"/>
                    <a:gd name="connsiteY148" fmla="*/ 72248 h 161925"/>
                    <a:gd name="connsiteX149" fmla="*/ 5812 w 285750"/>
                    <a:gd name="connsiteY149" fmla="*/ 75935 h 161925"/>
                    <a:gd name="connsiteX150" fmla="*/ 9501 w 285750"/>
                    <a:gd name="connsiteY150" fmla="*/ 75935 h 161925"/>
                    <a:gd name="connsiteX151" fmla="*/ 16880 w 285750"/>
                    <a:gd name="connsiteY151" fmla="*/ 79630 h 161925"/>
                    <a:gd name="connsiteX152" fmla="*/ 20569 w 285750"/>
                    <a:gd name="connsiteY152" fmla="*/ 83317 h 161925"/>
                    <a:gd name="connsiteX153" fmla="*/ 24258 w 285750"/>
                    <a:gd name="connsiteY153" fmla="*/ 83317 h 161925"/>
                    <a:gd name="connsiteX154" fmla="*/ 24258 w 285750"/>
                    <a:gd name="connsiteY154" fmla="*/ 79630 h 161925"/>
                    <a:gd name="connsiteX155" fmla="*/ 20569 w 285750"/>
                    <a:gd name="connsiteY155" fmla="*/ 75935 h 161925"/>
                    <a:gd name="connsiteX156" fmla="*/ 16880 w 285750"/>
                    <a:gd name="connsiteY156" fmla="*/ 72248 h 161925"/>
                    <a:gd name="connsiteX157" fmla="*/ 20569 w 285750"/>
                    <a:gd name="connsiteY157" fmla="*/ 61171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285750" h="161925">
                      <a:moveTo>
                        <a:pt x="90663" y="5812"/>
                      </a:moveTo>
                      <a:lnTo>
                        <a:pt x="83285" y="9507"/>
                      </a:lnTo>
                      <a:lnTo>
                        <a:pt x="90663" y="9507"/>
                      </a:lnTo>
                      <a:lnTo>
                        <a:pt x="90663" y="5812"/>
                      </a:lnTo>
                      <a:close/>
                      <a:moveTo>
                        <a:pt x="90663" y="9507"/>
                      </a:moveTo>
                      <a:lnTo>
                        <a:pt x="79595" y="13194"/>
                      </a:lnTo>
                      <a:lnTo>
                        <a:pt x="75906" y="13194"/>
                      </a:lnTo>
                      <a:lnTo>
                        <a:pt x="72217" y="13194"/>
                      </a:lnTo>
                      <a:lnTo>
                        <a:pt x="79595" y="9507"/>
                      </a:lnTo>
                      <a:lnTo>
                        <a:pt x="68528" y="13194"/>
                      </a:lnTo>
                      <a:lnTo>
                        <a:pt x="46393" y="20575"/>
                      </a:lnTo>
                      <a:lnTo>
                        <a:pt x="39015" y="24271"/>
                      </a:lnTo>
                      <a:lnTo>
                        <a:pt x="35326" y="24271"/>
                      </a:lnTo>
                      <a:lnTo>
                        <a:pt x="24258" y="27957"/>
                      </a:lnTo>
                      <a:lnTo>
                        <a:pt x="20569" y="27957"/>
                      </a:lnTo>
                      <a:lnTo>
                        <a:pt x="16880" y="35339"/>
                      </a:lnTo>
                      <a:lnTo>
                        <a:pt x="16880" y="39035"/>
                      </a:lnTo>
                      <a:lnTo>
                        <a:pt x="16880" y="42721"/>
                      </a:lnTo>
                      <a:lnTo>
                        <a:pt x="20569" y="53789"/>
                      </a:lnTo>
                      <a:lnTo>
                        <a:pt x="20569" y="57485"/>
                      </a:lnTo>
                      <a:lnTo>
                        <a:pt x="24258" y="57485"/>
                      </a:lnTo>
                      <a:lnTo>
                        <a:pt x="24258" y="61171"/>
                      </a:lnTo>
                      <a:lnTo>
                        <a:pt x="27947" y="61171"/>
                      </a:lnTo>
                      <a:lnTo>
                        <a:pt x="35326" y="57485"/>
                      </a:lnTo>
                      <a:lnTo>
                        <a:pt x="35326" y="53789"/>
                      </a:lnTo>
                      <a:lnTo>
                        <a:pt x="31636" y="53789"/>
                      </a:lnTo>
                      <a:lnTo>
                        <a:pt x="31636" y="50103"/>
                      </a:lnTo>
                      <a:lnTo>
                        <a:pt x="35326" y="50103"/>
                      </a:lnTo>
                      <a:lnTo>
                        <a:pt x="39015" y="50103"/>
                      </a:lnTo>
                      <a:lnTo>
                        <a:pt x="42704" y="50103"/>
                      </a:lnTo>
                      <a:lnTo>
                        <a:pt x="46393" y="46417"/>
                      </a:lnTo>
                      <a:lnTo>
                        <a:pt x="50082" y="46417"/>
                      </a:lnTo>
                      <a:lnTo>
                        <a:pt x="53771" y="46417"/>
                      </a:lnTo>
                      <a:lnTo>
                        <a:pt x="57460" y="46417"/>
                      </a:lnTo>
                      <a:lnTo>
                        <a:pt x="61150" y="42721"/>
                      </a:lnTo>
                      <a:lnTo>
                        <a:pt x="64839" y="39035"/>
                      </a:lnTo>
                      <a:lnTo>
                        <a:pt x="72217" y="42721"/>
                      </a:lnTo>
                      <a:lnTo>
                        <a:pt x="79595" y="42721"/>
                      </a:lnTo>
                      <a:lnTo>
                        <a:pt x="86974" y="46417"/>
                      </a:lnTo>
                      <a:lnTo>
                        <a:pt x="86974" y="50103"/>
                      </a:lnTo>
                      <a:lnTo>
                        <a:pt x="90663" y="53789"/>
                      </a:lnTo>
                      <a:lnTo>
                        <a:pt x="94352" y="61171"/>
                      </a:lnTo>
                      <a:lnTo>
                        <a:pt x="98041" y="61171"/>
                      </a:lnTo>
                      <a:lnTo>
                        <a:pt x="98041" y="68553"/>
                      </a:lnTo>
                      <a:lnTo>
                        <a:pt x="98041" y="72248"/>
                      </a:lnTo>
                      <a:lnTo>
                        <a:pt x="94352" y="72248"/>
                      </a:lnTo>
                      <a:lnTo>
                        <a:pt x="94352" y="75935"/>
                      </a:lnTo>
                      <a:lnTo>
                        <a:pt x="98041" y="75935"/>
                      </a:lnTo>
                      <a:lnTo>
                        <a:pt x="94352" y="79630"/>
                      </a:lnTo>
                      <a:lnTo>
                        <a:pt x="94352" y="83317"/>
                      </a:lnTo>
                      <a:lnTo>
                        <a:pt x="98041" y="90698"/>
                      </a:lnTo>
                      <a:lnTo>
                        <a:pt x="101730" y="90698"/>
                      </a:lnTo>
                      <a:lnTo>
                        <a:pt x="101730" y="94394"/>
                      </a:lnTo>
                      <a:lnTo>
                        <a:pt x="105420" y="98080"/>
                      </a:lnTo>
                      <a:lnTo>
                        <a:pt x="105420" y="101766"/>
                      </a:lnTo>
                      <a:lnTo>
                        <a:pt x="109109" y="109148"/>
                      </a:lnTo>
                      <a:lnTo>
                        <a:pt x="109109" y="116530"/>
                      </a:lnTo>
                      <a:lnTo>
                        <a:pt x="112798" y="116530"/>
                      </a:lnTo>
                      <a:lnTo>
                        <a:pt x="116487" y="116530"/>
                      </a:lnTo>
                      <a:lnTo>
                        <a:pt x="120176" y="120226"/>
                      </a:lnTo>
                      <a:lnTo>
                        <a:pt x="123865" y="116530"/>
                      </a:lnTo>
                      <a:lnTo>
                        <a:pt x="123865" y="120226"/>
                      </a:lnTo>
                      <a:lnTo>
                        <a:pt x="131244" y="120226"/>
                      </a:lnTo>
                      <a:lnTo>
                        <a:pt x="138622" y="120226"/>
                      </a:lnTo>
                      <a:lnTo>
                        <a:pt x="142311" y="120226"/>
                      </a:lnTo>
                      <a:lnTo>
                        <a:pt x="146001" y="120226"/>
                      </a:lnTo>
                      <a:lnTo>
                        <a:pt x="149690" y="123912"/>
                      </a:lnTo>
                      <a:lnTo>
                        <a:pt x="160758" y="127608"/>
                      </a:lnTo>
                      <a:lnTo>
                        <a:pt x="164447" y="134990"/>
                      </a:lnTo>
                      <a:lnTo>
                        <a:pt x="168136" y="138676"/>
                      </a:lnTo>
                      <a:lnTo>
                        <a:pt x="175515" y="138676"/>
                      </a:lnTo>
                      <a:lnTo>
                        <a:pt x="179204" y="138676"/>
                      </a:lnTo>
                      <a:lnTo>
                        <a:pt x="179204" y="142372"/>
                      </a:lnTo>
                      <a:lnTo>
                        <a:pt x="186582" y="142372"/>
                      </a:lnTo>
                      <a:lnTo>
                        <a:pt x="190271" y="146058"/>
                      </a:lnTo>
                      <a:lnTo>
                        <a:pt x="193960" y="146058"/>
                      </a:lnTo>
                      <a:lnTo>
                        <a:pt x="193960" y="149744"/>
                      </a:lnTo>
                      <a:lnTo>
                        <a:pt x="193960" y="153440"/>
                      </a:lnTo>
                      <a:lnTo>
                        <a:pt x="201339" y="157126"/>
                      </a:lnTo>
                      <a:lnTo>
                        <a:pt x="205028" y="160821"/>
                      </a:lnTo>
                      <a:lnTo>
                        <a:pt x="216095" y="160821"/>
                      </a:lnTo>
                      <a:lnTo>
                        <a:pt x="219785" y="160821"/>
                      </a:lnTo>
                      <a:lnTo>
                        <a:pt x="223474" y="160821"/>
                      </a:lnTo>
                      <a:lnTo>
                        <a:pt x="230852" y="157126"/>
                      </a:lnTo>
                      <a:lnTo>
                        <a:pt x="238230" y="157126"/>
                      </a:lnTo>
                      <a:lnTo>
                        <a:pt x="241919" y="157126"/>
                      </a:lnTo>
                      <a:lnTo>
                        <a:pt x="252987" y="153440"/>
                      </a:lnTo>
                      <a:lnTo>
                        <a:pt x="260365" y="149744"/>
                      </a:lnTo>
                      <a:lnTo>
                        <a:pt x="264054" y="146058"/>
                      </a:lnTo>
                      <a:lnTo>
                        <a:pt x="267744" y="138676"/>
                      </a:lnTo>
                      <a:lnTo>
                        <a:pt x="267744" y="134990"/>
                      </a:lnTo>
                      <a:lnTo>
                        <a:pt x="264054" y="134990"/>
                      </a:lnTo>
                      <a:lnTo>
                        <a:pt x="264054" y="131294"/>
                      </a:lnTo>
                      <a:lnTo>
                        <a:pt x="267744" y="131294"/>
                      </a:lnTo>
                      <a:lnTo>
                        <a:pt x="271433" y="131294"/>
                      </a:lnTo>
                      <a:lnTo>
                        <a:pt x="275122" y="131294"/>
                      </a:lnTo>
                      <a:lnTo>
                        <a:pt x="278811" y="131294"/>
                      </a:lnTo>
                      <a:lnTo>
                        <a:pt x="286189" y="127608"/>
                      </a:lnTo>
                      <a:lnTo>
                        <a:pt x="282500" y="127608"/>
                      </a:lnTo>
                      <a:lnTo>
                        <a:pt x="282500" y="123912"/>
                      </a:lnTo>
                      <a:lnTo>
                        <a:pt x="282500" y="120226"/>
                      </a:lnTo>
                      <a:lnTo>
                        <a:pt x="278811" y="120226"/>
                      </a:lnTo>
                      <a:lnTo>
                        <a:pt x="275122" y="123912"/>
                      </a:lnTo>
                      <a:lnTo>
                        <a:pt x="267744" y="123912"/>
                      </a:lnTo>
                      <a:lnTo>
                        <a:pt x="260365" y="123912"/>
                      </a:lnTo>
                      <a:lnTo>
                        <a:pt x="252987" y="123912"/>
                      </a:lnTo>
                      <a:lnTo>
                        <a:pt x="249298" y="123912"/>
                      </a:lnTo>
                      <a:lnTo>
                        <a:pt x="241919" y="123912"/>
                      </a:lnTo>
                      <a:lnTo>
                        <a:pt x="234541" y="112844"/>
                      </a:lnTo>
                      <a:lnTo>
                        <a:pt x="227163" y="112844"/>
                      </a:lnTo>
                      <a:lnTo>
                        <a:pt x="223474" y="109148"/>
                      </a:lnTo>
                      <a:lnTo>
                        <a:pt x="219785" y="109148"/>
                      </a:lnTo>
                      <a:lnTo>
                        <a:pt x="216095" y="105462"/>
                      </a:lnTo>
                      <a:lnTo>
                        <a:pt x="216095" y="101766"/>
                      </a:lnTo>
                      <a:lnTo>
                        <a:pt x="208717" y="98080"/>
                      </a:lnTo>
                      <a:lnTo>
                        <a:pt x="208717" y="94394"/>
                      </a:lnTo>
                      <a:lnTo>
                        <a:pt x="208717" y="90698"/>
                      </a:lnTo>
                      <a:lnTo>
                        <a:pt x="205028" y="90698"/>
                      </a:lnTo>
                      <a:lnTo>
                        <a:pt x="193960" y="79630"/>
                      </a:lnTo>
                      <a:lnTo>
                        <a:pt x="182893" y="68553"/>
                      </a:lnTo>
                      <a:lnTo>
                        <a:pt x="179204" y="68553"/>
                      </a:lnTo>
                      <a:lnTo>
                        <a:pt x="179204" y="64867"/>
                      </a:lnTo>
                      <a:lnTo>
                        <a:pt x="171825" y="64867"/>
                      </a:lnTo>
                      <a:lnTo>
                        <a:pt x="168136" y="61171"/>
                      </a:lnTo>
                      <a:lnTo>
                        <a:pt x="164447" y="61171"/>
                      </a:lnTo>
                      <a:lnTo>
                        <a:pt x="157069" y="53789"/>
                      </a:lnTo>
                      <a:lnTo>
                        <a:pt x="149690" y="50103"/>
                      </a:lnTo>
                      <a:lnTo>
                        <a:pt x="146001" y="50103"/>
                      </a:lnTo>
                      <a:lnTo>
                        <a:pt x="131244" y="42721"/>
                      </a:lnTo>
                      <a:lnTo>
                        <a:pt x="127555" y="39035"/>
                      </a:lnTo>
                      <a:lnTo>
                        <a:pt x="116487" y="35339"/>
                      </a:lnTo>
                      <a:lnTo>
                        <a:pt x="116487" y="31653"/>
                      </a:lnTo>
                      <a:lnTo>
                        <a:pt x="112798" y="27957"/>
                      </a:lnTo>
                      <a:lnTo>
                        <a:pt x="109109" y="27957"/>
                      </a:lnTo>
                      <a:lnTo>
                        <a:pt x="109109" y="31653"/>
                      </a:lnTo>
                      <a:lnTo>
                        <a:pt x="105420" y="27957"/>
                      </a:lnTo>
                      <a:lnTo>
                        <a:pt x="109109" y="27957"/>
                      </a:lnTo>
                      <a:lnTo>
                        <a:pt x="109109" y="24271"/>
                      </a:lnTo>
                      <a:lnTo>
                        <a:pt x="109109" y="20575"/>
                      </a:lnTo>
                      <a:lnTo>
                        <a:pt x="105420" y="20575"/>
                      </a:lnTo>
                      <a:lnTo>
                        <a:pt x="105420" y="24271"/>
                      </a:lnTo>
                      <a:lnTo>
                        <a:pt x="101730" y="24271"/>
                      </a:lnTo>
                      <a:lnTo>
                        <a:pt x="101730" y="20575"/>
                      </a:lnTo>
                      <a:lnTo>
                        <a:pt x="94352" y="16889"/>
                      </a:lnTo>
                      <a:lnTo>
                        <a:pt x="94352" y="13194"/>
                      </a:lnTo>
                      <a:lnTo>
                        <a:pt x="90663" y="9507"/>
                      </a:lnTo>
                      <a:close/>
                      <a:moveTo>
                        <a:pt x="20569" y="61171"/>
                      </a:moveTo>
                      <a:lnTo>
                        <a:pt x="16880" y="68553"/>
                      </a:lnTo>
                      <a:lnTo>
                        <a:pt x="13191" y="72248"/>
                      </a:lnTo>
                      <a:lnTo>
                        <a:pt x="5812" y="75935"/>
                      </a:lnTo>
                      <a:lnTo>
                        <a:pt x="9501" y="75935"/>
                      </a:lnTo>
                      <a:lnTo>
                        <a:pt x="16880" y="79630"/>
                      </a:lnTo>
                      <a:lnTo>
                        <a:pt x="20569" y="83317"/>
                      </a:lnTo>
                      <a:lnTo>
                        <a:pt x="24258" y="83317"/>
                      </a:lnTo>
                      <a:lnTo>
                        <a:pt x="24258" y="79630"/>
                      </a:lnTo>
                      <a:lnTo>
                        <a:pt x="20569" y="75935"/>
                      </a:lnTo>
                      <a:lnTo>
                        <a:pt x="16880" y="72248"/>
                      </a:lnTo>
                      <a:lnTo>
                        <a:pt x="20569" y="61171"/>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100" name="Freeform: Shape 99">
                  <a:extLst>
                    <a:ext uri="{FF2B5EF4-FFF2-40B4-BE49-F238E27FC236}">
                      <a16:creationId xmlns:a16="http://schemas.microsoft.com/office/drawing/2014/main" id="{D4848BAA-B167-4451-ACC5-6432C6A66ED7}"/>
                    </a:ext>
                  </a:extLst>
                </p:cNvPr>
                <p:cNvSpPr/>
                <p:nvPr/>
              </p:nvSpPr>
              <p:spPr>
                <a:xfrm>
                  <a:off x="2075308" y="4326307"/>
                  <a:ext cx="129960" cy="64980"/>
                </a:xfrm>
                <a:custGeom>
                  <a:avLst/>
                  <a:gdLst>
                    <a:gd name="connsiteX0" fmla="*/ 27947 w 57150"/>
                    <a:gd name="connsiteY0" fmla="*/ 9507 h 28575"/>
                    <a:gd name="connsiteX1" fmla="*/ 35325 w 57150"/>
                    <a:gd name="connsiteY1" fmla="*/ 13193 h 28575"/>
                    <a:gd name="connsiteX2" fmla="*/ 46393 w 57150"/>
                    <a:gd name="connsiteY2" fmla="*/ 16889 h 28575"/>
                    <a:gd name="connsiteX3" fmla="*/ 53771 w 57150"/>
                    <a:gd name="connsiteY3" fmla="*/ 20575 h 28575"/>
                    <a:gd name="connsiteX4" fmla="*/ 53771 w 57150"/>
                    <a:gd name="connsiteY4" fmla="*/ 20575 h 28575"/>
                    <a:gd name="connsiteX5" fmla="*/ 57460 w 57150"/>
                    <a:gd name="connsiteY5" fmla="*/ 24261 h 28575"/>
                    <a:gd name="connsiteX6" fmla="*/ 53771 w 57150"/>
                    <a:gd name="connsiteY6" fmla="*/ 24261 h 28575"/>
                    <a:gd name="connsiteX7" fmla="*/ 53771 w 57150"/>
                    <a:gd name="connsiteY7" fmla="*/ 24261 h 28575"/>
                    <a:gd name="connsiteX8" fmla="*/ 46393 w 57150"/>
                    <a:gd name="connsiteY8" fmla="*/ 27957 h 28575"/>
                    <a:gd name="connsiteX9" fmla="*/ 35325 w 57150"/>
                    <a:gd name="connsiteY9" fmla="*/ 27957 h 28575"/>
                    <a:gd name="connsiteX10" fmla="*/ 31636 w 57150"/>
                    <a:gd name="connsiteY10" fmla="*/ 27957 h 28575"/>
                    <a:gd name="connsiteX11" fmla="*/ 27947 w 57150"/>
                    <a:gd name="connsiteY11" fmla="*/ 24261 h 28575"/>
                    <a:gd name="connsiteX12" fmla="*/ 24258 w 57150"/>
                    <a:gd name="connsiteY12" fmla="*/ 20575 h 28575"/>
                    <a:gd name="connsiteX13" fmla="*/ 24258 w 57150"/>
                    <a:gd name="connsiteY13" fmla="*/ 20575 h 28575"/>
                    <a:gd name="connsiteX14" fmla="*/ 20569 w 57150"/>
                    <a:gd name="connsiteY14" fmla="*/ 20575 h 28575"/>
                    <a:gd name="connsiteX15" fmla="*/ 13191 w 57150"/>
                    <a:gd name="connsiteY15" fmla="*/ 13193 h 28575"/>
                    <a:gd name="connsiteX16" fmla="*/ 9501 w 57150"/>
                    <a:gd name="connsiteY16" fmla="*/ 13193 h 28575"/>
                    <a:gd name="connsiteX17" fmla="*/ 5812 w 57150"/>
                    <a:gd name="connsiteY17" fmla="*/ 9507 h 28575"/>
                    <a:gd name="connsiteX18" fmla="*/ 5812 w 57150"/>
                    <a:gd name="connsiteY18" fmla="*/ 9507 h 28575"/>
                    <a:gd name="connsiteX19" fmla="*/ 5812 w 57150"/>
                    <a:gd name="connsiteY19" fmla="*/ 9507 h 28575"/>
                    <a:gd name="connsiteX20" fmla="*/ 9501 w 57150"/>
                    <a:gd name="connsiteY20" fmla="*/ 5812 h 28575"/>
                    <a:gd name="connsiteX21" fmla="*/ 9501 w 57150"/>
                    <a:gd name="connsiteY21" fmla="*/ 5812 h 28575"/>
                    <a:gd name="connsiteX22" fmla="*/ 16880 w 57150"/>
                    <a:gd name="connsiteY22" fmla="*/ 5812 h 28575"/>
                    <a:gd name="connsiteX23" fmla="*/ 27947 w 57150"/>
                    <a:gd name="connsiteY23" fmla="*/ 9507 h 28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7150" h="28575">
                      <a:moveTo>
                        <a:pt x="27947" y="9507"/>
                      </a:moveTo>
                      <a:lnTo>
                        <a:pt x="35325" y="13193"/>
                      </a:lnTo>
                      <a:lnTo>
                        <a:pt x="46393" y="16889"/>
                      </a:lnTo>
                      <a:lnTo>
                        <a:pt x="53771" y="20575"/>
                      </a:lnTo>
                      <a:lnTo>
                        <a:pt x="53771" y="20575"/>
                      </a:lnTo>
                      <a:lnTo>
                        <a:pt x="57460" y="24261"/>
                      </a:lnTo>
                      <a:lnTo>
                        <a:pt x="53771" y="24261"/>
                      </a:lnTo>
                      <a:lnTo>
                        <a:pt x="53771" y="24261"/>
                      </a:lnTo>
                      <a:lnTo>
                        <a:pt x="46393" y="27957"/>
                      </a:lnTo>
                      <a:lnTo>
                        <a:pt x="35325" y="27957"/>
                      </a:lnTo>
                      <a:lnTo>
                        <a:pt x="31636" y="27957"/>
                      </a:lnTo>
                      <a:lnTo>
                        <a:pt x="27947" y="24261"/>
                      </a:lnTo>
                      <a:lnTo>
                        <a:pt x="24258" y="20575"/>
                      </a:lnTo>
                      <a:lnTo>
                        <a:pt x="24258" y="20575"/>
                      </a:lnTo>
                      <a:lnTo>
                        <a:pt x="20569" y="20575"/>
                      </a:lnTo>
                      <a:lnTo>
                        <a:pt x="13191" y="13193"/>
                      </a:lnTo>
                      <a:lnTo>
                        <a:pt x="9501" y="13193"/>
                      </a:lnTo>
                      <a:lnTo>
                        <a:pt x="5812" y="9507"/>
                      </a:lnTo>
                      <a:lnTo>
                        <a:pt x="5812" y="9507"/>
                      </a:lnTo>
                      <a:lnTo>
                        <a:pt x="5812" y="9507"/>
                      </a:lnTo>
                      <a:lnTo>
                        <a:pt x="9501" y="5812"/>
                      </a:lnTo>
                      <a:lnTo>
                        <a:pt x="9501" y="5812"/>
                      </a:lnTo>
                      <a:lnTo>
                        <a:pt x="16880" y="5812"/>
                      </a:lnTo>
                      <a:lnTo>
                        <a:pt x="27947" y="9507"/>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101" name="Freeform: Shape 100">
                  <a:extLst>
                    <a:ext uri="{FF2B5EF4-FFF2-40B4-BE49-F238E27FC236}">
                      <a16:creationId xmlns:a16="http://schemas.microsoft.com/office/drawing/2014/main" id="{EDE63BE5-2D63-457A-9DB3-4A69D62E933D}"/>
                    </a:ext>
                  </a:extLst>
                </p:cNvPr>
                <p:cNvSpPr/>
                <p:nvPr/>
              </p:nvSpPr>
              <p:spPr>
                <a:xfrm>
                  <a:off x="1764907" y="4309520"/>
                  <a:ext cx="64980" cy="86640"/>
                </a:xfrm>
                <a:custGeom>
                  <a:avLst/>
                  <a:gdLst>
                    <a:gd name="connsiteX0" fmla="*/ 5812 w 28575"/>
                    <a:gd name="connsiteY0" fmla="*/ 9507 h 38100"/>
                    <a:gd name="connsiteX1" fmla="*/ 9501 w 28575"/>
                    <a:gd name="connsiteY1" fmla="*/ 9507 h 38100"/>
                    <a:gd name="connsiteX2" fmla="*/ 13191 w 28575"/>
                    <a:gd name="connsiteY2" fmla="*/ 5812 h 38100"/>
                    <a:gd name="connsiteX3" fmla="*/ 13191 w 28575"/>
                    <a:gd name="connsiteY3" fmla="*/ 5812 h 38100"/>
                    <a:gd name="connsiteX4" fmla="*/ 13191 w 28575"/>
                    <a:gd name="connsiteY4" fmla="*/ 9507 h 38100"/>
                    <a:gd name="connsiteX5" fmla="*/ 13191 w 28575"/>
                    <a:gd name="connsiteY5" fmla="*/ 13194 h 38100"/>
                    <a:gd name="connsiteX6" fmla="*/ 16880 w 28575"/>
                    <a:gd name="connsiteY6" fmla="*/ 24271 h 38100"/>
                    <a:gd name="connsiteX7" fmla="*/ 24258 w 28575"/>
                    <a:gd name="connsiteY7" fmla="*/ 31643 h 38100"/>
                    <a:gd name="connsiteX8" fmla="*/ 24258 w 28575"/>
                    <a:gd name="connsiteY8" fmla="*/ 31643 h 38100"/>
                    <a:gd name="connsiteX9" fmla="*/ 24258 w 28575"/>
                    <a:gd name="connsiteY9" fmla="*/ 31643 h 38100"/>
                    <a:gd name="connsiteX10" fmla="*/ 20569 w 28575"/>
                    <a:gd name="connsiteY10" fmla="*/ 35339 h 38100"/>
                    <a:gd name="connsiteX11" fmla="*/ 16880 w 28575"/>
                    <a:gd name="connsiteY11" fmla="*/ 35339 h 38100"/>
                    <a:gd name="connsiteX12" fmla="*/ 16880 w 28575"/>
                    <a:gd name="connsiteY12" fmla="*/ 31643 h 38100"/>
                    <a:gd name="connsiteX13" fmla="*/ 13191 w 28575"/>
                    <a:gd name="connsiteY13" fmla="*/ 27957 h 38100"/>
                    <a:gd name="connsiteX14" fmla="*/ 13191 w 28575"/>
                    <a:gd name="connsiteY14" fmla="*/ 24271 h 38100"/>
                    <a:gd name="connsiteX15" fmla="*/ 9501 w 28575"/>
                    <a:gd name="connsiteY15" fmla="*/ 16889 h 38100"/>
                    <a:gd name="connsiteX16" fmla="*/ 5812 w 28575"/>
                    <a:gd name="connsiteY16" fmla="*/ 13194 h 38100"/>
                    <a:gd name="connsiteX17" fmla="*/ 5812 w 28575"/>
                    <a:gd name="connsiteY17" fmla="*/ 13194 h 38100"/>
                    <a:gd name="connsiteX18" fmla="*/ 5812 w 28575"/>
                    <a:gd name="connsiteY18" fmla="*/ 9507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8575" h="38100">
                      <a:moveTo>
                        <a:pt x="5812" y="9507"/>
                      </a:moveTo>
                      <a:lnTo>
                        <a:pt x="9501" y="9507"/>
                      </a:lnTo>
                      <a:lnTo>
                        <a:pt x="13191" y="5812"/>
                      </a:lnTo>
                      <a:lnTo>
                        <a:pt x="13191" y="5812"/>
                      </a:lnTo>
                      <a:lnTo>
                        <a:pt x="13191" y="9507"/>
                      </a:lnTo>
                      <a:lnTo>
                        <a:pt x="13191" y="13194"/>
                      </a:lnTo>
                      <a:lnTo>
                        <a:pt x="16880" y="24271"/>
                      </a:lnTo>
                      <a:lnTo>
                        <a:pt x="24258" y="31643"/>
                      </a:lnTo>
                      <a:lnTo>
                        <a:pt x="24258" y="31643"/>
                      </a:lnTo>
                      <a:lnTo>
                        <a:pt x="24258" y="31643"/>
                      </a:lnTo>
                      <a:lnTo>
                        <a:pt x="20569" y="35339"/>
                      </a:lnTo>
                      <a:lnTo>
                        <a:pt x="16880" y="35339"/>
                      </a:lnTo>
                      <a:lnTo>
                        <a:pt x="16880" y="31643"/>
                      </a:lnTo>
                      <a:lnTo>
                        <a:pt x="13191" y="27957"/>
                      </a:lnTo>
                      <a:lnTo>
                        <a:pt x="13191" y="24271"/>
                      </a:lnTo>
                      <a:lnTo>
                        <a:pt x="9501" y="16889"/>
                      </a:lnTo>
                      <a:lnTo>
                        <a:pt x="5812" y="13194"/>
                      </a:lnTo>
                      <a:lnTo>
                        <a:pt x="5812" y="13194"/>
                      </a:lnTo>
                      <a:lnTo>
                        <a:pt x="5812" y="9507"/>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102" name="Freeform: Shape 101">
                  <a:extLst>
                    <a:ext uri="{FF2B5EF4-FFF2-40B4-BE49-F238E27FC236}">
                      <a16:creationId xmlns:a16="http://schemas.microsoft.com/office/drawing/2014/main" id="{010C1ECC-C49F-413D-9FEE-D2F0FABD4038}"/>
                    </a:ext>
                  </a:extLst>
                </p:cNvPr>
                <p:cNvSpPr/>
                <p:nvPr/>
              </p:nvSpPr>
              <p:spPr>
                <a:xfrm>
                  <a:off x="2226316" y="4427025"/>
                  <a:ext cx="21660" cy="21660"/>
                </a:xfrm>
                <a:custGeom>
                  <a:avLst/>
                  <a:gdLst>
                    <a:gd name="connsiteX0" fmla="*/ 13190 w 9525"/>
                    <a:gd name="connsiteY0" fmla="*/ 5812 h 9525"/>
                    <a:gd name="connsiteX1" fmla="*/ 9501 w 9525"/>
                    <a:gd name="connsiteY1" fmla="*/ 9498 h 9525"/>
                    <a:gd name="connsiteX2" fmla="*/ 9501 w 9525"/>
                    <a:gd name="connsiteY2" fmla="*/ 9498 h 9525"/>
                    <a:gd name="connsiteX3" fmla="*/ 13190 w 9525"/>
                    <a:gd name="connsiteY3" fmla="*/ 9498 h 9525"/>
                    <a:gd name="connsiteX4" fmla="*/ 13190 w 9525"/>
                    <a:gd name="connsiteY4" fmla="*/ 9498 h 9525"/>
                    <a:gd name="connsiteX5" fmla="*/ 9501 w 9525"/>
                    <a:gd name="connsiteY5" fmla="*/ 9498 h 9525"/>
                    <a:gd name="connsiteX6" fmla="*/ 9501 w 9525"/>
                    <a:gd name="connsiteY6" fmla="*/ 13194 h 9525"/>
                    <a:gd name="connsiteX7" fmla="*/ 5812 w 9525"/>
                    <a:gd name="connsiteY7" fmla="*/ 9498 h 9525"/>
                    <a:gd name="connsiteX8" fmla="*/ 5812 w 9525"/>
                    <a:gd name="connsiteY8" fmla="*/ 9498 h 9525"/>
                    <a:gd name="connsiteX9" fmla="*/ 5812 w 9525"/>
                    <a:gd name="connsiteY9" fmla="*/ 9498 h 9525"/>
                    <a:gd name="connsiteX10" fmla="*/ 13190 w 9525"/>
                    <a:gd name="connsiteY10" fmla="*/ 5812 h 9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525" h="9525">
                      <a:moveTo>
                        <a:pt x="13190" y="5812"/>
                      </a:moveTo>
                      <a:lnTo>
                        <a:pt x="9501" y="9498"/>
                      </a:lnTo>
                      <a:lnTo>
                        <a:pt x="9501" y="9498"/>
                      </a:lnTo>
                      <a:lnTo>
                        <a:pt x="13190" y="9498"/>
                      </a:lnTo>
                      <a:lnTo>
                        <a:pt x="13190" y="9498"/>
                      </a:lnTo>
                      <a:lnTo>
                        <a:pt x="9501" y="9498"/>
                      </a:lnTo>
                      <a:lnTo>
                        <a:pt x="9501" y="13194"/>
                      </a:lnTo>
                      <a:lnTo>
                        <a:pt x="5812" y="9498"/>
                      </a:lnTo>
                      <a:lnTo>
                        <a:pt x="5812" y="9498"/>
                      </a:lnTo>
                      <a:lnTo>
                        <a:pt x="5812" y="9498"/>
                      </a:lnTo>
                      <a:lnTo>
                        <a:pt x="13190"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grpSp>
          <p:sp>
            <p:nvSpPr>
              <p:cNvPr id="103" name="Freeform: Shape 102">
                <a:extLst>
                  <a:ext uri="{FF2B5EF4-FFF2-40B4-BE49-F238E27FC236}">
                    <a16:creationId xmlns:a16="http://schemas.microsoft.com/office/drawing/2014/main" id="{7463647F-A5AA-41CB-B7D2-D9B1DF3CE6EF}"/>
                  </a:ext>
                </a:extLst>
              </p:cNvPr>
              <p:cNvSpPr/>
              <p:nvPr/>
            </p:nvSpPr>
            <p:spPr>
              <a:xfrm>
                <a:off x="4511426" y="4272532"/>
                <a:ext cx="2064238" cy="1085321"/>
              </a:xfrm>
              <a:custGeom>
                <a:avLst/>
                <a:gdLst>
                  <a:gd name="connsiteX0" fmla="*/ 363662 w 923925"/>
                  <a:gd name="connsiteY0" fmla="*/ 5812 h 485775"/>
                  <a:gd name="connsiteX1" fmla="*/ 359973 w 923925"/>
                  <a:gd name="connsiteY1" fmla="*/ 9507 h 485775"/>
                  <a:gd name="connsiteX2" fmla="*/ 352595 w 923925"/>
                  <a:gd name="connsiteY2" fmla="*/ 13194 h 485775"/>
                  <a:gd name="connsiteX3" fmla="*/ 348906 w 923925"/>
                  <a:gd name="connsiteY3" fmla="*/ 13194 h 485775"/>
                  <a:gd name="connsiteX4" fmla="*/ 341527 w 923925"/>
                  <a:gd name="connsiteY4" fmla="*/ 24271 h 485775"/>
                  <a:gd name="connsiteX5" fmla="*/ 337838 w 923925"/>
                  <a:gd name="connsiteY5" fmla="*/ 24271 h 485775"/>
                  <a:gd name="connsiteX6" fmla="*/ 330460 w 923925"/>
                  <a:gd name="connsiteY6" fmla="*/ 27957 h 485775"/>
                  <a:gd name="connsiteX7" fmla="*/ 326771 w 923925"/>
                  <a:gd name="connsiteY7" fmla="*/ 27957 h 485775"/>
                  <a:gd name="connsiteX8" fmla="*/ 319392 w 923925"/>
                  <a:gd name="connsiteY8" fmla="*/ 27957 h 485775"/>
                  <a:gd name="connsiteX9" fmla="*/ 312014 w 923925"/>
                  <a:gd name="connsiteY9" fmla="*/ 27957 h 485775"/>
                  <a:gd name="connsiteX10" fmla="*/ 304636 w 923925"/>
                  <a:gd name="connsiteY10" fmla="*/ 27957 h 485775"/>
                  <a:gd name="connsiteX11" fmla="*/ 297257 w 923925"/>
                  <a:gd name="connsiteY11" fmla="*/ 31643 h 485775"/>
                  <a:gd name="connsiteX12" fmla="*/ 293568 w 923925"/>
                  <a:gd name="connsiteY12" fmla="*/ 31643 h 485775"/>
                  <a:gd name="connsiteX13" fmla="*/ 289878 w 923925"/>
                  <a:gd name="connsiteY13" fmla="*/ 35339 h 485775"/>
                  <a:gd name="connsiteX14" fmla="*/ 289878 w 923925"/>
                  <a:gd name="connsiteY14" fmla="*/ 39025 h 485775"/>
                  <a:gd name="connsiteX15" fmla="*/ 286189 w 923925"/>
                  <a:gd name="connsiteY15" fmla="*/ 42721 h 485775"/>
                  <a:gd name="connsiteX16" fmla="*/ 282500 w 923925"/>
                  <a:gd name="connsiteY16" fmla="*/ 46407 h 485775"/>
                  <a:gd name="connsiteX17" fmla="*/ 278811 w 923925"/>
                  <a:gd name="connsiteY17" fmla="*/ 57485 h 485775"/>
                  <a:gd name="connsiteX18" fmla="*/ 275121 w 923925"/>
                  <a:gd name="connsiteY18" fmla="*/ 61171 h 485775"/>
                  <a:gd name="connsiteX19" fmla="*/ 271432 w 923925"/>
                  <a:gd name="connsiteY19" fmla="*/ 68553 h 485775"/>
                  <a:gd name="connsiteX20" fmla="*/ 260365 w 923925"/>
                  <a:gd name="connsiteY20" fmla="*/ 75935 h 485775"/>
                  <a:gd name="connsiteX21" fmla="*/ 252986 w 923925"/>
                  <a:gd name="connsiteY21" fmla="*/ 79621 h 485775"/>
                  <a:gd name="connsiteX22" fmla="*/ 249297 w 923925"/>
                  <a:gd name="connsiteY22" fmla="*/ 83317 h 485775"/>
                  <a:gd name="connsiteX23" fmla="*/ 245608 w 923925"/>
                  <a:gd name="connsiteY23" fmla="*/ 87003 h 485775"/>
                  <a:gd name="connsiteX24" fmla="*/ 230851 w 923925"/>
                  <a:gd name="connsiteY24" fmla="*/ 90698 h 485775"/>
                  <a:gd name="connsiteX25" fmla="*/ 230851 w 923925"/>
                  <a:gd name="connsiteY25" fmla="*/ 94385 h 485775"/>
                  <a:gd name="connsiteX26" fmla="*/ 223473 w 923925"/>
                  <a:gd name="connsiteY26" fmla="*/ 98080 h 485775"/>
                  <a:gd name="connsiteX27" fmla="*/ 219784 w 923925"/>
                  <a:gd name="connsiteY27" fmla="*/ 101766 h 485775"/>
                  <a:gd name="connsiteX28" fmla="*/ 216095 w 923925"/>
                  <a:gd name="connsiteY28" fmla="*/ 101766 h 485775"/>
                  <a:gd name="connsiteX29" fmla="*/ 212406 w 923925"/>
                  <a:gd name="connsiteY29" fmla="*/ 105462 h 485775"/>
                  <a:gd name="connsiteX30" fmla="*/ 208717 w 923925"/>
                  <a:gd name="connsiteY30" fmla="*/ 109148 h 485775"/>
                  <a:gd name="connsiteX31" fmla="*/ 179203 w 923925"/>
                  <a:gd name="connsiteY31" fmla="*/ 116530 h 485775"/>
                  <a:gd name="connsiteX32" fmla="*/ 175514 w 923925"/>
                  <a:gd name="connsiteY32" fmla="*/ 116530 h 485775"/>
                  <a:gd name="connsiteX33" fmla="*/ 171825 w 923925"/>
                  <a:gd name="connsiteY33" fmla="*/ 116530 h 485775"/>
                  <a:gd name="connsiteX34" fmla="*/ 160757 w 923925"/>
                  <a:gd name="connsiteY34" fmla="*/ 120226 h 485775"/>
                  <a:gd name="connsiteX35" fmla="*/ 153379 w 923925"/>
                  <a:gd name="connsiteY35" fmla="*/ 120226 h 485775"/>
                  <a:gd name="connsiteX36" fmla="*/ 142311 w 923925"/>
                  <a:gd name="connsiteY36" fmla="*/ 116530 h 485775"/>
                  <a:gd name="connsiteX37" fmla="*/ 138621 w 923925"/>
                  <a:gd name="connsiteY37" fmla="*/ 112844 h 485775"/>
                  <a:gd name="connsiteX38" fmla="*/ 134932 w 923925"/>
                  <a:gd name="connsiteY38" fmla="*/ 112844 h 485775"/>
                  <a:gd name="connsiteX39" fmla="*/ 131243 w 923925"/>
                  <a:gd name="connsiteY39" fmla="*/ 109148 h 485775"/>
                  <a:gd name="connsiteX40" fmla="*/ 127554 w 923925"/>
                  <a:gd name="connsiteY40" fmla="*/ 109148 h 485775"/>
                  <a:gd name="connsiteX41" fmla="*/ 120176 w 923925"/>
                  <a:gd name="connsiteY41" fmla="*/ 109148 h 485775"/>
                  <a:gd name="connsiteX42" fmla="*/ 116487 w 923925"/>
                  <a:gd name="connsiteY42" fmla="*/ 112844 h 485775"/>
                  <a:gd name="connsiteX43" fmla="*/ 109108 w 923925"/>
                  <a:gd name="connsiteY43" fmla="*/ 116530 h 485775"/>
                  <a:gd name="connsiteX44" fmla="*/ 105419 w 923925"/>
                  <a:gd name="connsiteY44" fmla="*/ 120226 h 485775"/>
                  <a:gd name="connsiteX45" fmla="*/ 105419 w 923925"/>
                  <a:gd name="connsiteY45" fmla="*/ 123912 h 485775"/>
                  <a:gd name="connsiteX46" fmla="*/ 101730 w 923925"/>
                  <a:gd name="connsiteY46" fmla="*/ 131294 h 485775"/>
                  <a:gd name="connsiteX47" fmla="*/ 98041 w 923925"/>
                  <a:gd name="connsiteY47" fmla="*/ 134980 h 485775"/>
                  <a:gd name="connsiteX48" fmla="*/ 94352 w 923925"/>
                  <a:gd name="connsiteY48" fmla="*/ 138676 h 485775"/>
                  <a:gd name="connsiteX49" fmla="*/ 90662 w 923925"/>
                  <a:gd name="connsiteY49" fmla="*/ 142362 h 485775"/>
                  <a:gd name="connsiteX50" fmla="*/ 83284 w 923925"/>
                  <a:gd name="connsiteY50" fmla="*/ 146058 h 485775"/>
                  <a:gd name="connsiteX51" fmla="*/ 79595 w 923925"/>
                  <a:gd name="connsiteY51" fmla="*/ 146058 h 485775"/>
                  <a:gd name="connsiteX52" fmla="*/ 75906 w 923925"/>
                  <a:gd name="connsiteY52" fmla="*/ 149744 h 485775"/>
                  <a:gd name="connsiteX53" fmla="*/ 72217 w 923925"/>
                  <a:gd name="connsiteY53" fmla="*/ 149744 h 485775"/>
                  <a:gd name="connsiteX54" fmla="*/ 72217 w 923925"/>
                  <a:gd name="connsiteY54" fmla="*/ 146058 h 485775"/>
                  <a:gd name="connsiteX55" fmla="*/ 68527 w 923925"/>
                  <a:gd name="connsiteY55" fmla="*/ 146058 h 485775"/>
                  <a:gd name="connsiteX56" fmla="*/ 64838 w 923925"/>
                  <a:gd name="connsiteY56" fmla="*/ 149744 h 485775"/>
                  <a:gd name="connsiteX57" fmla="*/ 57460 w 923925"/>
                  <a:gd name="connsiteY57" fmla="*/ 149744 h 485775"/>
                  <a:gd name="connsiteX58" fmla="*/ 53771 w 923925"/>
                  <a:gd name="connsiteY58" fmla="*/ 149744 h 485775"/>
                  <a:gd name="connsiteX59" fmla="*/ 50082 w 923925"/>
                  <a:gd name="connsiteY59" fmla="*/ 153440 h 485775"/>
                  <a:gd name="connsiteX60" fmla="*/ 46393 w 923925"/>
                  <a:gd name="connsiteY60" fmla="*/ 153440 h 485775"/>
                  <a:gd name="connsiteX61" fmla="*/ 42703 w 923925"/>
                  <a:gd name="connsiteY61" fmla="*/ 153440 h 485775"/>
                  <a:gd name="connsiteX62" fmla="*/ 39014 w 923925"/>
                  <a:gd name="connsiteY62" fmla="*/ 160821 h 485775"/>
                  <a:gd name="connsiteX63" fmla="*/ 35325 w 923925"/>
                  <a:gd name="connsiteY63" fmla="*/ 160821 h 485775"/>
                  <a:gd name="connsiteX64" fmla="*/ 35325 w 923925"/>
                  <a:gd name="connsiteY64" fmla="*/ 157126 h 485775"/>
                  <a:gd name="connsiteX65" fmla="*/ 31636 w 923925"/>
                  <a:gd name="connsiteY65" fmla="*/ 157126 h 485775"/>
                  <a:gd name="connsiteX66" fmla="*/ 27947 w 923925"/>
                  <a:gd name="connsiteY66" fmla="*/ 157126 h 485775"/>
                  <a:gd name="connsiteX67" fmla="*/ 16879 w 923925"/>
                  <a:gd name="connsiteY67" fmla="*/ 160821 h 485775"/>
                  <a:gd name="connsiteX68" fmla="*/ 13190 w 923925"/>
                  <a:gd name="connsiteY68" fmla="*/ 164508 h 485775"/>
                  <a:gd name="connsiteX69" fmla="*/ 9501 w 923925"/>
                  <a:gd name="connsiteY69" fmla="*/ 168203 h 485775"/>
                  <a:gd name="connsiteX70" fmla="*/ 5812 w 923925"/>
                  <a:gd name="connsiteY70" fmla="*/ 175576 h 485775"/>
                  <a:gd name="connsiteX71" fmla="*/ 5812 w 923925"/>
                  <a:gd name="connsiteY71" fmla="*/ 179271 h 485775"/>
                  <a:gd name="connsiteX72" fmla="*/ 5812 w 923925"/>
                  <a:gd name="connsiteY72" fmla="*/ 186653 h 485775"/>
                  <a:gd name="connsiteX73" fmla="*/ 5812 w 923925"/>
                  <a:gd name="connsiteY73" fmla="*/ 190339 h 485775"/>
                  <a:gd name="connsiteX74" fmla="*/ 9501 w 923925"/>
                  <a:gd name="connsiteY74" fmla="*/ 194035 h 485775"/>
                  <a:gd name="connsiteX75" fmla="*/ 24258 w 923925"/>
                  <a:gd name="connsiteY75" fmla="*/ 212485 h 485775"/>
                  <a:gd name="connsiteX76" fmla="*/ 24258 w 923925"/>
                  <a:gd name="connsiteY76" fmla="*/ 219867 h 485775"/>
                  <a:gd name="connsiteX77" fmla="*/ 27947 w 923925"/>
                  <a:gd name="connsiteY77" fmla="*/ 223553 h 485775"/>
                  <a:gd name="connsiteX78" fmla="*/ 27947 w 923925"/>
                  <a:gd name="connsiteY78" fmla="*/ 227249 h 485775"/>
                  <a:gd name="connsiteX79" fmla="*/ 24258 w 923925"/>
                  <a:gd name="connsiteY79" fmla="*/ 234631 h 485775"/>
                  <a:gd name="connsiteX80" fmla="*/ 20568 w 923925"/>
                  <a:gd name="connsiteY80" fmla="*/ 245699 h 485775"/>
                  <a:gd name="connsiteX81" fmla="*/ 16879 w 923925"/>
                  <a:gd name="connsiteY81" fmla="*/ 253081 h 485775"/>
                  <a:gd name="connsiteX82" fmla="*/ 16879 w 923925"/>
                  <a:gd name="connsiteY82" fmla="*/ 256776 h 485775"/>
                  <a:gd name="connsiteX83" fmla="*/ 24258 w 923925"/>
                  <a:gd name="connsiteY83" fmla="*/ 271531 h 485775"/>
                  <a:gd name="connsiteX84" fmla="*/ 39014 w 923925"/>
                  <a:gd name="connsiteY84" fmla="*/ 312136 h 485775"/>
                  <a:gd name="connsiteX85" fmla="*/ 46393 w 923925"/>
                  <a:gd name="connsiteY85" fmla="*/ 323204 h 485775"/>
                  <a:gd name="connsiteX86" fmla="*/ 39014 w 923925"/>
                  <a:gd name="connsiteY86" fmla="*/ 326890 h 485775"/>
                  <a:gd name="connsiteX87" fmla="*/ 39014 w 923925"/>
                  <a:gd name="connsiteY87" fmla="*/ 330585 h 485775"/>
                  <a:gd name="connsiteX88" fmla="*/ 42703 w 923925"/>
                  <a:gd name="connsiteY88" fmla="*/ 341654 h 485775"/>
                  <a:gd name="connsiteX89" fmla="*/ 39014 w 923925"/>
                  <a:gd name="connsiteY89" fmla="*/ 352731 h 485775"/>
                  <a:gd name="connsiteX90" fmla="*/ 39014 w 923925"/>
                  <a:gd name="connsiteY90" fmla="*/ 356417 h 485775"/>
                  <a:gd name="connsiteX91" fmla="*/ 42703 w 923925"/>
                  <a:gd name="connsiteY91" fmla="*/ 356417 h 485775"/>
                  <a:gd name="connsiteX92" fmla="*/ 46393 w 923925"/>
                  <a:gd name="connsiteY92" fmla="*/ 360113 h 485775"/>
                  <a:gd name="connsiteX93" fmla="*/ 72217 w 923925"/>
                  <a:gd name="connsiteY93" fmla="*/ 360113 h 485775"/>
                  <a:gd name="connsiteX94" fmla="*/ 72217 w 923925"/>
                  <a:gd name="connsiteY94" fmla="*/ 363799 h 485775"/>
                  <a:gd name="connsiteX95" fmla="*/ 75906 w 923925"/>
                  <a:gd name="connsiteY95" fmla="*/ 367485 h 485775"/>
                  <a:gd name="connsiteX96" fmla="*/ 75906 w 923925"/>
                  <a:gd name="connsiteY96" fmla="*/ 378563 h 485775"/>
                  <a:gd name="connsiteX97" fmla="*/ 79595 w 923925"/>
                  <a:gd name="connsiteY97" fmla="*/ 374867 h 485775"/>
                  <a:gd name="connsiteX98" fmla="*/ 90662 w 923925"/>
                  <a:gd name="connsiteY98" fmla="*/ 378563 h 485775"/>
                  <a:gd name="connsiteX99" fmla="*/ 94352 w 923925"/>
                  <a:gd name="connsiteY99" fmla="*/ 378563 h 485775"/>
                  <a:gd name="connsiteX100" fmla="*/ 98041 w 923925"/>
                  <a:gd name="connsiteY100" fmla="*/ 378563 h 485775"/>
                  <a:gd name="connsiteX101" fmla="*/ 101730 w 923925"/>
                  <a:gd name="connsiteY101" fmla="*/ 378563 h 485775"/>
                  <a:gd name="connsiteX102" fmla="*/ 105419 w 923925"/>
                  <a:gd name="connsiteY102" fmla="*/ 378563 h 485775"/>
                  <a:gd name="connsiteX103" fmla="*/ 109108 w 923925"/>
                  <a:gd name="connsiteY103" fmla="*/ 374867 h 485775"/>
                  <a:gd name="connsiteX104" fmla="*/ 116487 w 923925"/>
                  <a:gd name="connsiteY104" fmla="*/ 371181 h 485775"/>
                  <a:gd name="connsiteX105" fmla="*/ 120176 w 923925"/>
                  <a:gd name="connsiteY105" fmla="*/ 371181 h 485775"/>
                  <a:gd name="connsiteX106" fmla="*/ 120176 w 923925"/>
                  <a:gd name="connsiteY106" fmla="*/ 367485 h 485775"/>
                  <a:gd name="connsiteX107" fmla="*/ 120176 w 923925"/>
                  <a:gd name="connsiteY107" fmla="*/ 363799 h 485775"/>
                  <a:gd name="connsiteX108" fmla="*/ 101730 w 923925"/>
                  <a:gd name="connsiteY108" fmla="*/ 337967 h 485775"/>
                  <a:gd name="connsiteX109" fmla="*/ 98041 w 923925"/>
                  <a:gd name="connsiteY109" fmla="*/ 326890 h 485775"/>
                  <a:gd name="connsiteX110" fmla="*/ 101730 w 923925"/>
                  <a:gd name="connsiteY110" fmla="*/ 323204 h 485775"/>
                  <a:gd name="connsiteX111" fmla="*/ 105419 w 923925"/>
                  <a:gd name="connsiteY111" fmla="*/ 323204 h 485775"/>
                  <a:gd name="connsiteX112" fmla="*/ 105419 w 923925"/>
                  <a:gd name="connsiteY112" fmla="*/ 319508 h 485775"/>
                  <a:gd name="connsiteX113" fmla="*/ 105419 w 923925"/>
                  <a:gd name="connsiteY113" fmla="*/ 315822 h 485775"/>
                  <a:gd name="connsiteX114" fmla="*/ 105419 w 923925"/>
                  <a:gd name="connsiteY114" fmla="*/ 312136 h 485775"/>
                  <a:gd name="connsiteX115" fmla="*/ 105419 w 923925"/>
                  <a:gd name="connsiteY115" fmla="*/ 308440 h 485775"/>
                  <a:gd name="connsiteX116" fmla="*/ 101730 w 923925"/>
                  <a:gd name="connsiteY116" fmla="*/ 308440 h 485775"/>
                  <a:gd name="connsiteX117" fmla="*/ 98041 w 923925"/>
                  <a:gd name="connsiteY117" fmla="*/ 304754 h 485775"/>
                  <a:gd name="connsiteX118" fmla="*/ 101730 w 923925"/>
                  <a:gd name="connsiteY118" fmla="*/ 301058 h 485775"/>
                  <a:gd name="connsiteX119" fmla="*/ 127554 w 923925"/>
                  <a:gd name="connsiteY119" fmla="*/ 289990 h 485775"/>
                  <a:gd name="connsiteX120" fmla="*/ 134932 w 923925"/>
                  <a:gd name="connsiteY120" fmla="*/ 289990 h 485775"/>
                  <a:gd name="connsiteX121" fmla="*/ 138621 w 923925"/>
                  <a:gd name="connsiteY121" fmla="*/ 286294 h 485775"/>
                  <a:gd name="connsiteX122" fmla="*/ 142311 w 923925"/>
                  <a:gd name="connsiteY122" fmla="*/ 282608 h 485775"/>
                  <a:gd name="connsiteX123" fmla="*/ 146000 w 923925"/>
                  <a:gd name="connsiteY123" fmla="*/ 282608 h 485775"/>
                  <a:gd name="connsiteX124" fmla="*/ 149690 w 923925"/>
                  <a:gd name="connsiteY124" fmla="*/ 282608 h 485775"/>
                  <a:gd name="connsiteX125" fmla="*/ 175514 w 923925"/>
                  <a:gd name="connsiteY125" fmla="*/ 278912 h 485775"/>
                  <a:gd name="connsiteX126" fmla="*/ 179203 w 923925"/>
                  <a:gd name="connsiteY126" fmla="*/ 286294 h 485775"/>
                  <a:gd name="connsiteX127" fmla="*/ 171825 w 923925"/>
                  <a:gd name="connsiteY127" fmla="*/ 304754 h 485775"/>
                  <a:gd name="connsiteX128" fmla="*/ 175514 w 923925"/>
                  <a:gd name="connsiteY128" fmla="*/ 326890 h 485775"/>
                  <a:gd name="connsiteX129" fmla="*/ 193960 w 923925"/>
                  <a:gd name="connsiteY129" fmla="*/ 319508 h 485775"/>
                  <a:gd name="connsiteX130" fmla="*/ 197649 w 923925"/>
                  <a:gd name="connsiteY130" fmla="*/ 319508 h 485775"/>
                  <a:gd name="connsiteX131" fmla="*/ 205027 w 923925"/>
                  <a:gd name="connsiteY131" fmla="*/ 319508 h 485775"/>
                  <a:gd name="connsiteX132" fmla="*/ 219784 w 923925"/>
                  <a:gd name="connsiteY132" fmla="*/ 323204 h 485775"/>
                  <a:gd name="connsiteX133" fmla="*/ 227162 w 923925"/>
                  <a:gd name="connsiteY133" fmla="*/ 326890 h 485775"/>
                  <a:gd name="connsiteX134" fmla="*/ 230851 w 923925"/>
                  <a:gd name="connsiteY134" fmla="*/ 326890 h 485775"/>
                  <a:gd name="connsiteX135" fmla="*/ 230851 w 923925"/>
                  <a:gd name="connsiteY135" fmla="*/ 323204 h 485775"/>
                  <a:gd name="connsiteX136" fmla="*/ 234541 w 923925"/>
                  <a:gd name="connsiteY136" fmla="*/ 326890 h 485775"/>
                  <a:gd name="connsiteX137" fmla="*/ 241919 w 923925"/>
                  <a:gd name="connsiteY137" fmla="*/ 323204 h 485775"/>
                  <a:gd name="connsiteX138" fmla="*/ 238230 w 923925"/>
                  <a:gd name="connsiteY138" fmla="*/ 308440 h 485775"/>
                  <a:gd name="connsiteX139" fmla="*/ 249297 w 923925"/>
                  <a:gd name="connsiteY139" fmla="*/ 304754 h 485775"/>
                  <a:gd name="connsiteX140" fmla="*/ 252986 w 923925"/>
                  <a:gd name="connsiteY140" fmla="*/ 304754 h 485775"/>
                  <a:gd name="connsiteX141" fmla="*/ 256676 w 923925"/>
                  <a:gd name="connsiteY141" fmla="*/ 293676 h 485775"/>
                  <a:gd name="connsiteX142" fmla="*/ 264054 w 923925"/>
                  <a:gd name="connsiteY142" fmla="*/ 289990 h 485775"/>
                  <a:gd name="connsiteX143" fmla="*/ 267743 w 923925"/>
                  <a:gd name="connsiteY143" fmla="*/ 286294 h 485775"/>
                  <a:gd name="connsiteX144" fmla="*/ 271432 w 923925"/>
                  <a:gd name="connsiteY144" fmla="*/ 278912 h 485775"/>
                  <a:gd name="connsiteX145" fmla="*/ 278811 w 923925"/>
                  <a:gd name="connsiteY145" fmla="*/ 275226 h 485775"/>
                  <a:gd name="connsiteX146" fmla="*/ 282500 w 923925"/>
                  <a:gd name="connsiteY146" fmla="*/ 271531 h 485775"/>
                  <a:gd name="connsiteX147" fmla="*/ 278811 w 923925"/>
                  <a:gd name="connsiteY147" fmla="*/ 267844 h 485775"/>
                  <a:gd name="connsiteX148" fmla="*/ 282500 w 923925"/>
                  <a:gd name="connsiteY148" fmla="*/ 267844 h 485775"/>
                  <a:gd name="connsiteX149" fmla="*/ 286189 w 923925"/>
                  <a:gd name="connsiteY149" fmla="*/ 267844 h 485775"/>
                  <a:gd name="connsiteX150" fmla="*/ 286189 w 923925"/>
                  <a:gd name="connsiteY150" fmla="*/ 264158 h 485775"/>
                  <a:gd name="connsiteX151" fmla="*/ 293568 w 923925"/>
                  <a:gd name="connsiteY151" fmla="*/ 260462 h 485775"/>
                  <a:gd name="connsiteX152" fmla="*/ 297257 w 923925"/>
                  <a:gd name="connsiteY152" fmla="*/ 264158 h 485775"/>
                  <a:gd name="connsiteX153" fmla="*/ 297257 w 923925"/>
                  <a:gd name="connsiteY153" fmla="*/ 267844 h 485775"/>
                  <a:gd name="connsiteX154" fmla="*/ 300946 w 923925"/>
                  <a:gd name="connsiteY154" fmla="*/ 267844 h 485775"/>
                  <a:gd name="connsiteX155" fmla="*/ 304636 w 923925"/>
                  <a:gd name="connsiteY155" fmla="*/ 267844 h 485775"/>
                  <a:gd name="connsiteX156" fmla="*/ 312014 w 923925"/>
                  <a:gd name="connsiteY156" fmla="*/ 271531 h 485775"/>
                  <a:gd name="connsiteX157" fmla="*/ 315703 w 923925"/>
                  <a:gd name="connsiteY157" fmla="*/ 271531 h 485775"/>
                  <a:gd name="connsiteX158" fmla="*/ 315703 w 923925"/>
                  <a:gd name="connsiteY158" fmla="*/ 275226 h 485775"/>
                  <a:gd name="connsiteX159" fmla="*/ 315703 w 923925"/>
                  <a:gd name="connsiteY159" fmla="*/ 278912 h 485775"/>
                  <a:gd name="connsiteX160" fmla="*/ 319392 w 923925"/>
                  <a:gd name="connsiteY160" fmla="*/ 282608 h 485775"/>
                  <a:gd name="connsiteX161" fmla="*/ 323081 w 923925"/>
                  <a:gd name="connsiteY161" fmla="*/ 278912 h 485775"/>
                  <a:gd name="connsiteX162" fmla="*/ 326771 w 923925"/>
                  <a:gd name="connsiteY162" fmla="*/ 282608 h 485775"/>
                  <a:gd name="connsiteX163" fmla="*/ 323081 w 923925"/>
                  <a:gd name="connsiteY163" fmla="*/ 289990 h 485775"/>
                  <a:gd name="connsiteX164" fmla="*/ 323081 w 923925"/>
                  <a:gd name="connsiteY164" fmla="*/ 297372 h 485775"/>
                  <a:gd name="connsiteX165" fmla="*/ 326771 w 923925"/>
                  <a:gd name="connsiteY165" fmla="*/ 297372 h 485775"/>
                  <a:gd name="connsiteX166" fmla="*/ 326771 w 923925"/>
                  <a:gd name="connsiteY166" fmla="*/ 301058 h 485775"/>
                  <a:gd name="connsiteX167" fmla="*/ 323081 w 923925"/>
                  <a:gd name="connsiteY167" fmla="*/ 301058 h 485775"/>
                  <a:gd name="connsiteX168" fmla="*/ 319392 w 923925"/>
                  <a:gd name="connsiteY168" fmla="*/ 304754 h 485775"/>
                  <a:gd name="connsiteX169" fmla="*/ 315703 w 923925"/>
                  <a:gd name="connsiteY169" fmla="*/ 308440 h 485775"/>
                  <a:gd name="connsiteX170" fmla="*/ 319392 w 923925"/>
                  <a:gd name="connsiteY170" fmla="*/ 323204 h 485775"/>
                  <a:gd name="connsiteX171" fmla="*/ 319392 w 923925"/>
                  <a:gd name="connsiteY171" fmla="*/ 326890 h 485775"/>
                  <a:gd name="connsiteX172" fmla="*/ 323081 w 923925"/>
                  <a:gd name="connsiteY172" fmla="*/ 326890 h 485775"/>
                  <a:gd name="connsiteX173" fmla="*/ 326771 w 923925"/>
                  <a:gd name="connsiteY173" fmla="*/ 326890 h 485775"/>
                  <a:gd name="connsiteX174" fmla="*/ 326771 w 923925"/>
                  <a:gd name="connsiteY174" fmla="*/ 330585 h 485775"/>
                  <a:gd name="connsiteX175" fmla="*/ 323081 w 923925"/>
                  <a:gd name="connsiteY175" fmla="*/ 330585 h 485775"/>
                  <a:gd name="connsiteX176" fmla="*/ 312014 w 923925"/>
                  <a:gd name="connsiteY176" fmla="*/ 326890 h 485775"/>
                  <a:gd name="connsiteX177" fmla="*/ 308325 w 923925"/>
                  <a:gd name="connsiteY177" fmla="*/ 323204 h 485775"/>
                  <a:gd name="connsiteX178" fmla="*/ 300946 w 923925"/>
                  <a:gd name="connsiteY178" fmla="*/ 323204 h 485775"/>
                  <a:gd name="connsiteX179" fmla="*/ 300946 w 923925"/>
                  <a:gd name="connsiteY179" fmla="*/ 319508 h 485775"/>
                  <a:gd name="connsiteX180" fmla="*/ 297257 w 923925"/>
                  <a:gd name="connsiteY180" fmla="*/ 319508 h 485775"/>
                  <a:gd name="connsiteX181" fmla="*/ 289878 w 923925"/>
                  <a:gd name="connsiteY181" fmla="*/ 323204 h 485775"/>
                  <a:gd name="connsiteX182" fmla="*/ 289878 w 923925"/>
                  <a:gd name="connsiteY182" fmla="*/ 326890 h 485775"/>
                  <a:gd name="connsiteX183" fmla="*/ 289878 w 923925"/>
                  <a:gd name="connsiteY183" fmla="*/ 330585 h 485775"/>
                  <a:gd name="connsiteX184" fmla="*/ 293568 w 923925"/>
                  <a:gd name="connsiteY184" fmla="*/ 334272 h 485775"/>
                  <a:gd name="connsiteX185" fmla="*/ 300946 w 923925"/>
                  <a:gd name="connsiteY185" fmla="*/ 337967 h 485775"/>
                  <a:gd name="connsiteX186" fmla="*/ 304636 w 923925"/>
                  <a:gd name="connsiteY186" fmla="*/ 337967 h 485775"/>
                  <a:gd name="connsiteX187" fmla="*/ 315703 w 923925"/>
                  <a:gd name="connsiteY187" fmla="*/ 334272 h 485775"/>
                  <a:gd name="connsiteX188" fmla="*/ 323081 w 923925"/>
                  <a:gd name="connsiteY188" fmla="*/ 334272 h 485775"/>
                  <a:gd name="connsiteX189" fmla="*/ 330460 w 923925"/>
                  <a:gd name="connsiteY189" fmla="*/ 334272 h 485775"/>
                  <a:gd name="connsiteX190" fmla="*/ 334149 w 923925"/>
                  <a:gd name="connsiteY190" fmla="*/ 337967 h 485775"/>
                  <a:gd name="connsiteX191" fmla="*/ 337838 w 923925"/>
                  <a:gd name="connsiteY191" fmla="*/ 337967 h 485775"/>
                  <a:gd name="connsiteX192" fmla="*/ 337838 w 923925"/>
                  <a:gd name="connsiteY192" fmla="*/ 334272 h 485775"/>
                  <a:gd name="connsiteX193" fmla="*/ 341527 w 923925"/>
                  <a:gd name="connsiteY193" fmla="*/ 334272 h 485775"/>
                  <a:gd name="connsiteX194" fmla="*/ 345217 w 923925"/>
                  <a:gd name="connsiteY194" fmla="*/ 334272 h 485775"/>
                  <a:gd name="connsiteX195" fmla="*/ 348906 w 923925"/>
                  <a:gd name="connsiteY195" fmla="*/ 334272 h 485775"/>
                  <a:gd name="connsiteX196" fmla="*/ 352595 w 923925"/>
                  <a:gd name="connsiteY196" fmla="*/ 334272 h 485775"/>
                  <a:gd name="connsiteX197" fmla="*/ 359973 w 923925"/>
                  <a:gd name="connsiteY197" fmla="*/ 341654 h 485775"/>
                  <a:gd name="connsiteX198" fmla="*/ 359973 w 923925"/>
                  <a:gd name="connsiteY198" fmla="*/ 345349 h 485775"/>
                  <a:gd name="connsiteX199" fmla="*/ 363662 w 923925"/>
                  <a:gd name="connsiteY199" fmla="*/ 345349 h 485775"/>
                  <a:gd name="connsiteX200" fmla="*/ 367351 w 923925"/>
                  <a:gd name="connsiteY200" fmla="*/ 349036 h 485775"/>
                  <a:gd name="connsiteX201" fmla="*/ 371041 w 923925"/>
                  <a:gd name="connsiteY201" fmla="*/ 349036 h 485775"/>
                  <a:gd name="connsiteX202" fmla="*/ 385797 w 923925"/>
                  <a:gd name="connsiteY202" fmla="*/ 326890 h 485775"/>
                  <a:gd name="connsiteX203" fmla="*/ 407932 w 923925"/>
                  <a:gd name="connsiteY203" fmla="*/ 312136 h 485775"/>
                  <a:gd name="connsiteX204" fmla="*/ 407932 w 923925"/>
                  <a:gd name="connsiteY204" fmla="*/ 304754 h 485775"/>
                  <a:gd name="connsiteX205" fmla="*/ 411621 w 923925"/>
                  <a:gd name="connsiteY205" fmla="*/ 304754 h 485775"/>
                  <a:gd name="connsiteX206" fmla="*/ 411621 w 923925"/>
                  <a:gd name="connsiteY206" fmla="*/ 301058 h 485775"/>
                  <a:gd name="connsiteX207" fmla="*/ 407932 w 923925"/>
                  <a:gd name="connsiteY207" fmla="*/ 297372 h 485775"/>
                  <a:gd name="connsiteX208" fmla="*/ 407932 w 923925"/>
                  <a:gd name="connsiteY208" fmla="*/ 293676 h 485775"/>
                  <a:gd name="connsiteX209" fmla="*/ 411621 w 923925"/>
                  <a:gd name="connsiteY209" fmla="*/ 289990 h 485775"/>
                  <a:gd name="connsiteX210" fmla="*/ 411621 w 923925"/>
                  <a:gd name="connsiteY210" fmla="*/ 286294 h 485775"/>
                  <a:gd name="connsiteX211" fmla="*/ 415310 w 923925"/>
                  <a:gd name="connsiteY211" fmla="*/ 282608 h 485775"/>
                  <a:gd name="connsiteX212" fmla="*/ 422689 w 923925"/>
                  <a:gd name="connsiteY212" fmla="*/ 278912 h 485775"/>
                  <a:gd name="connsiteX213" fmla="*/ 426378 w 923925"/>
                  <a:gd name="connsiteY213" fmla="*/ 278912 h 485775"/>
                  <a:gd name="connsiteX214" fmla="*/ 422689 w 923925"/>
                  <a:gd name="connsiteY214" fmla="*/ 282608 h 485775"/>
                  <a:gd name="connsiteX215" fmla="*/ 426378 w 923925"/>
                  <a:gd name="connsiteY215" fmla="*/ 286294 h 485775"/>
                  <a:gd name="connsiteX216" fmla="*/ 426378 w 923925"/>
                  <a:gd name="connsiteY216" fmla="*/ 289990 h 485775"/>
                  <a:gd name="connsiteX217" fmla="*/ 430067 w 923925"/>
                  <a:gd name="connsiteY217" fmla="*/ 289990 h 485775"/>
                  <a:gd name="connsiteX218" fmla="*/ 444825 w 923925"/>
                  <a:gd name="connsiteY218" fmla="*/ 289990 h 485775"/>
                  <a:gd name="connsiteX219" fmla="*/ 455892 w 923925"/>
                  <a:gd name="connsiteY219" fmla="*/ 323204 h 485775"/>
                  <a:gd name="connsiteX220" fmla="*/ 452203 w 923925"/>
                  <a:gd name="connsiteY220" fmla="*/ 330585 h 485775"/>
                  <a:gd name="connsiteX221" fmla="*/ 441136 w 923925"/>
                  <a:gd name="connsiteY221" fmla="*/ 352731 h 485775"/>
                  <a:gd name="connsiteX222" fmla="*/ 463271 w 923925"/>
                  <a:gd name="connsiteY222" fmla="*/ 378563 h 485775"/>
                  <a:gd name="connsiteX223" fmla="*/ 463271 w 923925"/>
                  <a:gd name="connsiteY223" fmla="*/ 382249 h 485775"/>
                  <a:gd name="connsiteX224" fmla="*/ 466960 w 923925"/>
                  <a:gd name="connsiteY224" fmla="*/ 385945 h 485775"/>
                  <a:gd name="connsiteX225" fmla="*/ 470649 w 923925"/>
                  <a:gd name="connsiteY225" fmla="*/ 389631 h 485775"/>
                  <a:gd name="connsiteX226" fmla="*/ 470649 w 923925"/>
                  <a:gd name="connsiteY226" fmla="*/ 415463 h 485775"/>
                  <a:gd name="connsiteX227" fmla="*/ 485405 w 923925"/>
                  <a:gd name="connsiteY227" fmla="*/ 419159 h 485775"/>
                  <a:gd name="connsiteX228" fmla="*/ 489095 w 923925"/>
                  <a:gd name="connsiteY228" fmla="*/ 415463 h 485775"/>
                  <a:gd name="connsiteX229" fmla="*/ 500162 w 923925"/>
                  <a:gd name="connsiteY229" fmla="*/ 411777 h 485775"/>
                  <a:gd name="connsiteX230" fmla="*/ 503851 w 923925"/>
                  <a:gd name="connsiteY230" fmla="*/ 411777 h 485775"/>
                  <a:gd name="connsiteX231" fmla="*/ 503851 w 923925"/>
                  <a:gd name="connsiteY231" fmla="*/ 408091 h 485775"/>
                  <a:gd name="connsiteX232" fmla="*/ 525986 w 923925"/>
                  <a:gd name="connsiteY232" fmla="*/ 422845 h 485775"/>
                  <a:gd name="connsiteX233" fmla="*/ 518608 w 923925"/>
                  <a:gd name="connsiteY233" fmla="*/ 452372 h 485775"/>
                  <a:gd name="connsiteX234" fmla="*/ 522297 w 923925"/>
                  <a:gd name="connsiteY234" fmla="*/ 456068 h 485775"/>
                  <a:gd name="connsiteX235" fmla="*/ 537051 w 923925"/>
                  <a:gd name="connsiteY235" fmla="*/ 452372 h 485775"/>
                  <a:gd name="connsiteX236" fmla="*/ 551815 w 923925"/>
                  <a:gd name="connsiteY236" fmla="*/ 456068 h 485775"/>
                  <a:gd name="connsiteX237" fmla="*/ 562874 w 923925"/>
                  <a:gd name="connsiteY237" fmla="*/ 456068 h 485775"/>
                  <a:gd name="connsiteX238" fmla="*/ 570255 w 923925"/>
                  <a:gd name="connsiteY238" fmla="*/ 456068 h 485775"/>
                  <a:gd name="connsiteX239" fmla="*/ 573942 w 923925"/>
                  <a:gd name="connsiteY239" fmla="*/ 452372 h 485775"/>
                  <a:gd name="connsiteX240" fmla="*/ 577637 w 923925"/>
                  <a:gd name="connsiteY240" fmla="*/ 444990 h 485775"/>
                  <a:gd name="connsiteX241" fmla="*/ 588705 w 923925"/>
                  <a:gd name="connsiteY241" fmla="*/ 448686 h 485775"/>
                  <a:gd name="connsiteX242" fmla="*/ 603460 w 923925"/>
                  <a:gd name="connsiteY242" fmla="*/ 452372 h 485775"/>
                  <a:gd name="connsiteX243" fmla="*/ 610841 w 923925"/>
                  <a:gd name="connsiteY243" fmla="*/ 456068 h 485775"/>
                  <a:gd name="connsiteX244" fmla="*/ 621910 w 923925"/>
                  <a:gd name="connsiteY244" fmla="*/ 444990 h 485775"/>
                  <a:gd name="connsiteX245" fmla="*/ 625596 w 923925"/>
                  <a:gd name="connsiteY245" fmla="*/ 441304 h 485775"/>
                  <a:gd name="connsiteX246" fmla="*/ 636664 w 923925"/>
                  <a:gd name="connsiteY246" fmla="*/ 437608 h 485775"/>
                  <a:gd name="connsiteX247" fmla="*/ 640350 w 923925"/>
                  <a:gd name="connsiteY247" fmla="*/ 433922 h 485775"/>
                  <a:gd name="connsiteX248" fmla="*/ 644036 w 923925"/>
                  <a:gd name="connsiteY248" fmla="*/ 430227 h 485775"/>
                  <a:gd name="connsiteX249" fmla="*/ 644036 w 923925"/>
                  <a:gd name="connsiteY249" fmla="*/ 426540 h 485775"/>
                  <a:gd name="connsiteX250" fmla="*/ 647732 w 923925"/>
                  <a:gd name="connsiteY250" fmla="*/ 426540 h 485775"/>
                  <a:gd name="connsiteX251" fmla="*/ 662486 w 923925"/>
                  <a:gd name="connsiteY251" fmla="*/ 430227 h 485775"/>
                  <a:gd name="connsiteX252" fmla="*/ 662486 w 923925"/>
                  <a:gd name="connsiteY252" fmla="*/ 433922 h 485775"/>
                  <a:gd name="connsiteX253" fmla="*/ 666172 w 923925"/>
                  <a:gd name="connsiteY253" fmla="*/ 441304 h 485775"/>
                  <a:gd name="connsiteX254" fmla="*/ 677240 w 923925"/>
                  <a:gd name="connsiteY254" fmla="*/ 448686 h 485775"/>
                  <a:gd name="connsiteX255" fmla="*/ 680936 w 923925"/>
                  <a:gd name="connsiteY255" fmla="*/ 452372 h 485775"/>
                  <a:gd name="connsiteX256" fmla="*/ 680936 w 923925"/>
                  <a:gd name="connsiteY256" fmla="*/ 456068 h 485775"/>
                  <a:gd name="connsiteX257" fmla="*/ 680936 w 923925"/>
                  <a:gd name="connsiteY257" fmla="*/ 459754 h 485775"/>
                  <a:gd name="connsiteX258" fmla="*/ 680936 w 923925"/>
                  <a:gd name="connsiteY258" fmla="*/ 463440 h 485775"/>
                  <a:gd name="connsiteX259" fmla="*/ 680936 w 923925"/>
                  <a:gd name="connsiteY259" fmla="*/ 467136 h 485775"/>
                  <a:gd name="connsiteX260" fmla="*/ 680936 w 923925"/>
                  <a:gd name="connsiteY260" fmla="*/ 474518 h 485775"/>
                  <a:gd name="connsiteX261" fmla="*/ 684622 w 923925"/>
                  <a:gd name="connsiteY261" fmla="*/ 489282 h 485775"/>
                  <a:gd name="connsiteX262" fmla="*/ 688308 w 923925"/>
                  <a:gd name="connsiteY262" fmla="*/ 489282 h 485775"/>
                  <a:gd name="connsiteX263" fmla="*/ 699376 w 923925"/>
                  <a:gd name="connsiteY263" fmla="*/ 485586 h 485775"/>
                  <a:gd name="connsiteX264" fmla="*/ 703063 w 923925"/>
                  <a:gd name="connsiteY264" fmla="*/ 485586 h 485775"/>
                  <a:gd name="connsiteX265" fmla="*/ 714131 w 923925"/>
                  <a:gd name="connsiteY265" fmla="*/ 481900 h 485775"/>
                  <a:gd name="connsiteX266" fmla="*/ 714131 w 923925"/>
                  <a:gd name="connsiteY266" fmla="*/ 467136 h 485775"/>
                  <a:gd name="connsiteX267" fmla="*/ 717826 w 923925"/>
                  <a:gd name="connsiteY267" fmla="*/ 448686 h 485775"/>
                  <a:gd name="connsiteX268" fmla="*/ 725199 w 923925"/>
                  <a:gd name="connsiteY268" fmla="*/ 433922 h 485775"/>
                  <a:gd name="connsiteX269" fmla="*/ 728894 w 923925"/>
                  <a:gd name="connsiteY269" fmla="*/ 426540 h 485775"/>
                  <a:gd name="connsiteX270" fmla="*/ 739962 w 923925"/>
                  <a:gd name="connsiteY270" fmla="*/ 415463 h 485775"/>
                  <a:gd name="connsiteX271" fmla="*/ 754717 w 923925"/>
                  <a:gd name="connsiteY271" fmla="*/ 408091 h 485775"/>
                  <a:gd name="connsiteX272" fmla="*/ 758403 w 923925"/>
                  <a:gd name="connsiteY272" fmla="*/ 408091 h 485775"/>
                  <a:gd name="connsiteX273" fmla="*/ 776853 w 923925"/>
                  <a:gd name="connsiteY273" fmla="*/ 404395 h 485775"/>
                  <a:gd name="connsiteX274" fmla="*/ 784225 w 923925"/>
                  <a:gd name="connsiteY274" fmla="*/ 400709 h 485775"/>
                  <a:gd name="connsiteX275" fmla="*/ 787921 w 923925"/>
                  <a:gd name="connsiteY275" fmla="*/ 400709 h 485775"/>
                  <a:gd name="connsiteX276" fmla="*/ 791607 w 923925"/>
                  <a:gd name="connsiteY276" fmla="*/ 397013 h 485775"/>
                  <a:gd name="connsiteX277" fmla="*/ 821125 w 923925"/>
                  <a:gd name="connsiteY277" fmla="*/ 389631 h 485775"/>
                  <a:gd name="connsiteX278" fmla="*/ 832193 w 923925"/>
                  <a:gd name="connsiteY278" fmla="*/ 385945 h 485775"/>
                  <a:gd name="connsiteX279" fmla="*/ 835879 w 923925"/>
                  <a:gd name="connsiteY279" fmla="*/ 385945 h 485775"/>
                  <a:gd name="connsiteX280" fmla="*/ 839565 w 923925"/>
                  <a:gd name="connsiteY280" fmla="*/ 382249 h 485775"/>
                  <a:gd name="connsiteX281" fmla="*/ 843252 w 923925"/>
                  <a:gd name="connsiteY281" fmla="*/ 382249 h 485775"/>
                  <a:gd name="connsiteX282" fmla="*/ 850633 w 923925"/>
                  <a:gd name="connsiteY282" fmla="*/ 374867 h 485775"/>
                  <a:gd name="connsiteX283" fmla="*/ 861701 w 923925"/>
                  <a:gd name="connsiteY283" fmla="*/ 363799 h 485775"/>
                  <a:gd name="connsiteX284" fmla="*/ 869083 w 923925"/>
                  <a:gd name="connsiteY284" fmla="*/ 360113 h 485775"/>
                  <a:gd name="connsiteX285" fmla="*/ 861701 w 923925"/>
                  <a:gd name="connsiteY285" fmla="*/ 349036 h 485775"/>
                  <a:gd name="connsiteX286" fmla="*/ 854319 w 923925"/>
                  <a:gd name="connsiteY286" fmla="*/ 334272 h 485775"/>
                  <a:gd name="connsiteX287" fmla="*/ 839565 w 923925"/>
                  <a:gd name="connsiteY287" fmla="*/ 308440 h 485775"/>
                  <a:gd name="connsiteX288" fmla="*/ 839565 w 923925"/>
                  <a:gd name="connsiteY288" fmla="*/ 304754 h 485775"/>
                  <a:gd name="connsiteX289" fmla="*/ 832193 w 923925"/>
                  <a:gd name="connsiteY289" fmla="*/ 271531 h 485775"/>
                  <a:gd name="connsiteX290" fmla="*/ 828497 w 923925"/>
                  <a:gd name="connsiteY290" fmla="*/ 264158 h 485775"/>
                  <a:gd name="connsiteX291" fmla="*/ 828497 w 923925"/>
                  <a:gd name="connsiteY291" fmla="*/ 256776 h 485775"/>
                  <a:gd name="connsiteX292" fmla="*/ 824811 w 923925"/>
                  <a:gd name="connsiteY292" fmla="*/ 245699 h 485775"/>
                  <a:gd name="connsiteX293" fmla="*/ 821125 w 923925"/>
                  <a:gd name="connsiteY293" fmla="*/ 212485 h 485775"/>
                  <a:gd name="connsiteX294" fmla="*/ 835879 w 923925"/>
                  <a:gd name="connsiteY294" fmla="*/ 216181 h 485775"/>
                  <a:gd name="connsiteX295" fmla="*/ 846947 w 923925"/>
                  <a:gd name="connsiteY295" fmla="*/ 219867 h 485775"/>
                  <a:gd name="connsiteX296" fmla="*/ 854319 w 923925"/>
                  <a:gd name="connsiteY296" fmla="*/ 223553 h 485775"/>
                  <a:gd name="connsiteX297" fmla="*/ 861701 w 923925"/>
                  <a:gd name="connsiteY297" fmla="*/ 223553 h 485775"/>
                  <a:gd name="connsiteX298" fmla="*/ 869083 w 923925"/>
                  <a:gd name="connsiteY298" fmla="*/ 223553 h 485775"/>
                  <a:gd name="connsiteX299" fmla="*/ 876456 w 923925"/>
                  <a:gd name="connsiteY299" fmla="*/ 219867 h 485775"/>
                  <a:gd name="connsiteX300" fmla="*/ 887524 w 923925"/>
                  <a:gd name="connsiteY300" fmla="*/ 216181 h 485775"/>
                  <a:gd name="connsiteX301" fmla="*/ 894905 w 923925"/>
                  <a:gd name="connsiteY301" fmla="*/ 212485 h 485775"/>
                  <a:gd name="connsiteX302" fmla="*/ 902287 w 923925"/>
                  <a:gd name="connsiteY302" fmla="*/ 208799 h 485775"/>
                  <a:gd name="connsiteX303" fmla="*/ 902287 w 923925"/>
                  <a:gd name="connsiteY303" fmla="*/ 212485 h 485775"/>
                  <a:gd name="connsiteX304" fmla="*/ 905974 w 923925"/>
                  <a:gd name="connsiteY304" fmla="*/ 212485 h 485775"/>
                  <a:gd name="connsiteX305" fmla="*/ 909660 w 923925"/>
                  <a:gd name="connsiteY305" fmla="*/ 216181 h 485775"/>
                  <a:gd name="connsiteX306" fmla="*/ 917042 w 923925"/>
                  <a:gd name="connsiteY306" fmla="*/ 223553 h 485775"/>
                  <a:gd name="connsiteX307" fmla="*/ 917042 w 923925"/>
                  <a:gd name="connsiteY307" fmla="*/ 219867 h 485775"/>
                  <a:gd name="connsiteX308" fmla="*/ 920728 w 923925"/>
                  <a:gd name="connsiteY308" fmla="*/ 219867 h 485775"/>
                  <a:gd name="connsiteX309" fmla="*/ 924414 w 923925"/>
                  <a:gd name="connsiteY309" fmla="*/ 219867 h 485775"/>
                  <a:gd name="connsiteX310" fmla="*/ 920728 w 923925"/>
                  <a:gd name="connsiteY310" fmla="*/ 216181 h 485775"/>
                  <a:gd name="connsiteX311" fmla="*/ 920728 w 923925"/>
                  <a:gd name="connsiteY311" fmla="*/ 212485 h 485775"/>
                  <a:gd name="connsiteX312" fmla="*/ 920728 w 923925"/>
                  <a:gd name="connsiteY312" fmla="*/ 208799 h 485775"/>
                  <a:gd name="connsiteX313" fmla="*/ 920728 w 923925"/>
                  <a:gd name="connsiteY313" fmla="*/ 205103 h 485775"/>
                  <a:gd name="connsiteX314" fmla="*/ 920728 w 923925"/>
                  <a:gd name="connsiteY314" fmla="*/ 201417 h 485775"/>
                  <a:gd name="connsiteX315" fmla="*/ 917042 w 923925"/>
                  <a:gd name="connsiteY315" fmla="*/ 194035 h 485775"/>
                  <a:gd name="connsiteX316" fmla="*/ 913356 w 923925"/>
                  <a:gd name="connsiteY316" fmla="*/ 190339 h 485775"/>
                  <a:gd name="connsiteX317" fmla="*/ 913356 w 923925"/>
                  <a:gd name="connsiteY317" fmla="*/ 186653 h 485775"/>
                  <a:gd name="connsiteX318" fmla="*/ 913356 w 923925"/>
                  <a:gd name="connsiteY318" fmla="*/ 175576 h 485775"/>
                  <a:gd name="connsiteX319" fmla="*/ 909660 w 923925"/>
                  <a:gd name="connsiteY319" fmla="*/ 171890 h 485775"/>
                  <a:gd name="connsiteX320" fmla="*/ 909660 w 923925"/>
                  <a:gd name="connsiteY320" fmla="*/ 168203 h 485775"/>
                  <a:gd name="connsiteX321" fmla="*/ 905974 w 923925"/>
                  <a:gd name="connsiteY321" fmla="*/ 164508 h 485775"/>
                  <a:gd name="connsiteX322" fmla="*/ 902287 w 923925"/>
                  <a:gd name="connsiteY322" fmla="*/ 160821 h 485775"/>
                  <a:gd name="connsiteX323" fmla="*/ 898592 w 923925"/>
                  <a:gd name="connsiteY323" fmla="*/ 157126 h 485775"/>
                  <a:gd name="connsiteX324" fmla="*/ 887524 w 923925"/>
                  <a:gd name="connsiteY324" fmla="*/ 153440 h 485775"/>
                  <a:gd name="connsiteX325" fmla="*/ 887524 w 923925"/>
                  <a:gd name="connsiteY325" fmla="*/ 149744 h 485775"/>
                  <a:gd name="connsiteX326" fmla="*/ 883838 w 923925"/>
                  <a:gd name="connsiteY326" fmla="*/ 146058 h 485775"/>
                  <a:gd name="connsiteX327" fmla="*/ 883838 w 923925"/>
                  <a:gd name="connsiteY327" fmla="*/ 134980 h 485775"/>
                  <a:gd name="connsiteX328" fmla="*/ 883838 w 923925"/>
                  <a:gd name="connsiteY328" fmla="*/ 131294 h 485775"/>
                  <a:gd name="connsiteX329" fmla="*/ 883838 w 923925"/>
                  <a:gd name="connsiteY329" fmla="*/ 127598 h 485775"/>
                  <a:gd name="connsiteX330" fmla="*/ 883838 w 923925"/>
                  <a:gd name="connsiteY330" fmla="*/ 120226 h 485775"/>
                  <a:gd name="connsiteX331" fmla="*/ 880151 w 923925"/>
                  <a:gd name="connsiteY331" fmla="*/ 120226 h 485775"/>
                  <a:gd name="connsiteX332" fmla="*/ 880151 w 923925"/>
                  <a:gd name="connsiteY332" fmla="*/ 116530 h 485775"/>
                  <a:gd name="connsiteX333" fmla="*/ 880151 w 923925"/>
                  <a:gd name="connsiteY333" fmla="*/ 109148 h 485775"/>
                  <a:gd name="connsiteX334" fmla="*/ 876456 w 923925"/>
                  <a:gd name="connsiteY334" fmla="*/ 98080 h 485775"/>
                  <a:gd name="connsiteX335" fmla="*/ 872769 w 923925"/>
                  <a:gd name="connsiteY335" fmla="*/ 98080 h 485775"/>
                  <a:gd name="connsiteX336" fmla="*/ 869083 w 923925"/>
                  <a:gd name="connsiteY336" fmla="*/ 94385 h 485775"/>
                  <a:gd name="connsiteX337" fmla="*/ 861701 w 923925"/>
                  <a:gd name="connsiteY337" fmla="*/ 94385 h 485775"/>
                  <a:gd name="connsiteX338" fmla="*/ 854319 w 923925"/>
                  <a:gd name="connsiteY338" fmla="*/ 90698 h 485775"/>
                  <a:gd name="connsiteX339" fmla="*/ 846947 w 923925"/>
                  <a:gd name="connsiteY339" fmla="*/ 90698 h 485775"/>
                  <a:gd name="connsiteX340" fmla="*/ 843252 w 923925"/>
                  <a:gd name="connsiteY340" fmla="*/ 87003 h 485775"/>
                  <a:gd name="connsiteX341" fmla="*/ 843252 w 923925"/>
                  <a:gd name="connsiteY341" fmla="*/ 79621 h 485775"/>
                  <a:gd name="connsiteX342" fmla="*/ 839565 w 923925"/>
                  <a:gd name="connsiteY342" fmla="*/ 72248 h 485775"/>
                  <a:gd name="connsiteX343" fmla="*/ 839565 w 923925"/>
                  <a:gd name="connsiteY343" fmla="*/ 68553 h 485775"/>
                  <a:gd name="connsiteX344" fmla="*/ 839565 w 923925"/>
                  <a:gd name="connsiteY344" fmla="*/ 64867 h 485775"/>
                  <a:gd name="connsiteX345" fmla="*/ 835879 w 923925"/>
                  <a:gd name="connsiteY345" fmla="*/ 64867 h 485775"/>
                  <a:gd name="connsiteX346" fmla="*/ 832193 w 923925"/>
                  <a:gd name="connsiteY346" fmla="*/ 61171 h 485775"/>
                  <a:gd name="connsiteX347" fmla="*/ 828497 w 923925"/>
                  <a:gd name="connsiteY347" fmla="*/ 61171 h 485775"/>
                  <a:gd name="connsiteX348" fmla="*/ 821125 w 923925"/>
                  <a:gd name="connsiteY348" fmla="*/ 61171 h 485775"/>
                  <a:gd name="connsiteX349" fmla="*/ 810057 w 923925"/>
                  <a:gd name="connsiteY349" fmla="*/ 61171 h 485775"/>
                  <a:gd name="connsiteX350" fmla="*/ 806361 w 923925"/>
                  <a:gd name="connsiteY350" fmla="*/ 61171 h 485775"/>
                  <a:gd name="connsiteX351" fmla="*/ 795293 w 923925"/>
                  <a:gd name="connsiteY351" fmla="*/ 64867 h 485775"/>
                  <a:gd name="connsiteX352" fmla="*/ 791607 w 923925"/>
                  <a:gd name="connsiteY352" fmla="*/ 64867 h 485775"/>
                  <a:gd name="connsiteX353" fmla="*/ 784225 w 923925"/>
                  <a:gd name="connsiteY353" fmla="*/ 64867 h 485775"/>
                  <a:gd name="connsiteX354" fmla="*/ 780539 w 923925"/>
                  <a:gd name="connsiteY354" fmla="*/ 64867 h 485775"/>
                  <a:gd name="connsiteX355" fmla="*/ 776853 w 923925"/>
                  <a:gd name="connsiteY355" fmla="*/ 64867 h 485775"/>
                  <a:gd name="connsiteX356" fmla="*/ 773157 w 923925"/>
                  <a:gd name="connsiteY356" fmla="*/ 61171 h 485775"/>
                  <a:gd name="connsiteX357" fmla="*/ 773157 w 923925"/>
                  <a:gd name="connsiteY357" fmla="*/ 57485 h 485775"/>
                  <a:gd name="connsiteX358" fmla="*/ 769471 w 923925"/>
                  <a:gd name="connsiteY358" fmla="*/ 53789 h 485775"/>
                  <a:gd name="connsiteX359" fmla="*/ 765785 w 923925"/>
                  <a:gd name="connsiteY359" fmla="*/ 50103 h 485775"/>
                  <a:gd name="connsiteX360" fmla="*/ 762098 w 923925"/>
                  <a:gd name="connsiteY360" fmla="*/ 50103 h 485775"/>
                  <a:gd name="connsiteX361" fmla="*/ 758403 w 923925"/>
                  <a:gd name="connsiteY361" fmla="*/ 50103 h 485775"/>
                  <a:gd name="connsiteX362" fmla="*/ 754717 w 923925"/>
                  <a:gd name="connsiteY362" fmla="*/ 46407 h 485775"/>
                  <a:gd name="connsiteX363" fmla="*/ 751030 w 923925"/>
                  <a:gd name="connsiteY363" fmla="*/ 46407 h 485775"/>
                  <a:gd name="connsiteX364" fmla="*/ 751030 w 923925"/>
                  <a:gd name="connsiteY364" fmla="*/ 39025 h 485775"/>
                  <a:gd name="connsiteX365" fmla="*/ 747335 w 923925"/>
                  <a:gd name="connsiteY365" fmla="*/ 39025 h 485775"/>
                  <a:gd name="connsiteX366" fmla="*/ 743649 w 923925"/>
                  <a:gd name="connsiteY366" fmla="*/ 35339 h 485775"/>
                  <a:gd name="connsiteX367" fmla="*/ 739962 w 923925"/>
                  <a:gd name="connsiteY367" fmla="*/ 35339 h 485775"/>
                  <a:gd name="connsiteX368" fmla="*/ 736267 w 923925"/>
                  <a:gd name="connsiteY368" fmla="*/ 35339 h 485775"/>
                  <a:gd name="connsiteX369" fmla="*/ 732581 w 923925"/>
                  <a:gd name="connsiteY369" fmla="*/ 31643 h 485775"/>
                  <a:gd name="connsiteX370" fmla="*/ 728894 w 923925"/>
                  <a:gd name="connsiteY370" fmla="*/ 27957 h 485775"/>
                  <a:gd name="connsiteX371" fmla="*/ 725199 w 923925"/>
                  <a:gd name="connsiteY371" fmla="*/ 24271 h 485775"/>
                  <a:gd name="connsiteX372" fmla="*/ 725199 w 923925"/>
                  <a:gd name="connsiteY372" fmla="*/ 16889 h 485775"/>
                  <a:gd name="connsiteX373" fmla="*/ 721512 w 923925"/>
                  <a:gd name="connsiteY373" fmla="*/ 13194 h 485775"/>
                  <a:gd name="connsiteX374" fmla="*/ 714131 w 923925"/>
                  <a:gd name="connsiteY374" fmla="*/ 13194 h 485775"/>
                  <a:gd name="connsiteX375" fmla="*/ 710444 w 923925"/>
                  <a:gd name="connsiteY375" fmla="*/ 13194 h 485775"/>
                  <a:gd name="connsiteX376" fmla="*/ 706758 w 923925"/>
                  <a:gd name="connsiteY376" fmla="*/ 9507 h 485775"/>
                  <a:gd name="connsiteX377" fmla="*/ 699376 w 923925"/>
                  <a:gd name="connsiteY377" fmla="*/ 5812 h 485775"/>
                  <a:gd name="connsiteX378" fmla="*/ 695690 w 923925"/>
                  <a:gd name="connsiteY378" fmla="*/ 5812 h 485775"/>
                  <a:gd name="connsiteX379" fmla="*/ 692004 w 923925"/>
                  <a:gd name="connsiteY379" fmla="*/ 5812 h 485775"/>
                  <a:gd name="connsiteX380" fmla="*/ 684622 w 923925"/>
                  <a:gd name="connsiteY380" fmla="*/ 5812 h 485775"/>
                  <a:gd name="connsiteX381" fmla="*/ 680936 w 923925"/>
                  <a:gd name="connsiteY381" fmla="*/ 5812 h 485775"/>
                  <a:gd name="connsiteX382" fmla="*/ 677240 w 923925"/>
                  <a:gd name="connsiteY382" fmla="*/ 9507 h 485775"/>
                  <a:gd name="connsiteX383" fmla="*/ 677240 w 923925"/>
                  <a:gd name="connsiteY383" fmla="*/ 13194 h 485775"/>
                  <a:gd name="connsiteX384" fmla="*/ 673554 w 923925"/>
                  <a:gd name="connsiteY384" fmla="*/ 16889 h 485775"/>
                  <a:gd name="connsiteX385" fmla="*/ 669868 w 923925"/>
                  <a:gd name="connsiteY385" fmla="*/ 16889 h 485775"/>
                  <a:gd name="connsiteX386" fmla="*/ 666172 w 923925"/>
                  <a:gd name="connsiteY386" fmla="*/ 13194 h 485775"/>
                  <a:gd name="connsiteX387" fmla="*/ 662486 w 923925"/>
                  <a:gd name="connsiteY387" fmla="*/ 13194 h 485775"/>
                  <a:gd name="connsiteX388" fmla="*/ 658800 w 923925"/>
                  <a:gd name="connsiteY388" fmla="*/ 13194 h 485775"/>
                  <a:gd name="connsiteX389" fmla="*/ 658800 w 923925"/>
                  <a:gd name="connsiteY389" fmla="*/ 9507 h 485775"/>
                  <a:gd name="connsiteX390" fmla="*/ 655104 w 923925"/>
                  <a:gd name="connsiteY390" fmla="*/ 5812 h 485775"/>
                  <a:gd name="connsiteX391" fmla="*/ 651418 w 923925"/>
                  <a:gd name="connsiteY391" fmla="*/ 5812 h 485775"/>
                  <a:gd name="connsiteX392" fmla="*/ 647732 w 923925"/>
                  <a:gd name="connsiteY392" fmla="*/ 5812 h 485775"/>
                  <a:gd name="connsiteX393" fmla="*/ 644036 w 923925"/>
                  <a:gd name="connsiteY393" fmla="*/ 5812 h 485775"/>
                  <a:gd name="connsiteX394" fmla="*/ 644036 w 923925"/>
                  <a:gd name="connsiteY394" fmla="*/ 9507 h 485775"/>
                  <a:gd name="connsiteX395" fmla="*/ 640350 w 923925"/>
                  <a:gd name="connsiteY395" fmla="*/ 16889 h 485775"/>
                  <a:gd name="connsiteX396" fmla="*/ 636664 w 923925"/>
                  <a:gd name="connsiteY396" fmla="*/ 20575 h 485775"/>
                  <a:gd name="connsiteX397" fmla="*/ 629282 w 923925"/>
                  <a:gd name="connsiteY397" fmla="*/ 20575 h 485775"/>
                  <a:gd name="connsiteX398" fmla="*/ 621910 w 923925"/>
                  <a:gd name="connsiteY398" fmla="*/ 20575 h 485775"/>
                  <a:gd name="connsiteX399" fmla="*/ 618214 w 923925"/>
                  <a:gd name="connsiteY399" fmla="*/ 20575 h 485775"/>
                  <a:gd name="connsiteX400" fmla="*/ 614528 w 923925"/>
                  <a:gd name="connsiteY400" fmla="*/ 16889 h 485775"/>
                  <a:gd name="connsiteX401" fmla="*/ 610841 w 923925"/>
                  <a:gd name="connsiteY401" fmla="*/ 13194 h 485775"/>
                  <a:gd name="connsiteX402" fmla="*/ 610841 w 923925"/>
                  <a:gd name="connsiteY402" fmla="*/ 9507 h 485775"/>
                  <a:gd name="connsiteX403" fmla="*/ 607146 w 923925"/>
                  <a:gd name="connsiteY403" fmla="*/ 9507 h 485775"/>
                  <a:gd name="connsiteX404" fmla="*/ 603460 w 923925"/>
                  <a:gd name="connsiteY404" fmla="*/ 13194 h 485775"/>
                  <a:gd name="connsiteX405" fmla="*/ 603460 w 923925"/>
                  <a:gd name="connsiteY405" fmla="*/ 16889 h 485775"/>
                  <a:gd name="connsiteX406" fmla="*/ 599773 w 923925"/>
                  <a:gd name="connsiteY406" fmla="*/ 20575 h 485775"/>
                  <a:gd name="connsiteX407" fmla="*/ 596078 w 923925"/>
                  <a:gd name="connsiteY407" fmla="*/ 24271 h 485775"/>
                  <a:gd name="connsiteX408" fmla="*/ 588705 w 923925"/>
                  <a:gd name="connsiteY408" fmla="*/ 35339 h 485775"/>
                  <a:gd name="connsiteX409" fmla="*/ 588705 w 923925"/>
                  <a:gd name="connsiteY409" fmla="*/ 39025 h 485775"/>
                  <a:gd name="connsiteX410" fmla="*/ 585010 w 923925"/>
                  <a:gd name="connsiteY410" fmla="*/ 46407 h 485775"/>
                  <a:gd name="connsiteX411" fmla="*/ 585010 w 923925"/>
                  <a:gd name="connsiteY411" fmla="*/ 53789 h 485775"/>
                  <a:gd name="connsiteX412" fmla="*/ 585010 w 923925"/>
                  <a:gd name="connsiteY412" fmla="*/ 61171 h 485775"/>
                  <a:gd name="connsiteX413" fmla="*/ 581323 w 923925"/>
                  <a:gd name="connsiteY413" fmla="*/ 61171 h 485775"/>
                  <a:gd name="connsiteX414" fmla="*/ 581323 w 923925"/>
                  <a:gd name="connsiteY414" fmla="*/ 64867 h 485775"/>
                  <a:gd name="connsiteX415" fmla="*/ 562874 w 923925"/>
                  <a:gd name="connsiteY415" fmla="*/ 72248 h 485775"/>
                  <a:gd name="connsiteX416" fmla="*/ 555501 w 923925"/>
                  <a:gd name="connsiteY416" fmla="*/ 75935 h 485775"/>
                  <a:gd name="connsiteX417" fmla="*/ 555501 w 923925"/>
                  <a:gd name="connsiteY417" fmla="*/ 79621 h 485775"/>
                  <a:gd name="connsiteX418" fmla="*/ 551815 w 923925"/>
                  <a:gd name="connsiteY418" fmla="*/ 79621 h 485775"/>
                  <a:gd name="connsiteX419" fmla="*/ 544433 w 923925"/>
                  <a:gd name="connsiteY419" fmla="*/ 75935 h 485775"/>
                  <a:gd name="connsiteX420" fmla="*/ 537051 w 923925"/>
                  <a:gd name="connsiteY420" fmla="*/ 75935 h 485775"/>
                  <a:gd name="connsiteX421" fmla="*/ 533365 w 923925"/>
                  <a:gd name="connsiteY421" fmla="*/ 79621 h 485775"/>
                  <a:gd name="connsiteX422" fmla="*/ 529675 w 923925"/>
                  <a:gd name="connsiteY422" fmla="*/ 83317 h 485775"/>
                  <a:gd name="connsiteX423" fmla="*/ 525986 w 923925"/>
                  <a:gd name="connsiteY423" fmla="*/ 79621 h 485775"/>
                  <a:gd name="connsiteX424" fmla="*/ 518608 w 923925"/>
                  <a:gd name="connsiteY424" fmla="*/ 75935 h 485775"/>
                  <a:gd name="connsiteX425" fmla="*/ 514919 w 923925"/>
                  <a:gd name="connsiteY425" fmla="*/ 72248 h 485775"/>
                  <a:gd name="connsiteX426" fmla="*/ 511230 w 923925"/>
                  <a:gd name="connsiteY426" fmla="*/ 75935 h 485775"/>
                  <a:gd name="connsiteX427" fmla="*/ 507540 w 923925"/>
                  <a:gd name="connsiteY427" fmla="*/ 75935 h 485775"/>
                  <a:gd name="connsiteX428" fmla="*/ 503851 w 923925"/>
                  <a:gd name="connsiteY428" fmla="*/ 75935 h 485775"/>
                  <a:gd name="connsiteX429" fmla="*/ 496473 w 923925"/>
                  <a:gd name="connsiteY429" fmla="*/ 75935 h 485775"/>
                  <a:gd name="connsiteX430" fmla="*/ 492784 w 923925"/>
                  <a:gd name="connsiteY430" fmla="*/ 75935 h 485775"/>
                  <a:gd name="connsiteX431" fmla="*/ 485405 w 923925"/>
                  <a:gd name="connsiteY431" fmla="*/ 75935 h 485775"/>
                  <a:gd name="connsiteX432" fmla="*/ 478027 w 923925"/>
                  <a:gd name="connsiteY432" fmla="*/ 75935 h 485775"/>
                  <a:gd name="connsiteX433" fmla="*/ 470649 w 923925"/>
                  <a:gd name="connsiteY433" fmla="*/ 79621 h 485775"/>
                  <a:gd name="connsiteX434" fmla="*/ 466960 w 923925"/>
                  <a:gd name="connsiteY434" fmla="*/ 75935 h 485775"/>
                  <a:gd name="connsiteX435" fmla="*/ 466960 w 923925"/>
                  <a:gd name="connsiteY435" fmla="*/ 72248 h 485775"/>
                  <a:gd name="connsiteX436" fmla="*/ 470649 w 923925"/>
                  <a:gd name="connsiteY436" fmla="*/ 72248 h 485775"/>
                  <a:gd name="connsiteX437" fmla="*/ 474338 w 923925"/>
                  <a:gd name="connsiteY437" fmla="*/ 68553 h 485775"/>
                  <a:gd name="connsiteX438" fmla="*/ 478027 w 923925"/>
                  <a:gd name="connsiteY438" fmla="*/ 64867 h 485775"/>
                  <a:gd name="connsiteX439" fmla="*/ 474338 w 923925"/>
                  <a:gd name="connsiteY439" fmla="*/ 61171 h 485775"/>
                  <a:gd name="connsiteX440" fmla="*/ 474338 w 923925"/>
                  <a:gd name="connsiteY440" fmla="*/ 57485 h 485775"/>
                  <a:gd name="connsiteX441" fmla="*/ 474338 w 923925"/>
                  <a:gd name="connsiteY441" fmla="*/ 53789 h 485775"/>
                  <a:gd name="connsiteX442" fmla="*/ 474338 w 923925"/>
                  <a:gd name="connsiteY442" fmla="*/ 50103 h 485775"/>
                  <a:gd name="connsiteX443" fmla="*/ 463271 w 923925"/>
                  <a:gd name="connsiteY443" fmla="*/ 46407 h 485775"/>
                  <a:gd name="connsiteX444" fmla="*/ 459581 w 923925"/>
                  <a:gd name="connsiteY444" fmla="*/ 42721 h 485775"/>
                  <a:gd name="connsiteX445" fmla="*/ 455892 w 923925"/>
                  <a:gd name="connsiteY445" fmla="*/ 39025 h 485775"/>
                  <a:gd name="connsiteX446" fmla="*/ 452203 w 923925"/>
                  <a:gd name="connsiteY446" fmla="*/ 39025 h 485775"/>
                  <a:gd name="connsiteX447" fmla="*/ 448514 w 923925"/>
                  <a:gd name="connsiteY447" fmla="*/ 42721 h 485775"/>
                  <a:gd name="connsiteX448" fmla="*/ 444825 w 923925"/>
                  <a:gd name="connsiteY448" fmla="*/ 46407 h 485775"/>
                  <a:gd name="connsiteX449" fmla="*/ 441136 w 923925"/>
                  <a:gd name="connsiteY449" fmla="*/ 46407 h 485775"/>
                  <a:gd name="connsiteX450" fmla="*/ 441136 w 923925"/>
                  <a:gd name="connsiteY450" fmla="*/ 42721 h 485775"/>
                  <a:gd name="connsiteX451" fmla="*/ 437445 w 923925"/>
                  <a:gd name="connsiteY451" fmla="*/ 42721 h 485775"/>
                  <a:gd name="connsiteX452" fmla="*/ 437445 w 923925"/>
                  <a:gd name="connsiteY452" fmla="*/ 39025 h 485775"/>
                  <a:gd name="connsiteX453" fmla="*/ 433756 w 923925"/>
                  <a:gd name="connsiteY453" fmla="*/ 35339 h 485775"/>
                  <a:gd name="connsiteX454" fmla="*/ 433756 w 923925"/>
                  <a:gd name="connsiteY454" fmla="*/ 31643 h 485775"/>
                  <a:gd name="connsiteX455" fmla="*/ 430067 w 923925"/>
                  <a:gd name="connsiteY455" fmla="*/ 31643 h 485775"/>
                  <a:gd name="connsiteX456" fmla="*/ 426378 w 923925"/>
                  <a:gd name="connsiteY456" fmla="*/ 27957 h 485775"/>
                  <a:gd name="connsiteX457" fmla="*/ 419000 w 923925"/>
                  <a:gd name="connsiteY457" fmla="*/ 24271 h 485775"/>
                  <a:gd name="connsiteX458" fmla="*/ 415310 w 923925"/>
                  <a:gd name="connsiteY458" fmla="*/ 20575 h 485775"/>
                  <a:gd name="connsiteX459" fmla="*/ 411621 w 923925"/>
                  <a:gd name="connsiteY459" fmla="*/ 20575 h 485775"/>
                  <a:gd name="connsiteX460" fmla="*/ 411621 w 923925"/>
                  <a:gd name="connsiteY460" fmla="*/ 16889 h 485775"/>
                  <a:gd name="connsiteX461" fmla="*/ 411621 w 923925"/>
                  <a:gd name="connsiteY461" fmla="*/ 13194 h 485775"/>
                  <a:gd name="connsiteX462" fmla="*/ 407932 w 923925"/>
                  <a:gd name="connsiteY462" fmla="*/ 13194 h 485775"/>
                  <a:gd name="connsiteX463" fmla="*/ 400554 w 923925"/>
                  <a:gd name="connsiteY463" fmla="*/ 13194 h 485775"/>
                  <a:gd name="connsiteX464" fmla="*/ 396865 w 923925"/>
                  <a:gd name="connsiteY464" fmla="*/ 9507 h 485775"/>
                  <a:gd name="connsiteX465" fmla="*/ 393175 w 923925"/>
                  <a:gd name="connsiteY465" fmla="*/ 9507 h 485775"/>
                  <a:gd name="connsiteX466" fmla="*/ 385797 w 923925"/>
                  <a:gd name="connsiteY466" fmla="*/ 9507 h 485775"/>
                  <a:gd name="connsiteX467" fmla="*/ 378419 w 923925"/>
                  <a:gd name="connsiteY467" fmla="*/ 5812 h 485775"/>
                  <a:gd name="connsiteX468" fmla="*/ 374730 w 923925"/>
                  <a:gd name="connsiteY468" fmla="*/ 5812 h 485775"/>
                  <a:gd name="connsiteX469" fmla="*/ 371041 w 923925"/>
                  <a:gd name="connsiteY469" fmla="*/ 5812 h 485775"/>
                  <a:gd name="connsiteX470" fmla="*/ 363662 w 923925"/>
                  <a:gd name="connsiteY470" fmla="*/ 5812 h 485775"/>
                  <a:gd name="connsiteX471" fmla="*/ 367351 w 923925"/>
                  <a:gd name="connsiteY471" fmla="*/ 349036 h 485775"/>
                  <a:gd name="connsiteX472" fmla="*/ 363662 w 923925"/>
                  <a:gd name="connsiteY472" fmla="*/ 349036 h 485775"/>
                  <a:gd name="connsiteX473" fmla="*/ 359973 w 923925"/>
                  <a:gd name="connsiteY473" fmla="*/ 349036 h 485775"/>
                  <a:gd name="connsiteX474" fmla="*/ 363662 w 923925"/>
                  <a:gd name="connsiteY474" fmla="*/ 352731 h 485775"/>
                  <a:gd name="connsiteX475" fmla="*/ 367351 w 923925"/>
                  <a:gd name="connsiteY475" fmla="*/ 349036 h 485775"/>
                  <a:gd name="connsiteX476" fmla="*/ 363662 w 923925"/>
                  <a:gd name="connsiteY476" fmla="*/ 308440 h 485775"/>
                  <a:gd name="connsiteX477" fmla="*/ 367351 w 923925"/>
                  <a:gd name="connsiteY477" fmla="*/ 308440 h 485775"/>
                  <a:gd name="connsiteX478" fmla="*/ 367351 w 923925"/>
                  <a:gd name="connsiteY478" fmla="*/ 312136 h 485775"/>
                  <a:gd name="connsiteX479" fmla="*/ 371041 w 923925"/>
                  <a:gd name="connsiteY479" fmla="*/ 315822 h 485775"/>
                  <a:gd name="connsiteX480" fmla="*/ 374730 w 923925"/>
                  <a:gd name="connsiteY480" fmla="*/ 315822 h 485775"/>
                  <a:gd name="connsiteX481" fmla="*/ 374730 w 923925"/>
                  <a:gd name="connsiteY481" fmla="*/ 319508 h 485775"/>
                  <a:gd name="connsiteX482" fmla="*/ 374730 w 923925"/>
                  <a:gd name="connsiteY482" fmla="*/ 323204 h 485775"/>
                  <a:gd name="connsiteX483" fmla="*/ 371041 w 923925"/>
                  <a:gd name="connsiteY483" fmla="*/ 323204 h 485775"/>
                  <a:gd name="connsiteX484" fmla="*/ 367351 w 923925"/>
                  <a:gd name="connsiteY484" fmla="*/ 319508 h 485775"/>
                  <a:gd name="connsiteX485" fmla="*/ 363662 w 923925"/>
                  <a:gd name="connsiteY485" fmla="*/ 319508 h 485775"/>
                  <a:gd name="connsiteX486" fmla="*/ 367351 w 923925"/>
                  <a:gd name="connsiteY486" fmla="*/ 315822 h 485775"/>
                  <a:gd name="connsiteX487" fmla="*/ 363662 w 923925"/>
                  <a:gd name="connsiteY487" fmla="*/ 312136 h 485775"/>
                  <a:gd name="connsiteX488" fmla="*/ 363662 w 923925"/>
                  <a:gd name="connsiteY488" fmla="*/ 308440 h 485775"/>
                  <a:gd name="connsiteX489" fmla="*/ 371041 w 923925"/>
                  <a:gd name="connsiteY489" fmla="*/ 308440 h 485775"/>
                  <a:gd name="connsiteX490" fmla="*/ 374730 w 923925"/>
                  <a:gd name="connsiteY490" fmla="*/ 312136 h 485775"/>
                  <a:gd name="connsiteX491" fmla="*/ 371041 w 923925"/>
                  <a:gd name="connsiteY491" fmla="*/ 312136 h 485775"/>
                  <a:gd name="connsiteX492" fmla="*/ 371041 w 923925"/>
                  <a:gd name="connsiteY492" fmla="*/ 308440 h 485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Lst>
                <a:rect l="l" t="t" r="r" b="b"/>
                <a:pathLst>
                  <a:path w="923925" h="485775">
                    <a:moveTo>
                      <a:pt x="363662" y="5812"/>
                    </a:moveTo>
                    <a:lnTo>
                      <a:pt x="359973" y="9507"/>
                    </a:lnTo>
                    <a:lnTo>
                      <a:pt x="352595" y="13194"/>
                    </a:lnTo>
                    <a:lnTo>
                      <a:pt x="348906" y="13194"/>
                    </a:lnTo>
                    <a:lnTo>
                      <a:pt x="341527" y="24271"/>
                    </a:lnTo>
                    <a:lnTo>
                      <a:pt x="337838" y="24271"/>
                    </a:lnTo>
                    <a:lnTo>
                      <a:pt x="330460" y="27957"/>
                    </a:lnTo>
                    <a:lnTo>
                      <a:pt x="326771" y="27957"/>
                    </a:lnTo>
                    <a:lnTo>
                      <a:pt x="319392" y="27957"/>
                    </a:lnTo>
                    <a:lnTo>
                      <a:pt x="312014" y="27957"/>
                    </a:lnTo>
                    <a:lnTo>
                      <a:pt x="304636" y="27957"/>
                    </a:lnTo>
                    <a:lnTo>
                      <a:pt x="297257" y="31643"/>
                    </a:lnTo>
                    <a:lnTo>
                      <a:pt x="293568" y="31643"/>
                    </a:lnTo>
                    <a:lnTo>
                      <a:pt x="289878" y="35339"/>
                    </a:lnTo>
                    <a:lnTo>
                      <a:pt x="289878" y="39025"/>
                    </a:lnTo>
                    <a:lnTo>
                      <a:pt x="286189" y="42721"/>
                    </a:lnTo>
                    <a:lnTo>
                      <a:pt x="282500" y="46407"/>
                    </a:lnTo>
                    <a:lnTo>
                      <a:pt x="278811" y="57485"/>
                    </a:lnTo>
                    <a:lnTo>
                      <a:pt x="275121" y="61171"/>
                    </a:lnTo>
                    <a:lnTo>
                      <a:pt x="271432" y="68553"/>
                    </a:lnTo>
                    <a:lnTo>
                      <a:pt x="260365" y="75935"/>
                    </a:lnTo>
                    <a:lnTo>
                      <a:pt x="252986" y="79621"/>
                    </a:lnTo>
                    <a:lnTo>
                      <a:pt x="249297" y="83317"/>
                    </a:lnTo>
                    <a:lnTo>
                      <a:pt x="245608" y="87003"/>
                    </a:lnTo>
                    <a:lnTo>
                      <a:pt x="230851" y="90698"/>
                    </a:lnTo>
                    <a:lnTo>
                      <a:pt x="230851" y="94385"/>
                    </a:lnTo>
                    <a:lnTo>
                      <a:pt x="223473" y="98080"/>
                    </a:lnTo>
                    <a:lnTo>
                      <a:pt x="219784" y="101766"/>
                    </a:lnTo>
                    <a:lnTo>
                      <a:pt x="216095" y="101766"/>
                    </a:lnTo>
                    <a:lnTo>
                      <a:pt x="212406" y="105462"/>
                    </a:lnTo>
                    <a:lnTo>
                      <a:pt x="208717" y="109148"/>
                    </a:lnTo>
                    <a:lnTo>
                      <a:pt x="179203" y="116530"/>
                    </a:lnTo>
                    <a:lnTo>
                      <a:pt x="175514" y="116530"/>
                    </a:lnTo>
                    <a:lnTo>
                      <a:pt x="171825" y="116530"/>
                    </a:lnTo>
                    <a:lnTo>
                      <a:pt x="160757" y="120226"/>
                    </a:lnTo>
                    <a:lnTo>
                      <a:pt x="153379" y="120226"/>
                    </a:lnTo>
                    <a:lnTo>
                      <a:pt x="142311" y="116530"/>
                    </a:lnTo>
                    <a:lnTo>
                      <a:pt x="138621" y="112844"/>
                    </a:lnTo>
                    <a:lnTo>
                      <a:pt x="134932" y="112844"/>
                    </a:lnTo>
                    <a:lnTo>
                      <a:pt x="131243" y="109148"/>
                    </a:lnTo>
                    <a:lnTo>
                      <a:pt x="127554" y="109148"/>
                    </a:lnTo>
                    <a:lnTo>
                      <a:pt x="120176" y="109148"/>
                    </a:lnTo>
                    <a:lnTo>
                      <a:pt x="116487" y="112844"/>
                    </a:lnTo>
                    <a:lnTo>
                      <a:pt x="109108" y="116530"/>
                    </a:lnTo>
                    <a:lnTo>
                      <a:pt x="105419" y="120226"/>
                    </a:lnTo>
                    <a:lnTo>
                      <a:pt x="105419" y="123912"/>
                    </a:lnTo>
                    <a:lnTo>
                      <a:pt x="101730" y="131294"/>
                    </a:lnTo>
                    <a:lnTo>
                      <a:pt x="98041" y="134980"/>
                    </a:lnTo>
                    <a:lnTo>
                      <a:pt x="94352" y="138676"/>
                    </a:lnTo>
                    <a:lnTo>
                      <a:pt x="90662" y="142362"/>
                    </a:lnTo>
                    <a:lnTo>
                      <a:pt x="83284" y="146058"/>
                    </a:lnTo>
                    <a:lnTo>
                      <a:pt x="79595" y="146058"/>
                    </a:lnTo>
                    <a:lnTo>
                      <a:pt x="75906" y="149744"/>
                    </a:lnTo>
                    <a:lnTo>
                      <a:pt x="72217" y="149744"/>
                    </a:lnTo>
                    <a:lnTo>
                      <a:pt x="72217" y="146058"/>
                    </a:lnTo>
                    <a:lnTo>
                      <a:pt x="68527" y="146058"/>
                    </a:lnTo>
                    <a:lnTo>
                      <a:pt x="64838" y="149744"/>
                    </a:lnTo>
                    <a:lnTo>
                      <a:pt x="57460" y="149744"/>
                    </a:lnTo>
                    <a:lnTo>
                      <a:pt x="53771" y="149744"/>
                    </a:lnTo>
                    <a:lnTo>
                      <a:pt x="50082" y="153440"/>
                    </a:lnTo>
                    <a:lnTo>
                      <a:pt x="46393" y="153440"/>
                    </a:lnTo>
                    <a:lnTo>
                      <a:pt x="42703" y="153440"/>
                    </a:lnTo>
                    <a:lnTo>
                      <a:pt x="39014" y="160821"/>
                    </a:lnTo>
                    <a:lnTo>
                      <a:pt x="35325" y="160821"/>
                    </a:lnTo>
                    <a:lnTo>
                      <a:pt x="35325" y="157126"/>
                    </a:lnTo>
                    <a:lnTo>
                      <a:pt x="31636" y="157126"/>
                    </a:lnTo>
                    <a:lnTo>
                      <a:pt x="27947" y="157126"/>
                    </a:lnTo>
                    <a:lnTo>
                      <a:pt x="16879" y="160821"/>
                    </a:lnTo>
                    <a:lnTo>
                      <a:pt x="13190" y="164508"/>
                    </a:lnTo>
                    <a:lnTo>
                      <a:pt x="9501" y="168203"/>
                    </a:lnTo>
                    <a:lnTo>
                      <a:pt x="5812" y="175576"/>
                    </a:lnTo>
                    <a:lnTo>
                      <a:pt x="5812" y="179271"/>
                    </a:lnTo>
                    <a:lnTo>
                      <a:pt x="5812" y="186653"/>
                    </a:lnTo>
                    <a:lnTo>
                      <a:pt x="5812" y="190339"/>
                    </a:lnTo>
                    <a:lnTo>
                      <a:pt x="9501" y="194035"/>
                    </a:lnTo>
                    <a:lnTo>
                      <a:pt x="24258" y="212485"/>
                    </a:lnTo>
                    <a:lnTo>
                      <a:pt x="24258" y="219867"/>
                    </a:lnTo>
                    <a:lnTo>
                      <a:pt x="27947" y="223553"/>
                    </a:lnTo>
                    <a:lnTo>
                      <a:pt x="27947" y="227249"/>
                    </a:lnTo>
                    <a:lnTo>
                      <a:pt x="24258" y="234631"/>
                    </a:lnTo>
                    <a:lnTo>
                      <a:pt x="20568" y="245699"/>
                    </a:lnTo>
                    <a:lnTo>
                      <a:pt x="16879" y="253081"/>
                    </a:lnTo>
                    <a:lnTo>
                      <a:pt x="16879" y="256776"/>
                    </a:lnTo>
                    <a:lnTo>
                      <a:pt x="24258" y="271531"/>
                    </a:lnTo>
                    <a:lnTo>
                      <a:pt x="39014" y="312136"/>
                    </a:lnTo>
                    <a:lnTo>
                      <a:pt x="46393" y="323204"/>
                    </a:lnTo>
                    <a:lnTo>
                      <a:pt x="39014" y="326890"/>
                    </a:lnTo>
                    <a:lnTo>
                      <a:pt x="39014" y="330585"/>
                    </a:lnTo>
                    <a:lnTo>
                      <a:pt x="42703" y="341654"/>
                    </a:lnTo>
                    <a:lnTo>
                      <a:pt x="39014" y="352731"/>
                    </a:lnTo>
                    <a:lnTo>
                      <a:pt x="39014" y="356417"/>
                    </a:lnTo>
                    <a:lnTo>
                      <a:pt x="42703" y="356417"/>
                    </a:lnTo>
                    <a:lnTo>
                      <a:pt x="46393" y="360113"/>
                    </a:lnTo>
                    <a:lnTo>
                      <a:pt x="72217" y="360113"/>
                    </a:lnTo>
                    <a:lnTo>
                      <a:pt x="72217" y="363799"/>
                    </a:lnTo>
                    <a:lnTo>
                      <a:pt x="75906" y="367485"/>
                    </a:lnTo>
                    <a:lnTo>
                      <a:pt x="75906" y="378563"/>
                    </a:lnTo>
                    <a:lnTo>
                      <a:pt x="79595" y="374867"/>
                    </a:lnTo>
                    <a:lnTo>
                      <a:pt x="90662" y="378563"/>
                    </a:lnTo>
                    <a:lnTo>
                      <a:pt x="94352" y="378563"/>
                    </a:lnTo>
                    <a:lnTo>
                      <a:pt x="98041" y="378563"/>
                    </a:lnTo>
                    <a:lnTo>
                      <a:pt x="101730" y="378563"/>
                    </a:lnTo>
                    <a:lnTo>
                      <a:pt x="105419" y="378563"/>
                    </a:lnTo>
                    <a:lnTo>
                      <a:pt x="109108" y="374867"/>
                    </a:lnTo>
                    <a:lnTo>
                      <a:pt x="116487" y="371181"/>
                    </a:lnTo>
                    <a:lnTo>
                      <a:pt x="120176" y="371181"/>
                    </a:lnTo>
                    <a:lnTo>
                      <a:pt x="120176" y="367485"/>
                    </a:lnTo>
                    <a:lnTo>
                      <a:pt x="120176" y="363799"/>
                    </a:lnTo>
                    <a:lnTo>
                      <a:pt x="101730" y="337967"/>
                    </a:lnTo>
                    <a:lnTo>
                      <a:pt x="98041" y="326890"/>
                    </a:lnTo>
                    <a:lnTo>
                      <a:pt x="101730" y="323204"/>
                    </a:lnTo>
                    <a:lnTo>
                      <a:pt x="105419" y="323204"/>
                    </a:lnTo>
                    <a:lnTo>
                      <a:pt x="105419" y="319508"/>
                    </a:lnTo>
                    <a:lnTo>
                      <a:pt x="105419" y="315822"/>
                    </a:lnTo>
                    <a:lnTo>
                      <a:pt x="105419" y="312136"/>
                    </a:lnTo>
                    <a:lnTo>
                      <a:pt x="105419" y="308440"/>
                    </a:lnTo>
                    <a:lnTo>
                      <a:pt x="101730" y="308440"/>
                    </a:lnTo>
                    <a:lnTo>
                      <a:pt x="98041" y="304754"/>
                    </a:lnTo>
                    <a:lnTo>
                      <a:pt x="101730" y="301058"/>
                    </a:lnTo>
                    <a:lnTo>
                      <a:pt x="127554" y="289990"/>
                    </a:lnTo>
                    <a:lnTo>
                      <a:pt x="134932" y="289990"/>
                    </a:lnTo>
                    <a:lnTo>
                      <a:pt x="138621" y="286294"/>
                    </a:lnTo>
                    <a:lnTo>
                      <a:pt x="142311" y="282608"/>
                    </a:lnTo>
                    <a:lnTo>
                      <a:pt x="146000" y="282608"/>
                    </a:lnTo>
                    <a:lnTo>
                      <a:pt x="149690" y="282608"/>
                    </a:lnTo>
                    <a:lnTo>
                      <a:pt x="175514" y="278912"/>
                    </a:lnTo>
                    <a:lnTo>
                      <a:pt x="179203" y="286294"/>
                    </a:lnTo>
                    <a:lnTo>
                      <a:pt x="171825" y="304754"/>
                    </a:lnTo>
                    <a:lnTo>
                      <a:pt x="175514" y="326890"/>
                    </a:lnTo>
                    <a:lnTo>
                      <a:pt x="193960" y="319508"/>
                    </a:lnTo>
                    <a:lnTo>
                      <a:pt x="197649" y="319508"/>
                    </a:lnTo>
                    <a:lnTo>
                      <a:pt x="205027" y="319508"/>
                    </a:lnTo>
                    <a:lnTo>
                      <a:pt x="219784" y="323204"/>
                    </a:lnTo>
                    <a:lnTo>
                      <a:pt x="227162" y="326890"/>
                    </a:lnTo>
                    <a:lnTo>
                      <a:pt x="230851" y="326890"/>
                    </a:lnTo>
                    <a:lnTo>
                      <a:pt x="230851" y="323204"/>
                    </a:lnTo>
                    <a:lnTo>
                      <a:pt x="234541" y="326890"/>
                    </a:lnTo>
                    <a:lnTo>
                      <a:pt x="241919" y="323204"/>
                    </a:lnTo>
                    <a:lnTo>
                      <a:pt x="238230" y="308440"/>
                    </a:lnTo>
                    <a:lnTo>
                      <a:pt x="249297" y="304754"/>
                    </a:lnTo>
                    <a:lnTo>
                      <a:pt x="252986" y="304754"/>
                    </a:lnTo>
                    <a:lnTo>
                      <a:pt x="256676" y="293676"/>
                    </a:lnTo>
                    <a:lnTo>
                      <a:pt x="264054" y="289990"/>
                    </a:lnTo>
                    <a:lnTo>
                      <a:pt x="267743" y="286294"/>
                    </a:lnTo>
                    <a:lnTo>
                      <a:pt x="271432" y="278912"/>
                    </a:lnTo>
                    <a:lnTo>
                      <a:pt x="278811" y="275226"/>
                    </a:lnTo>
                    <a:lnTo>
                      <a:pt x="282500" y="271531"/>
                    </a:lnTo>
                    <a:lnTo>
                      <a:pt x="278811" y="267844"/>
                    </a:lnTo>
                    <a:lnTo>
                      <a:pt x="282500" y="267844"/>
                    </a:lnTo>
                    <a:lnTo>
                      <a:pt x="286189" y="267844"/>
                    </a:lnTo>
                    <a:lnTo>
                      <a:pt x="286189" y="264158"/>
                    </a:lnTo>
                    <a:lnTo>
                      <a:pt x="293568" y="260462"/>
                    </a:lnTo>
                    <a:lnTo>
                      <a:pt x="297257" y="264158"/>
                    </a:lnTo>
                    <a:lnTo>
                      <a:pt x="297257" y="267844"/>
                    </a:lnTo>
                    <a:lnTo>
                      <a:pt x="300946" y="267844"/>
                    </a:lnTo>
                    <a:lnTo>
                      <a:pt x="304636" y="267844"/>
                    </a:lnTo>
                    <a:lnTo>
                      <a:pt x="312014" y="271531"/>
                    </a:lnTo>
                    <a:lnTo>
                      <a:pt x="315703" y="271531"/>
                    </a:lnTo>
                    <a:lnTo>
                      <a:pt x="315703" y="275226"/>
                    </a:lnTo>
                    <a:lnTo>
                      <a:pt x="315703" y="278912"/>
                    </a:lnTo>
                    <a:lnTo>
                      <a:pt x="319392" y="282608"/>
                    </a:lnTo>
                    <a:lnTo>
                      <a:pt x="323081" y="278912"/>
                    </a:lnTo>
                    <a:lnTo>
                      <a:pt x="326771" y="282608"/>
                    </a:lnTo>
                    <a:lnTo>
                      <a:pt x="323081" y="289990"/>
                    </a:lnTo>
                    <a:lnTo>
                      <a:pt x="323081" y="297372"/>
                    </a:lnTo>
                    <a:lnTo>
                      <a:pt x="326771" y="297372"/>
                    </a:lnTo>
                    <a:lnTo>
                      <a:pt x="326771" y="301058"/>
                    </a:lnTo>
                    <a:lnTo>
                      <a:pt x="323081" y="301058"/>
                    </a:lnTo>
                    <a:lnTo>
                      <a:pt x="319392" y="304754"/>
                    </a:lnTo>
                    <a:lnTo>
                      <a:pt x="315703" y="308440"/>
                    </a:lnTo>
                    <a:lnTo>
                      <a:pt x="319392" y="323204"/>
                    </a:lnTo>
                    <a:lnTo>
                      <a:pt x="319392" y="326890"/>
                    </a:lnTo>
                    <a:lnTo>
                      <a:pt x="323081" y="326890"/>
                    </a:lnTo>
                    <a:lnTo>
                      <a:pt x="326771" y="326890"/>
                    </a:lnTo>
                    <a:lnTo>
                      <a:pt x="326771" y="330585"/>
                    </a:lnTo>
                    <a:lnTo>
                      <a:pt x="323081" y="330585"/>
                    </a:lnTo>
                    <a:lnTo>
                      <a:pt x="312014" y="326890"/>
                    </a:lnTo>
                    <a:lnTo>
                      <a:pt x="308325" y="323204"/>
                    </a:lnTo>
                    <a:lnTo>
                      <a:pt x="300946" y="323204"/>
                    </a:lnTo>
                    <a:lnTo>
                      <a:pt x="300946" y="319508"/>
                    </a:lnTo>
                    <a:lnTo>
                      <a:pt x="297257" y="319508"/>
                    </a:lnTo>
                    <a:lnTo>
                      <a:pt x="289878" y="323204"/>
                    </a:lnTo>
                    <a:lnTo>
                      <a:pt x="289878" y="326890"/>
                    </a:lnTo>
                    <a:lnTo>
                      <a:pt x="289878" y="330585"/>
                    </a:lnTo>
                    <a:lnTo>
                      <a:pt x="293568" y="334272"/>
                    </a:lnTo>
                    <a:lnTo>
                      <a:pt x="300946" y="337967"/>
                    </a:lnTo>
                    <a:lnTo>
                      <a:pt x="304636" y="337967"/>
                    </a:lnTo>
                    <a:lnTo>
                      <a:pt x="315703" y="334272"/>
                    </a:lnTo>
                    <a:lnTo>
                      <a:pt x="323081" y="334272"/>
                    </a:lnTo>
                    <a:lnTo>
                      <a:pt x="330460" y="334272"/>
                    </a:lnTo>
                    <a:lnTo>
                      <a:pt x="334149" y="337967"/>
                    </a:lnTo>
                    <a:lnTo>
                      <a:pt x="337838" y="337967"/>
                    </a:lnTo>
                    <a:lnTo>
                      <a:pt x="337838" y="334272"/>
                    </a:lnTo>
                    <a:lnTo>
                      <a:pt x="341527" y="334272"/>
                    </a:lnTo>
                    <a:lnTo>
                      <a:pt x="345217" y="334272"/>
                    </a:lnTo>
                    <a:lnTo>
                      <a:pt x="348906" y="334272"/>
                    </a:lnTo>
                    <a:lnTo>
                      <a:pt x="352595" y="334272"/>
                    </a:lnTo>
                    <a:lnTo>
                      <a:pt x="359973" y="341654"/>
                    </a:lnTo>
                    <a:lnTo>
                      <a:pt x="359973" y="345349"/>
                    </a:lnTo>
                    <a:lnTo>
                      <a:pt x="363662" y="345349"/>
                    </a:lnTo>
                    <a:lnTo>
                      <a:pt x="367351" y="349036"/>
                    </a:lnTo>
                    <a:lnTo>
                      <a:pt x="371041" y="349036"/>
                    </a:lnTo>
                    <a:lnTo>
                      <a:pt x="385797" y="326890"/>
                    </a:lnTo>
                    <a:lnTo>
                      <a:pt x="407932" y="312136"/>
                    </a:lnTo>
                    <a:lnTo>
                      <a:pt x="407932" y="304754"/>
                    </a:lnTo>
                    <a:lnTo>
                      <a:pt x="411621" y="304754"/>
                    </a:lnTo>
                    <a:lnTo>
                      <a:pt x="411621" y="301058"/>
                    </a:lnTo>
                    <a:lnTo>
                      <a:pt x="407932" y="297372"/>
                    </a:lnTo>
                    <a:lnTo>
                      <a:pt x="407932" y="293676"/>
                    </a:lnTo>
                    <a:lnTo>
                      <a:pt x="411621" y="289990"/>
                    </a:lnTo>
                    <a:lnTo>
                      <a:pt x="411621" y="286294"/>
                    </a:lnTo>
                    <a:lnTo>
                      <a:pt x="415310" y="282608"/>
                    </a:lnTo>
                    <a:lnTo>
                      <a:pt x="422689" y="278912"/>
                    </a:lnTo>
                    <a:lnTo>
                      <a:pt x="426378" y="278912"/>
                    </a:lnTo>
                    <a:lnTo>
                      <a:pt x="422689" y="282608"/>
                    </a:lnTo>
                    <a:lnTo>
                      <a:pt x="426378" y="286294"/>
                    </a:lnTo>
                    <a:lnTo>
                      <a:pt x="426378" y="289990"/>
                    </a:lnTo>
                    <a:lnTo>
                      <a:pt x="430067" y="289990"/>
                    </a:lnTo>
                    <a:lnTo>
                      <a:pt x="444825" y="289990"/>
                    </a:lnTo>
                    <a:lnTo>
                      <a:pt x="455892" y="323204"/>
                    </a:lnTo>
                    <a:lnTo>
                      <a:pt x="452203" y="330585"/>
                    </a:lnTo>
                    <a:lnTo>
                      <a:pt x="441136" y="352731"/>
                    </a:lnTo>
                    <a:lnTo>
                      <a:pt x="463271" y="378563"/>
                    </a:lnTo>
                    <a:lnTo>
                      <a:pt x="463271" y="382249"/>
                    </a:lnTo>
                    <a:lnTo>
                      <a:pt x="466960" y="385945"/>
                    </a:lnTo>
                    <a:lnTo>
                      <a:pt x="470649" y="389631"/>
                    </a:lnTo>
                    <a:lnTo>
                      <a:pt x="470649" y="415463"/>
                    </a:lnTo>
                    <a:lnTo>
                      <a:pt x="485405" y="419159"/>
                    </a:lnTo>
                    <a:lnTo>
                      <a:pt x="489095" y="415463"/>
                    </a:lnTo>
                    <a:lnTo>
                      <a:pt x="500162" y="411777"/>
                    </a:lnTo>
                    <a:lnTo>
                      <a:pt x="503851" y="411777"/>
                    </a:lnTo>
                    <a:lnTo>
                      <a:pt x="503851" y="408091"/>
                    </a:lnTo>
                    <a:lnTo>
                      <a:pt x="525986" y="422845"/>
                    </a:lnTo>
                    <a:lnTo>
                      <a:pt x="518608" y="452372"/>
                    </a:lnTo>
                    <a:lnTo>
                      <a:pt x="522297" y="456068"/>
                    </a:lnTo>
                    <a:lnTo>
                      <a:pt x="537051" y="452372"/>
                    </a:lnTo>
                    <a:lnTo>
                      <a:pt x="551815" y="456068"/>
                    </a:lnTo>
                    <a:lnTo>
                      <a:pt x="562874" y="456068"/>
                    </a:lnTo>
                    <a:lnTo>
                      <a:pt x="570255" y="456068"/>
                    </a:lnTo>
                    <a:lnTo>
                      <a:pt x="573942" y="452372"/>
                    </a:lnTo>
                    <a:lnTo>
                      <a:pt x="577637" y="444990"/>
                    </a:lnTo>
                    <a:lnTo>
                      <a:pt x="588705" y="448686"/>
                    </a:lnTo>
                    <a:lnTo>
                      <a:pt x="603460" y="452372"/>
                    </a:lnTo>
                    <a:lnTo>
                      <a:pt x="610841" y="456068"/>
                    </a:lnTo>
                    <a:lnTo>
                      <a:pt x="621910" y="444990"/>
                    </a:lnTo>
                    <a:lnTo>
                      <a:pt x="625596" y="441304"/>
                    </a:lnTo>
                    <a:lnTo>
                      <a:pt x="636664" y="437608"/>
                    </a:lnTo>
                    <a:lnTo>
                      <a:pt x="640350" y="433922"/>
                    </a:lnTo>
                    <a:lnTo>
                      <a:pt x="644036" y="430227"/>
                    </a:lnTo>
                    <a:lnTo>
                      <a:pt x="644036" y="426540"/>
                    </a:lnTo>
                    <a:lnTo>
                      <a:pt x="647732" y="426540"/>
                    </a:lnTo>
                    <a:lnTo>
                      <a:pt x="662486" y="430227"/>
                    </a:lnTo>
                    <a:lnTo>
                      <a:pt x="662486" y="433922"/>
                    </a:lnTo>
                    <a:lnTo>
                      <a:pt x="666172" y="441304"/>
                    </a:lnTo>
                    <a:lnTo>
                      <a:pt x="677240" y="448686"/>
                    </a:lnTo>
                    <a:lnTo>
                      <a:pt x="680936" y="452372"/>
                    </a:lnTo>
                    <a:lnTo>
                      <a:pt x="680936" y="456068"/>
                    </a:lnTo>
                    <a:lnTo>
                      <a:pt x="680936" y="459754"/>
                    </a:lnTo>
                    <a:lnTo>
                      <a:pt x="680936" y="463440"/>
                    </a:lnTo>
                    <a:lnTo>
                      <a:pt x="680936" y="467136"/>
                    </a:lnTo>
                    <a:lnTo>
                      <a:pt x="680936" y="474518"/>
                    </a:lnTo>
                    <a:lnTo>
                      <a:pt x="684622" y="489282"/>
                    </a:lnTo>
                    <a:lnTo>
                      <a:pt x="688308" y="489282"/>
                    </a:lnTo>
                    <a:lnTo>
                      <a:pt x="699376" y="485586"/>
                    </a:lnTo>
                    <a:lnTo>
                      <a:pt x="703063" y="485586"/>
                    </a:lnTo>
                    <a:lnTo>
                      <a:pt x="714131" y="481900"/>
                    </a:lnTo>
                    <a:lnTo>
                      <a:pt x="714131" y="467136"/>
                    </a:lnTo>
                    <a:lnTo>
                      <a:pt x="717826" y="448686"/>
                    </a:lnTo>
                    <a:lnTo>
                      <a:pt x="725199" y="433922"/>
                    </a:lnTo>
                    <a:lnTo>
                      <a:pt x="728894" y="426540"/>
                    </a:lnTo>
                    <a:lnTo>
                      <a:pt x="739962" y="415463"/>
                    </a:lnTo>
                    <a:lnTo>
                      <a:pt x="754717" y="408091"/>
                    </a:lnTo>
                    <a:lnTo>
                      <a:pt x="758403" y="408091"/>
                    </a:lnTo>
                    <a:lnTo>
                      <a:pt x="776853" y="404395"/>
                    </a:lnTo>
                    <a:lnTo>
                      <a:pt x="784225" y="400709"/>
                    </a:lnTo>
                    <a:lnTo>
                      <a:pt x="787921" y="400709"/>
                    </a:lnTo>
                    <a:lnTo>
                      <a:pt x="791607" y="397013"/>
                    </a:lnTo>
                    <a:lnTo>
                      <a:pt x="821125" y="389631"/>
                    </a:lnTo>
                    <a:lnTo>
                      <a:pt x="832193" y="385945"/>
                    </a:lnTo>
                    <a:lnTo>
                      <a:pt x="835879" y="385945"/>
                    </a:lnTo>
                    <a:lnTo>
                      <a:pt x="839565" y="382249"/>
                    </a:lnTo>
                    <a:lnTo>
                      <a:pt x="843252" y="382249"/>
                    </a:lnTo>
                    <a:lnTo>
                      <a:pt x="850633" y="374867"/>
                    </a:lnTo>
                    <a:lnTo>
                      <a:pt x="861701" y="363799"/>
                    </a:lnTo>
                    <a:lnTo>
                      <a:pt x="869083" y="360113"/>
                    </a:lnTo>
                    <a:lnTo>
                      <a:pt x="861701" y="349036"/>
                    </a:lnTo>
                    <a:lnTo>
                      <a:pt x="854319" y="334272"/>
                    </a:lnTo>
                    <a:lnTo>
                      <a:pt x="839565" y="308440"/>
                    </a:lnTo>
                    <a:lnTo>
                      <a:pt x="839565" y="304754"/>
                    </a:lnTo>
                    <a:lnTo>
                      <a:pt x="832193" y="271531"/>
                    </a:lnTo>
                    <a:lnTo>
                      <a:pt x="828497" y="264158"/>
                    </a:lnTo>
                    <a:lnTo>
                      <a:pt x="828497" y="256776"/>
                    </a:lnTo>
                    <a:lnTo>
                      <a:pt x="824811" y="245699"/>
                    </a:lnTo>
                    <a:lnTo>
                      <a:pt x="821125" y="212485"/>
                    </a:lnTo>
                    <a:lnTo>
                      <a:pt x="835879" y="216181"/>
                    </a:lnTo>
                    <a:lnTo>
                      <a:pt x="846947" y="219867"/>
                    </a:lnTo>
                    <a:lnTo>
                      <a:pt x="854319" y="223553"/>
                    </a:lnTo>
                    <a:lnTo>
                      <a:pt x="861701" y="223553"/>
                    </a:lnTo>
                    <a:lnTo>
                      <a:pt x="869083" y="223553"/>
                    </a:lnTo>
                    <a:lnTo>
                      <a:pt x="876456" y="219867"/>
                    </a:lnTo>
                    <a:lnTo>
                      <a:pt x="887524" y="216181"/>
                    </a:lnTo>
                    <a:lnTo>
                      <a:pt x="894905" y="212485"/>
                    </a:lnTo>
                    <a:lnTo>
                      <a:pt x="902287" y="208799"/>
                    </a:lnTo>
                    <a:lnTo>
                      <a:pt x="902287" y="212485"/>
                    </a:lnTo>
                    <a:lnTo>
                      <a:pt x="905974" y="212485"/>
                    </a:lnTo>
                    <a:lnTo>
                      <a:pt x="909660" y="216181"/>
                    </a:lnTo>
                    <a:lnTo>
                      <a:pt x="917042" y="223553"/>
                    </a:lnTo>
                    <a:lnTo>
                      <a:pt x="917042" y="219867"/>
                    </a:lnTo>
                    <a:lnTo>
                      <a:pt x="920728" y="219867"/>
                    </a:lnTo>
                    <a:lnTo>
                      <a:pt x="924414" y="219867"/>
                    </a:lnTo>
                    <a:lnTo>
                      <a:pt x="920728" y="216181"/>
                    </a:lnTo>
                    <a:lnTo>
                      <a:pt x="920728" y="212485"/>
                    </a:lnTo>
                    <a:lnTo>
                      <a:pt x="920728" y="208799"/>
                    </a:lnTo>
                    <a:lnTo>
                      <a:pt x="920728" y="205103"/>
                    </a:lnTo>
                    <a:lnTo>
                      <a:pt x="920728" y="201417"/>
                    </a:lnTo>
                    <a:lnTo>
                      <a:pt x="917042" y="194035"/>
                    </a:lnTo>
                    <a:lnTo>
                      <a:pt x="913356" y="190339"/>
                    </a:lnTo>
                    <a:lnTo>
                      <a:pt x="913356" y="186653"/>
                    </a:lnTo>
                    <a:lnTo>
                      <a:pt x="913356" y="175576"/>
                    </a:lnTo>
                    <a:lnTo>
                      <a:pt x="909660" y="171890"/>
                    </a:lnTo>
                    <a:lnTo>
                      <a:pt x="909660" y="168203"/>
                    </a:lnTo>
                    <a:lnTo>
                      <a:pt x="905974" y="164508"/>
                    </a:lnTo>
                    <a:lnTo>
                      <a:pt x="902287" y="160821"/>
                    </a:lnTo>
                    <a:lnTo>
                      <a:pt x="898592" y="157126"/>
                    </a:lnTo>
                    <a:lnTo>
                      <a:pt x="887524" y="153440"/>
                    </a:lnTo>
                    <a:lnTo>
                      <a:pt x="887524" y="149744"/>
                    </a:lnTo>
                    <a:lnTo>
                      <a:pt x="883838" y="146058"/>
                    </a:lnTo>
                    <a:lnTo>
                      <a:pt x="883838" y="134980"/>
                    </a:lnTo>
                    <a:lnTo>
                      <a:pt x="883838" y="131294"/>
                    </a:lnTo>
                    <a:lnTo>
                      <a:pt x="883838" y="127598"/>
                    </a:lnTo>
                    <a:lnTo>
                      <a:pt x="883838" y="120226"/>
                    </a:lnTo>
                    <a:lnTo>
                      <a:pt x="880151" y="120226"/>
                    </a:lnTo>
                    <a:lnTo>
                      <a:pt x="880151" y="116530"/>
                    </a:lnTo>
                    <a:lnTo>
                      <a:pt x="880151" y="109148"/>
                    </a:lnTo>
                    <a:lnTo>
                      <a:pt x="876456" y="98080"/>
                    </a:lnTo>
                    <a:lnTo>
                      <a:pt x="872769" y="98080"/>
                    </a:lnTo>
                    <a:lnTo>
                      <a:pt x="869083" y="94385"/>
                    </a:lnTo>
                    <a:lnTo>
                      <a:pt x="861701" y="94385"/>
                    </a:lnTo>
                    <a:lnTo>
                      <a:pt x="854319" y="90698"/>
                    </a:lnTo>
                    <a:lnTo>
                      <a:pt x="846947" y="90698"/>
                    </a:lnTo>
                    <a:lnTo>
                      <a:pt x="843252" y="87003"/>
                    </a:lnTo>
                    <a:lnTo>
                      <a:pt x="843252" y="79621"/>
                    </a:lnTo>
                    <a:lnTo>
                      <a:pt x="839565" y="72248"/>
                    </a:lnTo>
                    <a:lnTo>
                      <a:pt x="839565" y="68553"/>
                    </a:lnTo>
                    <a:lnTo>
                      <a:pt x="839565" y="64867"/>
                    </a:lnTo>
                    <a:lnTo>
                      <a:pt x="835879" y="64867"/>
                    </a:lnTo>
                    <a:lnTo>
                      <a:pt x="832193" y="61171"/>
                    </a:lnTo>
                    <a:lnTo>
                      <a:pt x="828497" y="61171"/>
                    </a:lnTo>
                    <a:lnTo>
                      <a:pt x="821125" y="61171"/>
                    </a:lnTo>
                    <a:lnTo>
                      <a:pt x="810057" y="61171"/>
                    </a:lnTo>
                    <a:lnTo>
                      <a:pt x="806361" y="61171"/>
                    </a:lnTo>
                    <a:lnTo>
                      <a:pt x="795293" y="64867"/>
                    </a:lnTo>
                    <a:lnTo>
                      <a:pt x="791607" y="64867"/>
                    </a:lnTo>
                    <a:lnTo>
                      <a:pt x="784225" y="64867"/>
                    </a:lnTo>
                    <a:lnTo>
                      <a:pt x="780539" y="64867"/>
                    </a:lnTo>
                    <a:lnTo>
                      <a:pt x="776853" y="64867"/>
                    </a:lnTo>
                    <a:lnTo>
                      <a:pt x="773157" y="61171"/>
                    </a:lnTo>
                    <a:lnTo>
                      <a:pt x="773157" y="57485"/>
                    </a:lnTo>
                    <a:lnTo>
                      <a:pt x="769471" y="53789"/>
                    </a:lnTo>
                    <a:lnTo>
                      <a:pt x="765785" y="50103"/>
                    </a:lnTo>
                    <a:lnTo>
                      <a:pt x="762098" y="50103"/>
                    </a:lnTo>
                    <a:lnTo>
                      <a:pt x="758403" y="50103"/>
                    </a:lnTo>
                    <a:lnTo>
                      <a:pt x="754717" y="46407"/>
                    </a:lnTo>
                    <a:lnTo>
                      <a:pt x="751030" y="46407"/>
                    </a:lnTo>
                    <a:lnTo>
                      <a:pt x="751030" y="39025"/>
                    </a:lnTo>
                    <a:lnTo>
                      <a:pt x="747335" y="39025"/>
                    </a:lnTo>
                    <a:lnTo>
                      <a:pt x="743649" y="35339"/>
                    </a:lnTo>
                    <a:lnTo>
                      <a:pt x="739962" y="35339"/>
                    </a:lnTo>
                    <a:lnTo>
                      <a:pt x="736267" y="35339"/>
                    </a:lnTo>
                    <a:lnTo>
                      <a:pt x="732581" y="31643"/>
                    </a:lnTo>
                    <a:lnTo>
                      <a:pt x="728894" y="27957"/>
                    </a:lnTo>
                    <a:lnTo>
                      <a:pt x="725199" y="24271"/>
                    </a:lnTo>
                    <a:lnTo>
                      <a:pt x="725199" y="16889"/>
                    </a:lnTo>
                    <a:lnTo>
                      <a:pt x="721512" y="13194"/>
                    </a:lnTo>
                    <a:lnTo>
                      <a:pt x="714131" y="13194"/>
                    </a:lnTo>
                    <a:lnTo>
                      <a:pt x="710444" y="13194"/>
                    </a:lnTo>
                    <a:lnTo>
                      <a:pt x="706758" y="9507"/>
                    </a:lnTo>
                    <a:lnTo>
                      <a:pt x="699376" y="5812"/>
                    </a:lnTo>
                    <a:lnTo>
                      <a:pt x="695690" y="5812"/>
                    </a:lnTo>
                    <a:lnTo>
                      <a:pt x="692004" y="5812"/>
                    </a:lnTo>
                    <a:lnTo>
                      <a:pt x="684622" y="5812"/>
                    </a:lnTo>
                    <a:lnTo>
                      <a:pt x="680936" y="5812"/>
                    </a:lnTo>
                    <a:lnTo>
                      <a:pt x="677240" y="9507"/>
                    </a:lnTo>
                    <a:lnTo>
                      <a:pt x="677240" y="13194"/>
                    </a:lnTo>
                    <a:lnTo>
                      <a:pt x="673554" y="16889"/>
                    </a:lnTo>
                    <a:lnTo>
                      <a:pt x="669868" y="16889"/>
                    </a:lnTo>
                    <a:lnTo>
                      <a:pt x="666172" y="13194"/>
                    </a:lnTo>
                    <a:lnTo>
                      <a:pt x="662486" y="13194"/>
                    </a:lnTo>
                    <a:lnTo>
                      <a:pt x="658800" y="13194"/>
                    </a:lnTo>
                    <a:lnTo>
                      <a:pt x="658800" y="9507"/>
                    </a:lnTo>
                    <a:lnTo>
                      <a:pt x="655104" y="5812"/>
                    </a:lnTo>
                    <a:lnTo>
                      <a:pt x="651418" y="5812"/>
                    </a:lnTo>
                    <a:lnTo>
                      <a:pt x="647732" y="5812"/>
                    </a:lnTo>
                    <a:lnTo>
                      <a:pt x="644036" y="5812"/>
                    </a:lnTo>
                    <a:lnTo>
                      <a:pt x="644036" y="9507"/>
                    </a:lnTo>
                    <a:lnTo>
                      <a:pt x="640350" y="16889"/>
                    </a:lnTo>
                    <a:lnTo>
                      <a:pt x="636664" y="20575"/>
                    </a:lnTo>
                    <a:lnTo>
                      <a:pt x="629282" y="20575"/>
                    </a:lnTo>
                    <a:lnTo>
                      <a:pt x="621910" y="20575"/>
                    </a:lnTo>
                    <a:lnTo>
                      <a:pt x="618214" y="20575"/>
                    </a:lnTo>
                    <a:lnTo>
                      <a:pt x="614528" y="16889"/>
                    </a:lnTo>
                    <a:lnTo>
                      <a:pt x="610841" y="13194"/>
                    </a:lnTo>
                    <a:lnTo>
                      <a:pt x="610841" y="9507"/>
                    </a:lnTo>
                    <a:lnTo>
                      <a:pt x="607146" y="9507"/>
                    </a:lnTo>
                    <a:lnTo>
                      <a:pt x="603460" y="13194"/>
                    </a:lnTo>
                    <a:lnTo>
                      <a:pt x="603460" y="16889"/>
                    </a:lnTo>
                    <a:lnTo>
                      <a:pt x="599773" y="20575"/>
                    </a:lnTo>
                    <a:lnTo>
                      <a:pt x="596078" y="24271"/>
                    </a:lnTo>
                    <a:lnTo>
                      <a:pt x="588705" y="35339"/>
                    </a:lnTo>
                    <a:lnTo>
                      <a:pt x="588705" y="39025"/>
                    </a:lnTo>
                    <a:lnTo>
                      <a:pt x="585010" y="46407"/>
                    </a:lnTo>
                    <a:lnTo>
                      <a:pt x="585010" y="53789"/>
                    </a:lnTo>
                    <a:lnTo>
                      <a:pt x="585010" y="61171"/>
                    </a:lnTo>
                    <a:lnTo>
                      <a:pt x="581323" y="61171"/>
                    </a:lnTo>
                    <a:lnTo>
                      <a:pt x="581323" y="64867"/>
                    </a:lnTo>
                    <a:lnTo>
                      <a:pt x="562874" y="72248"/>
                    </a:lnTo>
                    <a:lnTo>
                      <a:pt x="555501" y="75935"/>
                    </a:lnTo>
                    <a:lnTo>
                      <a:pt x="555501" y="79621"/>
                    </a:lnTo>
                    <a:lnTo>
                      <a:pt x="551815" y="79621"/>
                    </a:lnTo>
                    <a:lnTo>
                      <a:pt x="544433" y="75935"/>
                    </a:lnTo>
                    <a:lnTo>
                      <a:pt x="537051" y="75935"/>
                    </a:lnTo>
                    <a:lnTo>
                      <a:pt x="533365" y="79621"/>
                    </a:lnTo>
                    <a:lnTo>
                      <a:pt x="529675" y="83317"/>
                    </a:lnTo>
                    <a:lnTo>
                      <a:pt x="525986" y="79621"/>
                    </a:lnTo>
                    <a:lnTo>
                      <a:pt x="518608" y="75935"/>
                    </a:lnTo>
                    <a:lnTo>
                      <a:pt x="514919" y="72248"/>
                    </a:lnTo>
                    <a:lnTo>
                      <a:pt x="511230" y="75935"/>
                    </a:lnTo>
                    <a:lnTo>
                      <a:pt x="507540" y="75935"/>
                    </a:lnTo>
                    <a:lnTo>
                      <a:pt x="503851" y="75935"/>
                    </a:lnTo>
                    <a:lnTo>
                      <a:pt x="496473" y="75935"/>
                    </a:lnTo>
                    <a:lnTo>
                      <a:pt x="492784" y="75935"/>
                    </a:lnTo>
                    <a:lnTo>
                      <a:pt x="485405" y="75935"/>
                    </a:lnTo>
                    <a:lnTo>
                      <a:pt x="478027" y="75935"/>
                    </a:lnTo>
                    <a:lnTo>
                      <a:pt x="470649" y="79621"/>
                    </a:lnTo>
                    <a:lnTo>
                      <a:pt x="466960" y="75935"/>
                    </a:lnTo>
                    <a:lnTo>
                      <a:pt x="466960" y="72248"/>
                    </a:lnTo>
                    <a:lnTo>
                      <a:pt x="470649" y="72248"/>
                    </a:lnTo>
                    <a:lnTo>
                      <a:pt x="474338" y="68553"/>
                    </a:lnTo>
                    <a:lnTo>
                      <a:pt x="478027" y="64867"/>
                    </a:lnTo>
                    <a:lnTo>
                      <a:pt x="474338" y="61171"/>
                    </a:lnTo>
                    <a:lnTo>
                      <a:pt x="474338" y="57485"/>
                    </a:lnTo>
                    <a:lnTo>
                      <a:pt x="474338" y="53789"/>
                    </a:lnTo>
                    <a:lnTo>
                      <a:pt x="474338" y="50103"/>
                    </a:lnTo>
                    <a:lnTo>
                      <a:pt x="463271" y="46407"/>
                    </a:lnTo>
                    <a:lnTo>
                      <a:pt x="459581" y="42721"/>
                    </a:lnTo>
                    <a:lnTo>
                      <a:pt x="455892" y="39025"/>
                    </a:lnTo>
                    <a:lnTo>
                      <a:pt x="452203" y="39025"/>
                    </a:lnTo>
                    <a:lnTo>
                      <a:pt x="448514" y="42721"/>
                    </a:lnTo>
                    <a:lnTo>
                      <a:pt x="444825" y="46407"/>
                    </a:lnTo>
                    <a:lnTo>
                      <a:pt x="441136" y="46407"/>
                    </a:lnTo>
                    <a:lnTo>
                      <a:pt x="441136" y="42721"/>
                    </a:lnTo>
                    <a:lnTo>
                      <a:pt x="437445" y="42721"/>
                    </a:lnTo>
                    <a:lnTo>
                      <a:pt x="437445" y="39025"/>
                    </a:lnTo>
                    <a:lnTo>
                      <a:pt x="433756" y="35339"/>
                    </a:lnTo>
                    <a:lnTo>
                      <a:pt x="433756" y="31643"/>
                    </a:lnTo>
                    <a:lnTo>
                      <a:pt x="430067" y="31643"/>
                    </a:lnTo>
                    <a:lnTo>
                      <a:pt x="426378" y="27957"/>
                    </a:lnTo>
                    <a:lnTo>
                      <a:pt x="419000" y="24271"/>
                    </a:lnTo>
                    <a:lnTo>
                      <a:pt x="415310" y="20575"/>
                    </a:lnTo>
                    <a:lnTo>
                      <a:pt x="411621" y="20575"/>
                    </a:lnTo>
                    <a:lnTo>
                      <a:pt x="411621" y="16889"/>
                    </a:lnTo>
                    <a:lnTo>
                      <a:pt x="411621" y="13194"/>
                    </a:lnTo>
                    <a:lnTo>
                      <a:pt x="407932" y="13194"/>
                    </a:lnTo>
                    <a:lnTo>
                      <a:pt x="400554" y="13194"/>
                    </a:lnTo>
                    <a:lnTo>
                      <a:pt x="396865" y="9507"/>
                    </a:lnTo>
                    <a:lnTo>
                      <a:pt x="393175" y="9507"/>
                    </a:lnTo>
                    <a:lnTo>
                      <a:pt x="385797" y="9507"/>
                    </a:lnTo>
                    <a:lnTo>
                      <a:pt x="378419" y="5812"/>
                    </a:lnTo>
                    <a:lnTo>
                      <a:pt x="374730" y="5812"/>
                    </a:lnTo>
                    <a:lnTo>
                      <a:pt x="371041" y="5812"/>
                    </a:lnTo>
                    <a:lnTo>
                      <a:pt x="363662" y="5812"/>
                    </a:lnTo>
                    <a:close/>
                    <a:moveTo>
                      <a:pt x="367351" y="349036"/>
                    </a:moveTo>
                    <a:lnTo>
                      <a:pt x="363662" y="349036"/>
                    </a:lnTo>
                    <a:lnTo>
                      <a:pt x="359973" y="349036"/>
                    </a:lnTo>
                    <a:lnTo>
                      <a:pt x="363662" y="352731"/>
                    </a:lnTo>
                    <a:lnTo>
                      <a:pt x="367351" y="349036"/>
                    </a:lnTo>
                    <a:close/>
                    <a:moveTo>
                      <a:pt x="363662" y="308440"/>
                    </a:moveTo>
                    <a:lnTo>
                      <a:pt x="367351" y="308440"/>
                    </a:lnTo>
                    <a:lnTo>
                      <a:pt x="367351" y="312136"/>
                    </a:lnTo>
                    <a:lnTo>
                      <a:pt x="371041" y="315822"/>
                    </a:lnTo>
                    <a:lnTo>
                      <a:pt x="374730" y="315822"/>
                    </a:lnTo>
                    <a:lnTo>
                      <a:pt x="374730" y="319508"/>
                    </a:lnTo>
                    <a:lnTo>
                      <a:pt x="374730" y="323204"/>
                    </a:lnTo>
                    <a:lnTo>
                      <a:pt x="371041" y="323204"/>
                    </a:lnTo>
                    <a:lnTo>
                      <a:pt x="367351" y="319508"/>
                    </a:lnTo>
                    <a:lnTo>
                      <a:pt x="363662" y="319508"/>
                    </a:lnTo>
                    <a:lnTo>
                      <a:pt x="367351" y="315822"/>
                    </a:lnTo>
                    <a:lnTo>
                      <a:pt x="363662" y="312136"/>
                    </a:lnTo>
                    <a:lnTo>
                      <a:pt x="363662" y="308440"/>
                    </a:lnTo>
                    <a:close/>
                    <a:moveTo>
                      <a:pt x="371041" y="308440"/>
                    </a:moveTo>
                    <a:lnTo>
                      <a:pt x="374730" y="312136"/>
                    </a:lnTo>
                    <a:lnTo>
                      <a:pt x="371041" y="312136"/>
                    </a:lnTo>
                    <a:lnTo>
                      <a:pt x="371041" y="308440"/>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sp>
            <p:nvSpPr>
              <p:cNvPr id="104" name="Freeform: Shape 103">
                <a:extLst>
                  <a:ext uri="{FF2B5EF4-FFF2-40B4-BE49-F238E27FC236}">
                    <a16:creationId xmlns:a16="http://schemas.microsoft.com/office/drawing/2014/main" id="{D6B30E87-4B75-4983-8EE7-A8DEB98DFC6A}"/>
                  </a:ext>
                </a:extLst>
              </p:cNvPr>
              <p:cNvSpPr/>
              <p:nvPr/>
            </p:nvSpPr>
            <p:spPr>
              <a:xfrm>
                <a:off x="5310965" y="4948685"/>
                <a:ext cx="42562" cy="42562"/>
              </a:xfrm>
              <a:custGeom>
                <a:avLst/>
                <a:gdLst>
                  <a:gd name="connsiteX0" fmla="*/ 9501 w 19050"/>
                  <a:gd name="connsiteY0" fmla="*/ 5812 h 19050"/>
                  <a:gd name="connsiteX1" fmla="*/ 9501 w 19050"/>
                  <a:gd name="connsiteY1" fmla="*/ 9507 h 19050"/>
                  <a:gd name="connsiteX2" fmla="*/ 13191 w 19050"/>
                  <a:gd name="connsiteY2" fmla="*/ 13194 h 19050"/>
                  <a:gd name="connsiteX3" fmla="*/ 13191 w 19050"/>
                  <a:gd name="connsiteY3" fmla="*/ 13194 h 19050"/>
                  <a:gd name="connsiteX4" fmla="*/ 13191 w 19050"/>
                  <a:gd name="connsiteY4" fmla="*/ 9507 h 19050"/>
                  <a:gd name="connsiteX5" fmla="*/ 13191 w 19050"/>
                  <a:gd name="connsiteY5" fmla="*/ 5812 h 19050"/>
                  <a:gd name="connsiteX6" fmla="*/ 16880 w 19050"/>
                  <a:gd name="connsiteY6" fmla="*/ 9507 h 19050"/>
                  <a:gd name="connsiteX7" fmla="*/ 16880 w 19050"/>
                  <a:gd name="connsiteY7" fmla="*/ 9507 h 19050"/>
                  <a:gd name="connsiteX8" fmla="*/ 13191 w 19050"/>
                  <a:gd name="connsiteY8" fmla="*/ 9507 h 19050"/>
                  <a:gd name="connsiteX9" fmla="*/ 13191 w 19050"/>
                  <a:gd name="connsiteY9" fmla="*/ 9507 h 19050"/>
                  <a:gd name="connsiteX10" fmla="*/ 13191 w 19050"/>
                  <a:gd name="connsiteY10" fmla="*/ 13194 h 19050"/>
                  <a:gd name="connsiteX11" fmla="*/ 13191 w 19050"/>
                  <a:gd name="connsiteY11" fmla="*/ 13194 h 19050"/>
                  <a:gd name="connsiteX12" fmla="*/ 16880 w 19050"/>
                  <a:gd name="connsiteY12" fmla="*/ 13194 h 19050"/>
                  <a:gd name="connsiteX13" fmla="*/ 16880 w 19050"/>
                  <a:gd name="connsiteY13" fmla="*/ 16880 h 19050"/>
                  <a:gd name="connsiteX14" fmla="*/ 16880 w 19050"/>
                  <a:gd name="connsiteY14" fmla="*/ 16880 h 19050"/>
                  <a:gd name="connsiteX15" fmla="*/ 16880 w 19050"/>
                  <a:gd name="connsiteY15" fmla="*/ 20575 h 19050"/>
                  <a:gd name="connsiteX16" fmla="*/ 16880 w 19050"/>
                  <a:gd name="connsiteY16" fmla="*/ 20575 h 19050"/>
                  <a:gd name="connsiteX17" fmla="*/ 13191 w 19050"/>
                  <a:gd name="connsiteY17" fmla="*/ 20575 h 19050"/>
                  <a:gd name="connsiteX18" fmla="*/ 9501 w 19050"/>
                  <a:gd name="connsiteY18" fmla="*/ 16880 h 19050"/>
                  <a:gd name="connsiteX19" fmla="*/ 5812 w 19050"/>
                  <a:gd name="connsiteY19" fmla="*/ 16880 h 19050"/>
                  <a:gd name="connsiteX20" fmla="*/ 9501 w 19050"/>
                  <a:gd name="connsiteY20" fmla="*/ 13194 h 19050"/>
                  <a:gd name="connsiteX21" fmla="*/ 5812 w 19050"/>
                  <a:gd name="connsiteY21" fmla="*/ 9507 h 19050"/>
                  <a:gd name="connsiteX22" fmla="*/ 5812 w 19050"/>
                  <a:gd name="connsiteY22" fmla="*/ 5812 h 19050"/>
                  <a:gd name="connsiteX23" fmla="*/ 9501 w 19050"/>
                  <a:gd name="connsiteY23" fmla="*/ 5812 h 19050"/>
                  <a:gd name="connsiteX24" fmla="*/ 9501 w 19050"/>
                  <a:gd name="connsiteY24" fmla="*/ 5812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050" h="19050">
                    <a:moveTo>
                      <a:pt x="9501" y="5812"/>
                    </a:moveTo>
                    <a:lnTo>
                      <a:pt x="9501" y="9507"/>
                    </a:lnTo>
                    <a:lnTo>
                      <a:pt x="13191" y="13194"/>
                    </a:lnTo>
                    <a:lnTo>
                      <a:pt x="13191" y="13194"/>
                    </a:lnTo>
                    <a:lnTo>
                      <a:pt x="13191" y="9507"/>
                    </a:lnTo>
                    <a:lnTo>
                      <a:pt x="13191" y="5812"/>
                    </a:lnTo>
                    <a:lnTo>
                      <a:pt x="16880" y="9507"/>
                    </a:lnTo>
                    <a:lnTo>
                      <a:pt x="16880" y="9507"/>
                    </a:lnTo>
                    <a:lnTo>
                      <a:pt x="13191" y="9507"/>
                    </a:lnTo>
                    <a:lnTo>
                      <a:pt x="13191" y="9507"/>
                    </a:lnTo>
                    <a:lnTo>
                      <a:pt x="13191" y="13194"/>
                    </a:lnTo>
                    <a:lnTo>
                      <a:pt x="13191" y="13194"/>
                    </a:lnTo>
                    <a:lnTo>
                      <a:pt x="16880" y="13194"/>
                    </a:lnTo>
                    <a:lnTo>
                      <a:pt x="16880" y="16880"/>
                    </a:lnTo>
                    <a:lnTo>
                      <a:pt x="16880" y="16880"/>
                    </a:lnTo>
                    <a:lnTo>
                      <a:pt x="16880" y="20575"/>
                    </a:lnTo>
                    <a:lnTo>
                      <a:pt x="16880" y="20575"/>
                    </a:lnTo>
                    <a:lnTo>
                      <a:pt x="13191" y="20575"/>
                    </a:lnTo>
                    <a:lnTo>
                      <a:pt x="9501" y="16880"/>
                    </a:lnTo>
                    <a:lnTo>
                      <a:pt x="5812" y="16880"/>
                    </a:lnTo>
                    <a:lnTo>
                      <a:pt x="9501" y="13194"/>
                    </a:lnTo>
                    <a:lnTo>
                      <a:pt x="5812" y="9507"/>
                    </a:lnTo>
                    <a:lnTo>
                      <a:pt x="5812" y="5812"/>
                    </a:lnTo>
                    <a:lnTo>
                      <a:pt x="9501" y="5812"/>
                    </a:lnTo>
                    <a:lnTo>
                      <a:pt x="9501" y="5812"/>
                    </a:lnTo>
                    <a:close/>
                  </a:path>
                </a:pathLst>
              </a:custGeom>
              <a:grpFill/>
              <a:ln w="6350" cap="flat">
                <a:solidFill>
                  <a:srgbClr val="95C5C9"/>
                </a:solidFill>
                <a:prstDash val="solid"/>
                <a:roun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nl-NL">
                  <a:solidFill>
                    <a:schemeClr val="tx1"/>
                  </a:solidFill>
                  <a:latin typeface="Arial" panose="020B0604020202020204" pitchFamily="34" charset="0"/>
                  <a:cs typeface="Arial" panose="020B0604020202020204" pitchFamily="34" charset="0"/>
                </a:endParaRPr>
              </a:p>
            </p:txBody>
          </p:sp>
        </p:grpSp>
      </p:grpSp>
      <p:grpSp>
        <p:nvGrpSpPr>
          <p:cNvPr id="50" name="Group 49">
            <a:extLst>
              <a:ext uri="{FF2B5EF4-FFF2-40B4-BE49-F238E27FC236}">
                <a16:creationId xmlns:a16="http://schemas.microsoft.com/office/drawing/2014/main" id="{D0108A4E-69C5-46AA-B7AC-65B3BFB685F2}"/>
              </a:ext>
            </a:extLst>
          </p:cNvPr>
          <p:cNvGrpSpPr/>
          <p:nvPr/>
        </p:nvGrpSpPr>
        <p:grpSpPr>
          <a:xfrm>
            <a:off x="2405764" y="1626776"/>
            <a:ext cx="2512800" cy="1522800"/>
            <a:chOff x="2405764" y="1626776"/>
            <a:chExt cx="2512800" cy="1522800"/>
          </a:xfrm>
        </p:grpSpPr>
        <p:sp>
          <p:nvSpPr>
            <p:cNvPr id="7" name="Rectangle 6">
              <a:extLst>
                <a:ext uri="{FF2B5EF4-FFF2-40B4-BE49-F238E27FC236}">
                  <a16:creationId xmlns:a16="http://schemas.microsoft.com/office/drawing/2014/main" id="{4377CF5E-1760-4B48-A852-83C7528B45C9}"/>
                </a:ext>
              </a:extLst>
            </p:cNvPr>
            <p:cNvSpPr/>
            <p:nvPr/>
          </p:nvSpPr>
          <p:spPr>
            <a:xfrm>
              <a:off x="2405764" y="1626776"/>
              <a:ext cx="2512800" cy="1522800"/>
            </a:xfrm>
            <a:prstGeom prst="rect">
              <a:avLst/>
            </a:prstGeom>
            <a:solidFill>
              <a:srgbClr val="68ABB0"/>
            </a:solidFill>
            <a:ln w="4266" cap="flat">
              <a:noFill/>
              <a:prstDash val="solid"/>
              <a:miter/>
            </a:ln>
          </p:spPr>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indent="0" algn="ctr">
                <a:buNone/>
              </a:pPr>
              <a:r>
                <a:rPr lang="nl-NL" sz="1800" b="1" dirty="0">
                  <a:solidFill>
                    <a:srgbClr val="FFFFFF"/>
                  </a:solidFill>
                </a:rPr>
                <a:t>Jerien</a:t>
              </a:r>
              <a:r>
                <a:rPr lang="nl-NL" b="1" dirty="0">
                  <a:solidFill>
                    <a:srgbClr val="FFFFFF"/>
                  </a:solidFill>
                </a:rPr>
                <a:t> </a:t>
              </a:r>
              <a:r>
                <a:rPr lang="nl-NL" dirty="0">
                  <a:solidFill>
                    <a:srgbClr val="FFFFFF"/>
                  </a:solidFill>
                </a:rPr>
                <a:t>komt bij het team</a:t>
              </a:r>
              <a:endParaRPr lang="nl-NL" b="1" dirty="0">
                <a:solidFill>
                  <a:srgbClr val="FFFFFF"/>
                </a:solidFill>
              </a:endParaRPr>
            </a:p>
          </p:txBody>
        </p:sp>
        <p:pic>
          <p:nvPicPr>
            <p:cNvPr id="10" name="Picture 9" descr="A person smiling for the camera&#10;&#10;Description automatically generated with medium confidence">
              <a:extLst>
                <a:ext uri="{FF2B5EF4-FFF2-40B4-BE49-F238E27FC236}">
                  <a16:creationId xmlns:a16="http://schemas.microsoft.com/office/drawing/2014/main" id="{38D3862F-228D-43F3-9BDA-8EFB3AEABA1B}"/>
                </a:ext>
              </a:extLst>
            </p:cNvPr>
            <p:cNvPicPr>
              <a:picLocks noChangeAspect="1"/>
            </p:cNvPicPr>
            <p:nvPr/>
          </p:nvPicPr>
          <p:blipFill>
            <a:blip r:embed="rId19" cstate="hqprint">
              <a:extLst>
                <a:ext uri="{28A0092B-C50C-407E-A947-70E740481C1C}">
                  <a14:useLocalDpi xmlns:a14="http://schemas.microsoft.com/office/drawing/2010/main"/>
                </a:ext>
              </a:extLst>
            </a:blip>
            <a:stretch>
              <a:fillRect/>
            </a:stretch>
          </p:blipFill>
          <p:spPr>
            <a:xfrm>
              <a:off x="2980394" y="1720313"/>
              <a:ext cx="1366340" cy="1024755"/>
            </a:xfrm>
            <a:prstGeom prst="rect">
              <a:avLst/>
            </a:prstGeom>
          </p:spPr>
        </p:pic>
      </p:grpSp>
    </p:spTree>
    <p:extLst>
      <p:ext uri="{BB962C8B-B14F-4D97-AF65-F5344CB8AC3E}">
        <p14:creationId xmlns:p14="http://schemas.microsoft.com/office/powerpoint/2010/main" val="12387585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54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894C467-5E27-4F1E-B7DF-7074FCEA00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9894C467-5E27-4F1E-B7DF-7074FCEA00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44" name="Google Shape;544;p9"/>
          <p:cNvSpPr/>
          <p:nvPr/>
        </p:nvSpPr>
        <p:spPr>
          <a:xfrm>
            <a:off x="-1430953" y="-1802189"/>
            <a:ext cx="18621241" cy="11421026"/>
          </a:xfrm>
          <a:custGeom>
            <a:avLst/>
            <a:gdLst/>
            <a:ahLst/>
            <a:cxnLst/>
            <a:rect l="l" t="t" r="r" b="b"/>
            <a:pathLst>
              <a:path w="18621241" h="11421026" extrusionOk="0">
                <a:moveTo>
                  <a:pt x="0" y="0"/>
                </a:moveTo>
                <a:lnTo>
                  <a:pt x="18621241" y="0"/>
                </a:lnTo>
                <a:lnTo>
                  <a:pt x="18621241" y="11421026"/>
                </a:lnTo>
                <a:lnTo>
                  <a:pt x="0" y="11421026"/>
                </a:lnTo>
                <a:lnTo>
                  <a:pt x="0" y="0"/>
                </a:lnTo>
                <a:close/>
                <a:moveTo>
                  <a:pt x="3742083" y="3475176"/>
                </a:moveTo>
                <a:lnTo>
                  <a:pt x="3742083" y="8065463"/>
                </a:lnTo>
                <a:lnTo>
                  <a:pt x="11226247" y="8065463"/>
                </a:lnTo>
                <a:lnTo>
                  <a:pt x="11226247" y="3475176"/>
                </a:lnTo>
                <a:lnTo>
                  <a:pt x="3742083" y="3475176"/>
                </a:lnTo>
                <a:close/>
              </a:path>
            </a:pathLst>
          </a:custGeom>
          <a:solidFill>
            <a:srgbClr val="F2F2F2"/>
          </a:solidFill>
          <a:ln w="9525" cap="flat" cmpd="sng">
            <a:solidFill>
              <a:schemeClr val="lt1"/>
            </a:solid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chemeClr val="dk2"/>
              </a:buClr>
              <a:buSzPts val="1400"/>
              <a:buFont typeface="Noto Sans Symbols"/>
              <a:buNone/>
            </a:pPr>
            <a:endParaRPr lang="nl-NL" sz="1400" b="1" i="0" u="none" strike="noStrike" cap="none" dirty="0">
              <a:solidFill>
                <a:srgbClr val="595959"/>
              </a:solidFill>
              <a:ea typeface="Corbel"/>
              <a:cs typeface="Corbel"/>
              <a:sym typeface="Corbel" panose="020B0503020204020204" pitchFamily="34" charset="0"/>
            </a:endParaRPr>
          </a:p>
        </p:txBody>
      </p:sp>
      <p:sp>
        <p:nvSpPr>
          <p:cNvPr id="542" name="Google Shape;542;p9"/>
          <p:cNvSpPr/>
          <p:nvPr/>
        </p:nvSpPr>
        <p:spPr>
          <a:xfrm>
            <a:off x="2329566" y="1655351"/>
            <a:ext cx="7484164" cy="4590287"/>
          </a:xfrm>
          <a:custGeom>
            <a:avLst/>
            <a:gdLst/>
            <a:ahLst/>
            <a:cxnLst/>
            <a:rect l="l" t="t" r="r" b="b"/>
            <a:pathLst>
              <a:path w="7484164" h="4590287" extrusionOk="0">
                <a:moveTo>
                  <a:pt x="0" y="0"/>
                </a:moveTo>
                <a:lnTo>
                  <a:pt x="7484164" y="0"/>
                </a:lnTo>
                <a:lnTo>
                  <a:pt x="7484164" y="4590287"/>
                </a:lnTo>
                <a:lnTo>
                  <a:pt x="0" y="4590287"/>
                </a:lnTo>
                <a:lnTo>
                  <a:pt x="0" y="0"/>
                </a:lnTo>
                <a:close/>
              </a:path>
            </a:pathLst>
          </a:custGeom>
          <a:gradFill flip="none" rotWithShape="1">
            <a:gsLst>
              <a:gs pos="48000">
                <a:srgbClr val="D65A2B"/>
              </a:gs>
              <a:gs pos="0">
                <a:srgbClr val="BF211E"/>
              </a:gs>
              <a:gs pos="100000">
                <a:srgbClr val="FFBD42"/>
              </a:gs>
            </a:gsLst>
            <a:lin ang="0" scaled="1"/>
            <a:tileRect/>
          </a:gradFill>
          <a:ln w="114300" cap="flat" cmpd="sng">
            <a:noFill/>
            <a:prstDash val="solid"/>
            <a:round/>
            <a:headEnd type="none" w="sm" len="sm"/>
            <a:tailEnd type="none" w="sm" len="sm"/>
          </a:ln>
        </p:spPr>
        <p:txBody>
          <a:bodyPr spcFirstLastPara="1" wrap="square" lIns="72000" tIns="45700" rIns="72000" bIns="45700" anchor="t" anchorCtr="0">
            <a:noAutofit/>
          </a:bodyPr>
          <a:lstStyle/>
          <a:p>
            <a:pPr marL="0" marR="0" lvl="0" indent="0" algn="l">
              <a:lnSpc>
                <a:spcPct val="90000"/>
              </a:lnSpc>
              <a:spcBef>
                <a:spcPts val="0"/>
              </a:spcBef>
              <a:spcAft>
                <a:spcPts val="0"/>
              </a:spcAft>
              <a:buClr>
                <a:srgbClr val="FF0000"/>
              </a:buClr>
              <a:buSzPts val="1400"/>
              <a:buFont typeface="Noto Sans Symbols"/>
              <a:buNone/>
            </a:pPr>
            <a:endParaRPr lang="nl-NL" sz="1400" b="0" i="0" u="none" strike="noStrike" cap="none" dirty="0">
              <a:solidFill>
                <a:srgbClr val="000000"/>
              </a:solidFill>
              <a:ea typeface="Corbel"/>
              <a:cs typeface="Corbel"/>
              <a:sym typeface="Corbel" panose="020B0503020204020204" pitchFamily="34" charset="0"/>
            </a:endParaRPr>
          </a:p>
        </p:txBody>
      </p:sp>
      <p:sp>
        <p:nvSpPr>
          <p:cNvPr id="543" name="Google Shape;543;p9"/>
          <p:cNvSpPr txBox="1">
            <a:spLocks noGrp="1"/>
          </p:cNvSpPr>
          <p:nvPr>
            <p:ph type="sldNum" idx="12"/>
          </p:nvPr>
        </p:nvSpPr>
        <p:spPr>
          <a:xfrm>
            <a:off x="10989437" y="6688612"/>
            <a:ext cx="1023140" cy="163513"/>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39</a:t>
            </a:fld>
            <a:endParaRPr lang="nl-NL" dirty="0">
              <a:sym typeface="Corbel" panose="020B0503020204020204" pitchFamily="34" charset="0"/>
            </a:endParaRPr>
          </a:p>
        </p:txBody>
      </p:sp>
      <p:pic>
        <p:nvPicPr>
          <p:cNvPr id="4" name="Picture 3">
            <a:extLst>
              <a:ext uri="{FF2B5EF4-FFF2-40B4-BE49-F238E27FC236}">
                <a16:creationId xmlns:a16="http://schemas.microsoft.com/office/drawing/2014/main" id="{8D148A23-582D-4F03-8171-24FB7214234D}"/>
              </a:ext>
            </a:extLst>
          </p:cNvPr>
          <p:cNvPicPr>
            <a:picLocks noChangeAspect="1"/>
          </p:cNvPicPr>
          <p:nvPr/>
        </p:nvPicPr>
        <p:blipFill>
          <a:blip r:embed="rId6" cstate="hqprint">
            <a:biLevel thresh="25000"/>
            <a:extLst>
              <a:ext uri="{28A0092B-C50C-407E-A947-70E740481C1C}">
                <a14:useLocalDpi xmlns:a14="http://schemas.microsoft.com/office/drawing/2010/main"/>
              </a:ext>
            </a:extLst>
          </a:blip>
          <a:stretch>
            <a:fillRect/>
          </a:stretch>
        </p:blipFill>
        <p:spPr>
          <a:xfrm>
            <a:off x="9187134" y="1773833"/>
            <a:ext cx="287720" cy="287720"/>
          </a:xfrm>
          <a:prstGeom prst="rect">
            <a:avLst/>
          </a:prstGeom>
        </p:spPr>
      </p:pic>
      <p:pic>
        <p:nvPicPr>
          <p:cNvPr id="6" name="Picture 5" descr="Logo&#10;&#10;Description automatically generated">
            <a:extLst>
              <a:ext uri="{FF2B5EF4-FFF2-40B4-BE49-F238E27FC236}">
                <a16:creationId xmlns:a16="http://schemas.microsoft.com/office/drawing/2014/main" id="{A9E1912C-6B00-40DC-8F07-300F68D7F746}"/>
              </a:ext>
            </a:extLst>
          </p:cNvPr>
          <p:cNvPicPr>
            <a:picLocks noChangeAspect="1"/>
          </p:cNvPicPr>
          <p:nvPr/>
        </p:nvPicPr>
        <p:blipFill>
          <a:blip r:embed="rId7" cstate="hqprint">
            <a:clrChange>
              <a:clrFrom>
                <a:srgbClr val="545454"/>
              </a:clrFrom>
              <a:clrTo>
                <a:srgbClr val="545454">
                  <a:alpha val="0"/>
                </a:srgbClr>
              </a:clrTo>
            </a:clrChange>
            <a:biLevel thresh="25000"/>
            <a:extLst>
              <a:ext uri="{28A0092B-C50C-407E-A947-70E740481C1C}">
                <a14:useLocalDpi xmlns:a14="http://schemas.microsoft.com/office/drawing/2010/main"/>
              </a:ext>
            </a:extLst>
          </a:blip>
          <a:stretch>
            <a:fillRect/>
          </a:stretch>
        </p:blipFill>
        <p:spPr>
          <a:xfrm>
            <a:off x="8666689" y="1799878"/>
            <a:ext cx="585485" cy="153711"/>
          </a:xfrm>
          <a:prstGeom prst="rect">
            <a:avLst/>
          </a:prstGeom>
        </p:spPr>
      </p:pic>
      <p:sp>
        <p:nvSpPr>
          <p:cNvPr id="13" name="Rectangle 12">
            <a:extLst>
              <a:ext uri="{FF2B5EF4-FFF2-40B4-BE49-F238E27FC236}">
                <a16:creationId xmlns:a16="http://schemas.microsoft.com/office/drawing/2014/main" id="{9C163401-A77F-4082-9502-518F9E8B216F}"/>
              </a:ext>
            </a:extLst>
          </p:cNvPr>
          <p:cNvSpPr/>
          <p:nvPr/>
        </p:nvSpPr>
        <p:spPr>
          <a:xfrm>
            <a:off x="2486025" y="1701553"/>
            <a:ext cx="4893751" cy="720000"/>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6600" b="1" dirty="0">
                <a:solidFill>
                  <a:srgbClr val="FFFFFF">
                    <a:alpha val="50000"/>
                  </a:srgbClr>
                </a:solidFill>
              </a:rPr>
              <a:t>1</a:t>
            </a:r>
            <a:r>
              <a:rPr lang="nl-NL" sz="6600" b="1" dirty="0">
                <a:solidFill>
                  <a:srgbClr val="FFFFFF">
                    <a:alpha val="95000"/>
                  </a:srgbClr>
                </a:solidFill>
              </a:rPr>
              <a:t> </a:t>
            </a:r>
            <a:r>
              <a:rPr lang="nl-NL" sz="1800" b="1" dirty="0">
                <a:solidFill>
                  <a:srgbClr val="FFFFFF">
                    <a:alpha val="95000"/>
                  </a:srgbClr>
                </a:solidFill>
              </a:rPr>
              <a:t>Benchmark uitgaven jeugdhulp</a:t>
            </a:r>
            <a:endParaRPr lang="nl-NL" sz="4800" b="1" dirty="0">
              <a:solidFill>
                <a:srgbClr val="FFFFFF">
                  <a:alpha val="95000"/>
                </a:srgbClr>
              </a:solidFill>
            </a:endParaRPr>
          </a:p>
        </p:txBody>
      </p:sp>
      <p:sp>
        <p:nvSpPr>
          <p:cNvPr id="21" name="Rectangle 20">
            <a:extLst>
              <a:ext uri="{FF2B5EF4-FFF2-40B4-BE49-F238E27FC236}">
                <a16:creationId xmlns:a16="http://schemas.microsoft.com/office/drawing/2014/main" id="{5645C63F-AE83-4264-AAFF-C355C592C297}"/>
              </a:ext>
            </a:extLst>
          </p:cNvPr>
          <p:cNvSpPr/>
          <p:nvPr/>
        </p:nvSpPr>
        <p:spPr>
          <a:xfrm>
            <a:off x="8067675" y="1655350"/>
            <a:ext cx="1746055" cy="4590287"/>
          </a:xfrm>
          <a:prstGeom prst="rect">
            <a:avLst/>
          </a:prstGeom>
          <a:noFill/>
          <a:ln w="4266" cap="flat">
            <a:noFill/>
            <a:prstDash val="solid"/>
            <a:miter/>
          </a:ln>
          <a:extLst>
            <a:ext uri="{909E8E84-426E-40DD-AFC4-6F175D3DCCD1}">
              <a14:hiddenFill xmlns:a14="http://schemas.microsoft.com/office/drawing/2010/main">
                <a:solidFill>
                  <a:srgbClr val="FFFFFF"/>
                </a:solidFill>
              </a14:hiddenFill>
            </a:ext>
          </a:extLst>
        </p:spPr>
        <p:txBody>
          <a:bodyPr rot="0" spcFirstLastPara="0" vertOverflow="overflow" horzOverflow="overflow" vert="vert270" wrap="square" lIns="0" tIns="0" rIns="0" bIns="0" numCol="1" spcCol="0" rtlCol="0" fromWordArt="0" anchor="t" anchorCtr="0" forceAA="0" compatLnSpc="1">
            <a:prstTxWarp prst="textNoShape">
              <a:avLst/>
            </a:prstTxWarp>
            <a:noAutofit/>
          </a:bodyPr>
          <a:lstStyle/>
          <a:p>
            <a:pPr marL="0" indent="0" algn="ctr">
              <a:buNone/>
            </a:pPr>
            <a:r>
              <a:rPr lang="nl-NL" sz="9600" b="1" dirty="0">
                <a:solidFill>
                  <a:srgbClr val="FFFFFF">
                    <a:alpha val="80000"/>
                  </a:srgbClr>
                </a:solidFill>
              </a:rPr>
              <a:t>2021</a:t>
            </a:r>
            <a:br>
              <a:rPr lang="nl-NL" sz="9600" b="1" dirty="0">
                <a:solidFill>
                  <a:srgbClr val="FFFFFF">
                    <a:alpha val="80000"/>
                  </a:srgbClr>
                </a:solidFill>
              </a:rPr>
            </a:br>
            <a:r>
              <a:rPr lang="nl-NL" sz="1800" b="1" dirty="0">
                <a:solidFill>
                  <a:srgbClr val="FFFFFF">
                    <a:alpha val="80000"/>
                  </a:srgbClr>
                </a:solidFill>
              </a:rPr>
              <a:t>top downloads</a:t>
            </a:r>
            <a:endParaRPr lang="nl-NL" sz="2000" dirty="0">
              <a:solidFill>
                <a:srgbClr val="FFFFFF">
                  <a:alpha val="80000"/>
                </a:srgbClr>
              </a:solidFill>
            </a:endParaRPr>
          </a:p>
        </p:txBody>
      </p:sp>
      <p:sp>
        <p:nvSpPr>
          <p:cNvPr id="17" name="Rectangle 16">
            <a:extLst>
              <a:ext uri="{FF2B5EF4-FFF2-40B4-BE49-F238E27FC236}">
                <a16:creationId xmlns:a16="http://schemas.microsoft.com/office/drawing/2014/main" id="{D34ED1E2-DBD9-408D-8F03-D562BE7F727B}"/>
              </a:ext>
            </a:extLst>
          </p:cNvPr>
          <p:cNvSpPr/>
          <p:nvPr/>
        </p:nvSpPr>
        <p:spPr>
          <a:xfrm>
            <a:off x="2486025" y="2605525"/>
            <a:ext cx="4893751" cy="720000"/>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6600" b="1" dirty="0">
                <a:solidFill>
                  <a:srgbClr val="FFFFFF">
                    <a:alpha val="50000"/>
                  </a:srgbClr>
                </a:solidFill>
              </a:rPr>
              <a:t>2</a:t>
            </a:r>
            <a:r>
              <a:rPr lang="nl-NL" sz="6600" b="1" dirty="0">
                <a:solidFill>
                  <a:srgbClr val="FFFFFF"/>
                </a:solidFill>
              </a:rPr>
              <a:t> </a:t>
            </a:r>
            <a:r>
              <a:rPr lang="nl-NL" sz="1800" b="1" dirty="0">
                <a:solidFill>
                  <a:srgbClr val="FFFFFF"/>
                </a:solidFill>
              </a:rPr>
              <a:t>Wijziging woonplaatsbeginsel Jeugdwet</a:t>
            </a:r>
            <a:endParaRPr lang="nl-NL" sz="4800" b="1" dirty="0">
              <a:solidFill>
                <a:srgbClr val="FFFFFF"/>
              </a:solidFill>
            </a:endParaRPr>
          </a:p>
        </p:txBody>
      </p:sp>
      <p:sp>
        <p:nvSpPr>
          <p:cNvPr id="18" name="Rectangle 17">
            <a:extLst>
              <a:ext uri="{FF2B5EF4-FFF2-40B4-BE49-F238E27FC236}">
                <a16:creationId xmlns:a16="http://schemas.microsoft.com/office/drawing/2014/main" id="{F4C8CC40-7FE6-43FF-A40F-F79B421937FB}"/>
              </a:ext>
            </a:extLst>
          </p:cNvPr>
          <p:cNvSpPr/>
          <p:nvPr/>
        </p:nvSpPr>
        <p:spPr>
          <a:xfrm>
            <a:off x="2486025" y="3509497"/>
            <a:ext cx="4893751" cy="720000"/>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6600" b="1" dirty="0">
                <a:solidFill>
                  <a:srgbClr val="FFFFFF">
                    <a:alpha val="50000"/>
                  </a:srgbClr>
                </a:solidFill>
              </a:rPr>
              <a:t>3</a:t>
            </a:r>
            <a:r>
              <a:rPr lang="nl-NL" sz="6600" b="1" dirty="0">
                <a:solidFill>
                  <a:srgbClr val="FFFFFF"/>
                </a:solidFill>
              </a:rPr>
              <a:t> </a:t>
            </a:r>
            <a:r>
              <a:rPr lang="nl-NL" sz="1800" b="1" dirty="0">
                <a:solidFill>
                  <a:srgbClr val="FFFFFF"/>
                </a:solidFill>
              </a:rPr>
              <a:t>Inkomensverdeling G10</a:t>
            </a:r>
            <a:endParaRPr lang="nl-NL" sz="4800" b="1" dirty="0">
              <a:solidFill>
                <a:srgbClr val="FFFFFF"/>
              </a:solidFill>
            </a:endParaRPr>
          </a:p>
        </p:txBody>
      </p:sp>
      <p:sp>
        <p:nvSpPr>
          <p:cNvPr id="30" name="Rectangle 29">
            <a:extLst>
              <a:ext uri="{FF2B5EF4-FFF2-40B4-BE49-F238E27FC236}">
                <a16:creationId xmlns:a16="http://schemas.microsoft.com/office/drawing/2014/main" id="{2F820070-E1F9-4E03-8BB9-E1E3D6EB7A7C}"/>
              </a:ext>
            </a:extLst>
          </p:cNvPr>
          <p:cNvSpPr/>
          <p:nvPr/>
        </p:nvSpPr>
        <p:spPr>
          <a:xfrm>
            <a:off x="2486025" y="4413469"/>
            <a:ext cx="4893751" cy="720000"/>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6600" b="1" dirty="0">
                <a:solidFill>
                  <a:srgbClr val="FFFFFF">
                    <a:alpha val="50000"/>
                  </a:srgbClr>
                </a:solidFill>
              </a:rPr>
              <a:t>4</a:t>
            </a:r>
            <a:r>
              <a:rPr lang="nl-NL" sz="6600" b="1" dirty="0">
                <a:solidFill>
                  <a:srgbClr val="FFFFFF"/>
                </a:solidFill>
              </a:rPr>
              <a:t> </a:t>
            </a:r>
            <a:r>
              <a:rPr lang="nl-NL" sz="1800" b="1" dirty="0">
                <a:solidFill>
                  <a:srgbClr val="FFFFFF"/>
                </a:solidFill>
              </a:rPr>
              <a:t>Maatschappelijk vastgoed</a:t>
            </a:r>
            <a:endParaRPr lang="nl-NL" sz="4800" b="1" dirty="0">
              <a:solidFill>
                <a:srgbClr val="FFFFFF"/>
              </a:solidFill>
            </a:endParaRPr>
          </a:p>
        </p:txBody>
      </p:sp>
      <p:sp>
        <p:nvSpPr>
          <p:cNvPr id="32" name="Rectangle 31">
            <a:extLst>
              <a:ext uri="{FF2B5EF4-FFF2-40B4-BE49-F238E27FC236}">
                <a16:creationId xmlns:a16="http://schemas.microsoft.com/office/drawing/2014/main" id="{79F20866-514C-4DB9-BAC1-C1A85F465CD7}"/>
              </a:ext>
            </a:extLst>
          </p:cNvPr>
          <p:cNvSpPr/>
          <p:nvPr/>
        </p:nvSpPr>
        <p:spPr>
          <a:xfrm>
            <a:off x="2486025" y="5317443"/>
            <a:ext cx="4893751" cy="720000"/>
          </a:xfrm>
          <a:prstGeom prst="rect">
            <a:avLst/>
          </a:prstGeom>
          <a:noFill/>
          <a:ln w="4266" cap="flat">
            <a:noFill/>
            <a:prstDash val="solid"/>
            <a:miter/>
          </a:ln>
          <a:extLst>
            <a:ext uri="{909E8E84-426E-40DD-AFC4-6F175D3DCCD1}">
              <a14:hiddenFill xmlns:a14="http://schemas.microsoft.com/office/drawing/2010/main">
                <a:solidFill>
                  <a:srgbClr val="95C5C9"/>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buNone/>
            </a:pPr>
            <a:r>
              <a:rPr lang="nl-NL" sz="6600" b="1" dirty="0">
                <a:solidFill>
                  <a:srgbClr val="FFFFFF">
                    <a:alpha val="50000"/>
                  </a:srgbClr>
                </a:solidFill>
              </a:rPr>
              <a:t>5 </a:t>
            </a:r>
            <a:r>
              <a:rPr lang="nl-NL" sz="2000" b="1" dirty="0">
                <a:solidFill>
                  <a:srgbClr val="FFFFFF"/>
                </a:solidFill>
              </a:rPr>
              <a:t>Naar realiseerbare plannen jeugdzorg</a:t>
            </a:r>
            <a:endParaRPr lang="nl-NL" sz="4800" b="1" dirty="0">
              <a:solidFill>
                <a:srgbClr val="FFFFFF"/>
              </a:solidFill>
            </a:endParaRPr>
          </a:p>
        </p:txBody>
      </p:sp>
    </p:spTree>
    <p:extLst>
      <p:ext uri="{BB962C8B-B14F-4D97-AF65-F5344CB8AC3E}">
        <p14:creationId xmlns:p14="http://schemas.microsoft.com/office/powerpoint/2010/main" val="1041794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0CC04F-08D5-0BF7-BAD3-99AD5277997E}"/>
              </a:ext>
            </a:extLst>
          </p:cNvPr>
          <p:cNvGraphicFramePr>
            <a:graphicFrameLocks noChangeAspect="1"/>
          </p:cNvGraphicFramePr>
          <p:nvPr>
            <p:custDataLst>
              <p:tags r:id="rId1"/>
            </p:custDataLst>
            <p:extLst>
              <p:ext uri="{D42A27DB-BD31-4B8C-83A1-F6EECF244321}">
                <p14:modId xmlns:p14="http://schemas.microsoft.com/office/powerpoint/2010/main" val="2076722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960CC04F-08D5-0BF7-BAD3-99AD527799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Shape, square&#10;&#10;Description automatically generated">
            <a:extLst>
              <a:ext uri="{FF2B5EF4-FFF2-40B4-BE49-F238E27FC236}">
                <a16:creationId xmlns:a16="http://schemas.microsoft.com/office/drawing/2014/main" id="{59F5A5A5-125D-E7B2-683B-839243561F38}"/>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4432300" y="2881128"/>
            <a:ext cx="3325123" cy="1737377"/>
          </a:xfrm>
          <a:prstGeom prst="rect">
            <a:avLst/>
          </a:prstGeom>
          <a:solidFill>
            <a:srgbClr val="FFFF00"/>
          </a:solidFill>
        </p:spPr>
      </p:pic>
      <p:sp>
        <p:nvSpPr>
          <p:cNvPr id="5" name="Slide Number Placeholder 4">
            <a:extLst>
              <a:ext uri="{FF2B5EF4-FFF2-40B4-BE49-F238E27FC236}">
                <a16:creationId xmlns:a16="http://schemas.microsoft.com/office/drawing/2014/main" id="{F232D2E2-7F6A-64EF-0585-70B3B6AEC85C}"/>
              </a:ext>
            </a:extLst>
          </p:cNvPr>
          <p:cNvSpPr>
            <a:spLocks noGrp="1"/>
          </p:cNvSpPr>
          <p:nvPr>
            <p:ph type="sldNum" sz="quarter" idx="12"/>
          </p:nvPr>
        </p:nvSpPr>
        <p:spPr/>
        <p:txBody>
          <a:bodyPr/>
          <a:lstStyle/>
          <a:p>
            <a:fld id="{992CD0B2-8AB2-4C6C-8876-E15753662C9B}" type="slidenum">
              <a:rPr lang="nl-NL" smtClean="0"/>
              <a:pPr/>
              <a:t>4</a:t>
            </a:fld>
            <a:endParaRPr lang="nl-NL" dirty="0"/>
          </a:p>
        </p:txBody>
      </p:sp>
      <p:pic>
        <p:nvPicPr>
          <p:cNvPr id="3" name="Picture 2" descr="Shape, square&#10;&#10;Description automatically generated">
            <a:extLst>
              <a:ext uri="{FF2B5EF4-FFF2-40B4-BE49-F238E27FC236}">
                <a16:creationId xmlns:a16="http://schemas.microsoft.com/office/drawing/2014/main" id="{6E0CFE43-0528-65B0-98A5-FEED0A14498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4429125" y="2881127"/>
            <a:ext cx="3328988" cy="1737377"/>
          </a:xfrm>
          <a:prstGeom prst="rect">
            <a:avLst/>
          </a:prstGeom>
          <a:solidFill>
            <a:schemeClr val="accent4">
              <a:lumMod val="20000"/>
              <a:lumOff val="80000"/>
            </a:schemeClr>
          </a:solidFill>
        </p:spPr>
      </p:pic>
      <p:pic>
        <p:nvPicPr>
          <p:cNvPr id="26" name="Picture 25">
            <a:extLst>
              <a:ext uri="{FF2B5EF4-FFF2-40B4-BE49-F238E27FC236}">
                <a16:creationId xmlns:a16="http://schemas.microsoft.com/office/drawing/2014/main" id="{4197435F-177D-9AB3-FFC4-A6DD0E1B2C94}"/>
              </a:ext>
            </a:extLst>
          </p:cNvPr>
          <p:cNvPicPr>
            <a:picLocks noChangeAspect="1"/>
          </p:cNvPicPr>
          <p:nvPr/>
        </p:nvPicPr>
        <p:blipFill>
          <a:blip r:embed="rId7">
            <a:duotone>
              <a:schemeClr val="bg2">
                <a:shade val="45000"/>
                <a:satMod val="135000"/>
              </a:schemeClr>
              <a:prstClr val="white"/>
            </a:duotone>
          </a:blip>
          <a:stretch>
            <a:fillRect/>
          </a:stretch>
        </p:blipFill>
        <p:spPr>
          <a:xfrm>
            <a:off x="5991570" y="3601236"/>
            <a:ext cx="654455" cy="925492"/>
          </a:xfrm>
          <a:prstGeom prst="rect">
            <a:avLst/>
          </a:prstGeom>
          <a:ln w="3175">
            <a:solidFill>
              <a:schemeClr val="bg1">
                <a:lumMod val="50000"/>
              </a:schemeClr>
            </a:solidFill>
          </a:ln>
        </p:spPr>
      </p:pic>
      <p:pic>
        <p:nvPicPr>
          <p:cNvPr id="28" name="Picture 27">
            <a:extLst>
              <a:ext uri="{FF2B5EF4-FFF2-40B4-BE49-F238E27FC236}">
                <a16:creationId xmlns:a16="http://schemas.microsoft.com/office/drawing/2014/main" id="{5360371C-2012-6FFB-A8B2-4037F49A9D83}"/>
              </a:ext>
            </a:extLst>
          </p:cNvPr>
          <p:cNvPicPr>
            <a:picLocks noChangeAspect="1"/>
          </p:cNvPicPr>
          <p:nvPr/>
        </p:nvPicPr>
        <p:blipFill>
          <a:blip r:embed="rId8">
            <a:duotone>
              <a:schemeClr val="bg2">
                <a:shade val="45000"/>
                <a:satMod val="135000"/>
              </a:schemeClr>
              <a:prstClr val="white"/>
            </a:duotone>
          </a:blip>
          <a:stretch>
            <a:fillRect/>
          </a:stretch>
        </p:blipFill>
        <p:spPr>
          <a:xfrm>
            <a:off x="6840486" y="3693986"/>
            <a:ext cx="651031" cy="924518"/>
          </a:xfrm>
          <a:prstGeom prst="rect">
            <a:avLst/>
          </a:prstGeom>
          <a:ln w="3175">
            <a:solidFill>
              <a:schemeClr val="bg1">
                <a:lumMod val="50000"/>
              </a:schemeClr>
            </a:solidFill>
          </a:ln>
        </p:spPr>
      </p:pic>
      <p:pic>
        <p:nvPicPr>
          <p:cNvPr id="34" name="Picture 33">
            <a:extLst>
              <a:ext uri="{FF2B5EF4-FFF2-40B4-BE49-F238E27FC236}">
                <a16:creationId xmlns:a16="http://schemas.microsoft.com/office/drawing/2014/main" id="{76806765-54CC-5607-A769-822CCF873DEF}"/>
              </a:ext>
            </a:extLst>
          </p:cNvPr>
          <p:cNvPicPr>
            <a:picLocks noChangeAspect="1"/>
          </p:cNvPicPr>
          <p:nvPr/>
        </p:nvPicPr>
        <p:blipFill rotWithShape="1">
          <a:blip r:embed="rId9">
            <a:duotone>
              <a:schemeClr val="bg2">
                <a:shade val="45000"/>
                <a:satMod val="135000"/>
              </a:schemeClr>
              <a:prstClr val="white"/>
            </a:duotone>
          </a:blip>
          <a:srcRect l="27886" r="-1"/>
          <a:stretch/>
        </p:blipFill>
        <p:spPr>
          <a:xfrm>
            <a:off x="4430984" y="3693986"/>
            <a:ext cx="472113" cy="923176"/>
          </a:xfrm>
          <a:prstGeom prst="rect">
            <a:avLst/>
          </a:prstGeom>
          <a:ln w="3175">
            <a:solidFill>
              <a:schemeClr val="bg1">
                <a:lumMod val="50000"/>
              </a:schemeClr>
            </a:solidFill>
          </a:ln>
        </p:spPr>
      </p:pic>
      <p:pic>
        <p:nvPicPr>
          <p:cNvPr id="18" name="Picture 17">
            <a:extLst>
              <a:ext uri="{FF2B5EF4-FFF2-40B4-BE49-F238E27FC236}">
                <a16:creationId xmlns:a16="http://schemas.microsoft.com/office/drawing/2014/main" id="{4D2491A0-BEB5-7030-57AB-01B2099501A5}"/>
              </a:ext>
            </a:extLst>
          </p:cNvPr>
          <p:cNvPicPr>
            <a:picLocks noChangeAspect="1"/>
          </p:cNvPicPr>
          <p:nvPr/>
        </p:nvPicPr>
        <p:blipFill>
          <a:blip r:embed="rId10">
            <a:duotone>
              <a:schemeClr val="bg2">
                <a:shade val="45000"/>
                <a:satMod val="135000"/>
              </a:schemeClr>
              <a:prstClr val="white"/>
            </a:duotone>
          </a:blip>
          <a:stretch>
            <a:fillRect/>
          </a:stretch>
        </p:blipFill>
        <p:spPr>
          <a:xfrm>
            <a:off x="4677250" y="2938873"/>
            <a:ext cx="645311" cy="924166"/>
          </a:xfrm>
          <a:prstGeom prst="rect">
            <a:avLst/>
          </a:prstGeom>
          <a:ln w="3175">
            <a:solidFill>
              <a:schemeClr val="bg1">
                <a:lumMod val="50000"/>
              </a:schemeClr>
            </a:solidFill>
          </a:ln>
        </p:spPr>
      </p:pic>
      <p:pic>
        <p:nvPicPr>
          <p:cNvPr id="32" name="Picture 31">
            <a:extLst>
              <a:ext uri="{FF2B5EF4-FFF2-40B4-BE49-F238E27FC236}">
                <a16:creationId xmlns:a16="http://schemas.microsoft.com/office/drawing/2014/main" id="{E5BC173C-6303-D341-7174-3E06E2EC9198}"/>
              </a:ext>
            </a:extLst>
          </p:cNvPr>
          <p:cNvPicPr>
            <a:picLocks noChangeAspect="1"/>
          </p:cNvPicPr>
          <p:nvPr/>
        </p:nvPicPr>
        <p:blipFill>
          <a:blip r:embed="rId11">
            <a:duotone>
              <a:schemeClr val="bg2">
                <a:shade val="45000"/>
                <a:satMod val="135000"/>
              </a:schemeClr>
              <a:prstClr val="white"/>
            </a:duotone>
          </a:blip>
          <a:stretch>
            <a:fillRect/>
          </a:stretch>
        </p:blipFill>
        <p:spPr>
          <a:xfrm>
            <a:off x="5105179" y="3662538"/>
            <a:ext cx="691929" cy="923445"/>
          </a:xfrm>
          <a:prstGeom prst="rect">
            <a:avLst/>
          </a:prstGeom>
          <a:ln w="3175">
            <a:solidFill>
              <a:schemeClr val="bg1">
                <a:lumMod val="50000"/>
              </a:schemeClr>
            </a:solidFill>
          </a:ln>
        </p:spPr>
      </p:pic>
      <p:pic>
        <p:nvPicPr>
          <p:cNvPr id="20" name="Picture 19">
            <a:extLst>
              <a:ext uri="{FF2B5EF4-FFF2-40B4-BE49-F238E27FC236}">
                <a16:creationId xmlns:a16="http://schemas.microsoft.com/office/drawing/2014/main" id="{52FF6042-FCB7-6BCA-E8A8-620EBFA27062}"/>
              </a:ext>
            </a:extLst>
          </p:cNvPr>
          <p:cNvPicPr>
            <a:picLocks noChangeAspect="1"/>
          </p:cNvPicPr>
          <p:nvPr/>
        </p:nvPicPr>
        <p:blipFill>
          <a:blip r:embed="rId12">
            <a:duotone>
              <a:schemeClr val="bg2">
                <a:shade val="45000"/>
                <a:satMod val="135000"/>
              </a:schemeClr>
              <a:prstClr val="white"/>
            </a:duotone>
          </a:blip>
          <a:stretch>
            <a:fillRect/>
          </a:stretch>
        </p:blipFill>
        <p:spPr>
          <a:xfrm>
            <a:off x="5588987" y="3025347"/>
            <a:ext cx="652519" cy="924298"/>
          </a:xfrm>
          <a:prstGeom prst="rect">
            <a:avLst/>
          </a:prstGeom>
          <a:ln w="3175">
            <a:solidFill>
              <a:schemeClr val="bg1">
                <a:lumMod val="50000"/>
              </a:schemeClr>
            </a:solidFill>
          </a:ln>
        </p:spPr>
      </p:pic>
      <p:pic>
        <p:nvPicPr>
          <p:cNvPr id="22" name="Picture 21">
            <a:extLst>
              <a:ext uri="{FF2B5EF4-FFF2-40B4-BE49-F238E27FC236}">
                <a16:creationId xmlns:a16="http://schemas.microsoft.com/office/drawing/2014/main" id="{15595E8A-2780-00CF-37F0-B8D19E307096}"/>
              </a:ext>
            </a:extLst>
          </p:cNvPr>
          <p:cNvPicPr>
            <a:picLocks noChangeAspect="1"/>
          </p:cNvPicPr>
          <p:nvPr/>
        </p:nvPicPr>
        <p:blipFill>
          <a:blip r:embed="rId13">
            <a:duotone>
              <a:schemeClr val="bg2">
                <a:shade val="45000"/>
                <a:satMod val="135000"/>
              </a:schemeClr>
              <a:prstClr val="white"/>
            </a:duotone>
          </a:blip>
          <a:stretch>
            <a:fillRect/>
          </a:stretch>
        </p:blipFill>
        <p:spPr>
          <a:xfrm>
            <a:off x="6509831" y="2938873"/>
            <a:ext cx="655096" cy="924841"/>
          </a:xfrm>
          <a:prstGeom prst="rect">
            <a:avLst/>
          </a:prstGeom>
          <a:ln w="3175">
            <a:solidFill>
              <a:schemeClr val="bg1">
                <a:lumMod val="50000"/>
              </a:schemeClr>
            </a:solidFill>
          </a:ln>
        </p:spPr>
      </p:pic>
      <p:pic>
        <p:nvPicPr>
          <p:cNvPr id="24" name="Picture 23">
            <a:extLst>
              <a:ext uri="{FF2B5EF4-FFF2-40B4-BE49-F238E27FC236}">
                <a16:creationId xmlns:a16="http://schemas.microsoft.com/office/drawing/2014/main" id="{F46E0F73-E753-7013-494B-1C9F5E543D8C}"/>
              </a:ext>
            </a:extLst>
          </p:cNvPr>
          <p:cNvPicPr>
            <a:picLocks noChangeAspect="1"/>
          </p:cNvPicPr>
          <p:nvPr/>
        </p:nvPicPr>
        <p:blipFill rotWithShape="1">
          <a:blip r:embed="rId14">
            <a:duotone>
              <a:schemeClr val="bg2">
                <a:shade val="45000"/>
                <a:satMod val="135000"/>
              </a:schemeClr>
              <a:prstClr val="white"/>
            </a:duotone>
          </a:blip>
          <a:srcRect r="51098"/>
          <a:stretch/>
        </p:blipFill>
        <p:spPr>
          <a:xfrm>
            <a:off x="7437061" y="3025126"/>
            <a:ext cx="319438" cy="924519"/>
          </a:xfrm>
          <a:prstGeom prst="rect">
            <a:avLst/>
          </a:prstGeom>
          <a:ln w="3175">
            <a:solidFill>
              <a:schemeClr val="bg1">
                <a:lumMod val="50000"/>
              </a:schemeClr>
            </a:solidFill>
          </a:ln>
        </p:spPr>
      </p:pic>
      <p:sp>
        <p:nvSpPr>
          <p:cNvPr id="17" name="Google Shape;624;p13">
            <a:extLst>
              <a:ext uri="{FF2B5EF4-FFF2-40B4-BE49-F238E27FC236}">
                <a16:creationId xmlns:a16="http://schemas.microsoft.com/office/drawing/2014/main" id="{1A9F3025-E486-65DF-B531-D9AEEC6DF950}"/>
              </a:ext>
            </a:extLst>
          </p:cNvPr>
          <p:cNvSpPr/>
          <p:nvPr/>
        </p:nvSpPr>
        <p:spPr>
          <a:xfrm rot="341634">
            <a:off x="4844205" y="3496871"/>
            <a:ext cx="2503590" cy="505888"/>
          </a:xfrm>
          <a:prstGeom prst="rect">
            <a:avLst/>
          </a:prstGeom>
          <a:solidFill>
            <a:srgbClr val="22777B"/>
          </a:solidFill>
          <a:ln>
            <a:noFill/>
          </a:ln>
          <a:effectLst>
            <a:outerShdw blurRad="50800" dist="38100" dir="2700000" algn="tl" rotWithShape="0">
              <a:srgbClr val="000000">
                <a:alpha val="40000"/>
              </a:srgbClr>
            </a:outerShdw>
          </a:effectLst>
        </p:spPr>
        <p:txBody>
          <a:bodyPr spcFirstLastPara="1" wrap="square" lIns="54000" tIns="72000" rIns="54000" bIns="720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b="1" i="0" u="none" strike="noStrike" cap="none" dirty="0">
                <a:solidFill>
                  <a:srgbClr val="FFFFFF"/>
                </a:solidFill>
                <a:ea typeface="Corbel"/>
                <a:cs typeface="Corbel"/>
                <a:sym typeface="Corbel" panose="020B0503020204020204" pitchFamily="34" charset="0"/>
              </a:rPr>
              <a:t>Verzamelde coalitieakkoorden</a:t>
            </a:r>
            <a:br>
              <a:rPr lang="nl-NL" b="1" i="0" u="none" strike="noStrike" cap="none" dirty="0">
                <a:solidFill>
                  <a:srgbClr val="FFFFFF"/>
                </a:solidFill>
                <a:ea typeface="Corbel"/>
                <a:cs typeface="Corbel"/>
                <a:sym typeface="Corbel" panose="020B0503020204020204" pitchFamily="34" charset="0"/>
              </a:rPr>
            </a:br>
            <a:r>
              <a:rPr lang="nl-NL" b="1" i="0" u="none" strike="noStrike" cap="none" dirty="0">
                <a:solidFill>
                  <a:srgbClr val="FFFFFF"/>
                </a:solidFill>
                <a:ea typeface="Corbel"/>
                <a:cs typeface="Corbel"/>
                <a:sym typeface="Corbel" panose="020B0503020204020204" pitchFamily="34" charset="0"/>
              </a:rPr>
              <a:t>2022-2026</a:t>
            </a:r>
          </a:p>
        </p:txBody>
      </p:sp>
    </p:spTree>
    <p:extLst>
      <p:ext uri="{BB962C8B-B14F-4D97-AF65-F5344CB8AC3E}">
        <p14:creationId xmlns:p14="http://schemas.microsoft.com/office/powerpoint/2010/main" val="2134493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E6E6E6"/>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0CC04F-08D5-0BF7-BAD3-99AD5277997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8" name="Object 7" hidden="1">
                        <a:extLst>
                          <a:ext uri="{FF2B5EF4-FFF2-40B4-BE49-F238E27FC236}">
                            <a16:creationId xmlns:a16="http://schemas.microsoft.com/office/drawing/2014/main" id="{960CC04F-08D5-0BF7-BAD3-99AD5277997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F232D2E2-7F6A-64EF-0585-70B3B6AEC85C}"/>
              </a:ext>
            </a:extLst>
          </p:cNvPr>
          <p:cNvSpPr>
            <a:spLocks noGrp="1"/>
          </p:cNvSpPr>
          <p:nvPr>
            <p:ph type="sldNum" sz="quarter" idx="12"/>
          </p:nvPr>
        </p:nvSpPr>
        <p:spPr/>
        <p:txBody>
          <a:bodyPr/>
          <a:lstStyle/>
          <a:p>
            <a:fld id="{992CD0B2-8AB2-4C6C-8876-E15753662C9B}" type="slidenum">
              <a:rPr lang="nl-NL" smtClean="0"/>
              <a:pPr/>
              <a:t>5</a:t>
            </a:fld>
            <a:endParaRPr lang="nl-NL" dirty="0"/>
          </a:p>
        </p:txBody>
      </p:sp>
      <p:pic>
        <p:nvPicPr>
          <p:cNvPr id="3" name="Picture 2" descr="Shape, square&#10;&#10;Description automatically generated">
            <a:extLst>
              <a:ext uri="{FF2B5EF4-FFF2-40B4-BE49-F238E27FC236}">
                <a16:creationId xmlns:a16="http://schemas.microsoft.com/office/drawing/2014/main" id="{6E0CFE43-0528-65B0-98A5-FEED0A14498D}"/>
              </a:ext>
            </a:extLst>
          </p:cNvPr>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a:off x="4432300" y="2881128"/>
            <a:ext cx="3325123" cy="1737377"/>
          </a:xfrm>
          <a:prstGeom prst="rect">
            <a:avLst/>
          </a:prstGeom>
          <a:gradFill flip="none" rotWithShape="1">
            <a:gsLst>
              <a:gs pos="5000">
                <a:schemeClr val="accent1"/>
              </a:gs>
              <a:gs pos="100000">
                <a:schemeClr val="accent3"/>
              </a:gs>
              <a:gs pos="39000">
                <a:srgbClr val="408D92"/>
              </a:gs>
              <a:gs pos="87000">
                <a:schemeClr val="accent3"/>
              </a:gs>
            </a:gsLst>
            <a:path path="circle">
              <a:fillToRect l="50000" t="50000" r="50000" b="50000"/>
            </a:path>
            <a:tileRect/>
          </a:gradFill>
        </p:spPr>
      </p:pic>
      <p:sp>
        <p:nvSpPr>
          <p:cNvPr id="2" name="Rectangle 1">
            <a:extLst>
              <a:ext uri="{FF2B5EF4-FFF2-40B4-BE49-F238E27FC236}">
                <a16:creationId xmlns:a16="http://schemas.microsoft.com/office/drawing/2014/main" id="{529F897E-F9FF-70B7-8218-9EA82FA9C238}"/>
              </a:ext>
            </a:extLst>
          </p:cNvPr>
          <p:cNvSpPr/>
          <p:nvPr/>
        </p:nvSpPr>
        <p:spPr>
          <a:xfrm>
            <a:off x="4667693" y="3398774"/>
            <a:ext cx="2854336" cy="538843"/>
          </a:xfrm>
          <a:prstGeom prst="rect">
            <a:avLst/>
          </a:prstGeom>
          <a:noFill/>
          <a:ln w="4266" cap="flat">
            <a:noFill/>
            <a:prstDash val="solid"/>
            <a:miter/>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None/>
            </a:pPr>
            <a:r>
              <a:rPr lang="nl-NL" sz="1800" dirty="0">
                <a:solidFill>
                  <a:srgbClr val="FFFFFF"/>
                </a:solidFill>
              </a:rPr>
              <a:t>Wanneer is de gemeentelijke schuld </a:t>
            </a:r>
            <a:br>
              <a:rPr lang="nl-NL" sz="1800" dirty="0">
                <a:solidFill>
                  <a:srgbClr val="FFFFFF"/>
                </a:solidFill>
              </a:rPr>
            </a:br>
            <a:r>
              <a:rPr lang="nl-NL" sz="1800" dirty="0">
                <a:solidFill>
                  <a:srgbClr val="FFFFFF"/>
                </a:solidFill>
              </a:rPr>
              <a:t>te hoog?</a:t>
            </a:r>
          </a:p>
        </p:txBody>
      </p:sp>
      <p:pic>
        <p:nvPicPr>
          <p:cNvPr id="9" name="Picture 8">
            <a:extLst>
              <a:ext uri="{FF2B5EF4-FFF2-40B4-BE49-F238E27FC236}">
                <a16:creationId xmlns:a16="http://schemas.microsoft.com/office/drawing/2014/main" id="{8501D8C8-1594-8D85-8F46-DBB9B10FBF9F}"/>
              </a:ext>
            </a:extLst>
          </p:cNvPr>
          <p:cNvPicPr>
            <a:picLocks noChangeAspect="1"/>
          </p:cNvPicPr>
          <p:nvPr/>
        </p:nvPicPr>
        <p:blipFill>
          <a:blip r:embed="rId8" cstate="hqprint">
            <a:biLevel thresh="25000"/>
            <a:extLst>
              <a:ext uri="{28A0092B-C50C-407E-A947-70E740481C1C}">
                <a14:useLocalDpi xmlns:a14="http://schemas.microsoft.com/office/drawing/2010/main"/>
              </a:ext>
            </a:extLst>
          </a:blip>
          <a:stretch>
            <a:fillRect/>
          </a:stretch>
        </p:blipFill>
        <p:spPr>
          <a:xfrm>
            <a:off x="7522029" y="2950417"/>
            <a:ext cx="182476" cy="182476"/>
          </a:xfrm>
          <a:prstGeom prst="rect">
            <a:avLst/>
          </a:prstGeom>
        </p:spPr>
      </p:pic>
      <p:cxnSp>
        <p:nvCxnSpPr>
          <p:cNvPr id="16" name="Straight Connector 15">
            <a:extLst>
              <a:ext uri="{FF2B5EF4-FFF2-40B4-BE49-F238E27FC236}">
                <a16:creationId xmlns:a16="http://schemas.microsoft.com/office/drawing/2014/main" id="{51ACDBF4-F71B-CB08-CE6D-6FD635CBD6C8}"/>
              </a:ext>
            </a:extLst>
          </p:cNvPr>
          <p:cNvCxnSpPr>
            <a:cxnSpLocks/>
          </p:cNvCxnSpPr>
          <p:nvPr/>
        </p:nvCxnSpPr>
        <p:spPr>
          <a:xfrm>
            <a:off x="5906172" y="4084062"/>
            <a:ext cx="379656"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Google Shape;624;p13">
            <a:extLst>
              <a:ext uri="{FF2B5EF4-FFF2-40B4-BE49-F238E27FC236}">
                <a16:creationId xmlns:a16="http://schemas.microsoft.com/office/drawing/2014/main" id="{ACF7D790-1F62-828C-9CF4-C14DB20CD4BE}"/>
              </a:ext>
            </a:extLst>
          </p:cNvPr>
          <p:cNvSpPr/>
          <p:nvPr/>
        </p:nvSpPr>
        <p:spPr>
          <a:xfrm rot="21424825">
            <a:off x="5596376" y="4233624"/>
            <a:ext cx="457240" cy="166687"/>
          </a:xfrm>
          <a:prstGeom prst="rect">
            <a:avLst/>
          </a:prstGeom>
          <a:solidFill>
            <a:schemeClr val="bg1">
              <a:alpha val="90000"/>
            </a:schemeClr>
          </a:solidFill>
          <a:ln>
            <a:noFill/>
          </a:ln>
          <a:effectLst>
            <a:outerShdw blurRad="50800" dist="38100" dir="2700000" algn="tl" rotWithShape="0">
              <a:srgbClr val="000000">
                <a:alpha val="40000"/>
              </a:srgbClr>
            </a:outerShdw>
          </a:effectLst>
        </p:spPr>
        <p:txBody>
          <a:bodyPr spcFirstLastPara="1" wrap="square" lIns="36000" tIns="54000" rIns="36000" bIns="540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900" b="1" i="0" strike="noStrike" cap="none" dirty="0">
                <a:solidFill>
                  <a:srgbClr val="22777B"/>
                </a:solidFill>
                <a:ea typeface="Corbel"/>
                <a:cs typeface="Corbel"/>
                <a:sym typeface="Corbel" panose="020B0503020204020204" pitchFamily="34" charset="0"/>
              </a:rPr>
              <a:t>110%?</a:t>
            </a:r>
            <a:endParaRPr lang="nl-NL" sz="1600" b="1" i="0" strike="noStrike" cap="none" dirty="0">
              <a:solidFill>
                <a:srgbClr val="22777B"/>
              </a:solidFill>
              <a:ea typeface="Corbel"/>
              <a:cs typeface="Corbel"/>
              <a:sym typeface="Corbel" panose="020B0503020204020204" pitchFamily="34" charset="0"/>
            </a:endParaRPr>
          </a:p>
        </p:txBody>
      </p:sp>
      <p:sp>
        <p:nvSpPr>
          <p:cNvPr id="17" name="Google Shape;624;p13">
            <a:extLst>
              <a:ext uri="{FF2B5EF4-FFF2-40B4-BE49-F238E27FC236}">
                <a16:creationId xmlns:a16="http://schemas.microsoft.com/office/drawing/2014/main" id="{9DE6E4BC-E10E-BE7A-89C9-83E53B4072CF}"/>
              </a:ext>
            </a:extLst>
          </p:cNvPr>
          <p:cNvSpPr/>
          <p:nvPr/>
        </p:nvSpPr>
        <p:spPr>
          <a:xfrm rot="21424825">
            <a:off x="5054368" y="4233624"/>
            <a:ext cx="457240" cy="166687"/>
          </a:xfrm>
          <a:prstGeom prst="rect">
            <a:avLst/>
          </a:prstGeom>
          <a:solidFill>
            <a:schemeClr val="bg1">
              <a:alpha val="90000"/>
            </a:schemeClr>
          </a:solidFill>
          <a:ln>
            <a:noFill/>
          </a:ln>
          <a:effectLst>
            <a:outerShdw blurRad="50800" dist="38100" dir="2700000" algn="tl" rotWithShape="0">
              <a:srgbClr val="000000">
                <a:alpha val="40000"/>
              </a:srgbClr>
            </a:outerShdw>
          </a:effectLst>
        </p:spPr>
        <p:txBody>
          <a:bodyPr spcFirstLastPara="1" wrap="square" lIns="36000" tIns="54000" rIns="36000" bIns="540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900" b="1" i="0" strike="noStrike" cap="none" dirty="0">
                <a:solidFill>
                  <a:srgbClr val="22777B"/>
                </a:solidFill>
                <a:ea typeface="Corbel"/>
                <a:cs typeface="Corbel"/>
                <a:sym typeface="Corbel" panose="020B0503020204020204" pitchFamily="34" charset="0"/>
              </a:rPr>
              <a:t>70%?</a:t>
            </a:r>
            <a:endParaRPr lang="nl-NL" sz="1600" b="1" i="0" strike="noStrike" cap="none" dirty="0">
              <a:solidFill>
                <a:srgbClr val="22777B"/>
              </a:solidFill>
              <a:ea typeface="Corbel"/>
              <a:cs typeface="Corbel"/>
              <a:sym typeface="Corbel" panose="020B0503020204020204" pitchFamily="34" charset="0"/>
            </a:endParaRPr>
          </a:p>
        </p:txBody>
      </p:sp>
      <p:sp>
        <p:nvSpPr>
          <p:cNvPr id="18" name="Google Shape;624;p13">
            <a:extLst>
              <a:ext uri="{FF2B5EF4-FFF2-40B4-BE49-F238E27FC236}">
                <a16:creationId xmlns:a16="http://schemas.microsoft.com/office/drawing/2014/main" id="{AD4C0D68-0B9E-5A83-4066-C5BE073BF6D3}"/>
              </a:ext>
            </a:extLst>
          </p:cNvPr>
          <p:cNvSpPr/>
          <p:nvPr/>
        </p:nvSpPr>
        <p:spPr>
          <a:xfrm rot="21424825">
            <a:off x="6138384" y="4233624"/>
            <a:ext cx="457240" cy="166687"/>
          </a:xfrm>
          <a:prstGeom prst="rect">
            <a:avLst/>
          </a:prstGeom>
          <a:solidFill>
            <a:schemeClr val="bg1">
              <a:alpha val="90000"/>
            </a:schemeClr>
          </a:solidFill>
          <a:ln>
            <a:noFill/>
          </a:ln>
          <a:effectLst>
            <a:outerShdw blurRad="50800" dist="38100" dir="2700000" algn="tl" rotWithShape="0">
              <a:srgbClr val="000000">
                <a:alpha val="40000"/>
              </a:srgbClr>
            </a:outerShdw>
          </a:effectLst>
        </p:spPr>
        <p:txBody>
          <a:bodyPr spcFirstLastPara="1" wrap="square" lIns="36000" tIns="54000" rIns="36000" bIns="540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900" b="1" i="0" strike="noStrike" cap="none" dirty="0">
                <a:solidFill>
                  <a:srgbClr val="22777B"/>
                </a:solidFill>
                <a:ea typeface="Corbel"/>
                <a:cs typeface="Corbel"/>
                <a:sym typeface="Corbel" panose="020B0503020204020204" pitchFamily="34" charset="0"/>
              </a:rPr>
              <a:t>130%?</a:t>
            </a:r>
            <a:endParaRPr lang="nl-NL" sz="1600" b="1" i="0" strike="noStrike" cap="none" dirty="0">
              <a:solidFill>
                <a:srgbClr val="22777B"/>
              </a:solidFill>
              <a:ea typeface="Corbel"/>
              <a:cs typeface="Corbel"/>
              <a:sym typeface="Corbel" panose="020B0503020204020204" pitchFamily="34" charset="0"/>
            </a:endParaRPr>
          </a:p>
        </p:txBody>
      </p:sp>
      <p:sp>
        <p:nvSpPr>
          <p:cNvPr id="19" name="Google Shape;624;p13">
            <a:extLst>
              <a:ext uri="{FF2B5EF4-FFF2-40B4-BE49-F238E27FC236}">
                <a16:creationId xmlns:a16="http://schemas.microsoft.com/office/drawing/2014/main" id="{06639955-785F-B765-5D5E-7787FD41F2E4}"/>
              </a:ext>
            </a:extLst>
          </p:cNvPr>
          <p:cNvSpPr/>
          <p:nvPr/>
        </p:nvSpPr>
        <p:spPr>
          <a:xfrm rot="21424825">
            <a:off x="6680393" y="4233624"/>
            <a:ext cx="457240" cy="166687"/>
          </a:xfrm>
          <a:prstGeom prst="rect">
            <a:avLst/>
          </a:prstGeom>
          <a:solidFill>
            <a:schemeClr val="bg1">
              <a:alpha val="90000"/>
            </a:schemeClr>
          </a:solidFill>
          <a:ln>
            <a:noFill/>
          </a:ln>
          <a:effectLst>
            <a:outerShdw blurRad="50800" dist="38100" dir="2700000" algn="tl" rotWithShape="0">
              <a:srgbClr val="000000">
                <a:alpha val="40000"/>
              </a:srgbClr>
            </a:outerShdw>
          </a:effectLst>
        </p:spPr>
        <p:txBody>
          <a:bodyPr spcFirstLastPara="1" wrap="square" lIns="36000" tIns="54000" rIns="36000" bIns="540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900" b="1" i="0" strike="noStrike" cap="none" dirty="0">
                <a:solidFill>
                  <a:srgbClr val="22777B"/>
                </a:solidFill>
                <a:ea typeface="Corbel"/>
                <a:cs typeface="Corbel"/>
                <a:sym typeface="Corbel" panose="020B0503020204020204" pitchFamily="34" charset="0"/>
              </a:rPr>
              <a:t>200%?</a:t>
            </a:r>
            <a:endParaRPr lang="nl-NL" sz="1600" b="1" i="0" strike="noStrike" cap="none" dirty="0">
              <a:solidFill>
                <a:srgbClr val="22777B"/>
              </a:solidFill>
              <a:ea typeface="Corbel"/>
              <a:cs typeface="Corbel"/>
              <a:sym typeface="Corbel" panose="020B0503020204020204" pitchFamily="34" charset="0"/>
            </a:endParaRPr>
          </a:p>
        </p:txBody>
      </p:sp>
    </p:spTree>
    <p:extLst>
      <p:ext uri="{BB962C8B-B14F-4D97-AF65-F5344CB8AC3E}">
        <p14:creationId xmlns:p14="http://schemas.microsoft.com/office/powerpoint/2010/main" val="3531431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60CC04F-08D5-0BF7-BAD3-99AD5277997E}"/>
              </a:ext>
            </a:extLst>
          </p:cNvPr>
          <p:cNvGraphicFramePr>
            <a:graphicFrameLocks noChangeAspect="1"/>
          </p:cNvGraphicFramePr>
          <p:nvPr>
            <p:custDataLst>
              <p:tags r:id="rId1"/>
            </p:custDataLst>
            <p:extLst>
              <p:ext uri="{D42A27DB-BD31-4B8C-83A1-F6EECF244321}">
                <p14:modId xmlns:p14="http://schemas.microsoft.com/office/powerpoint/2010/main" val="2700595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8" name="Object 7" hidden="1">
                        <a:extLst>
                          <a:ext uri="{FF2B5EF4-FFF2-40B4-BE49-F238E27FC236}">
                            <a16:creationId xmlns:a16="http://schemas.microsoft.com/office/drawing/2014/main" id="{960CC04F-08D5-0BF7-BAD3-99AD527799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F232D2E2-7F6A-64EF-0585-70B3B6AEC85C}"/>
              </a:ext>
            </a:extLst>
          </p:cNvPr>
          <p:cNvSpPr>
            <a:spLocks noGrp="1"/>
          </p:cNvSpPr>
          <p:nvPr>
            <p:ph type="sldNum" sz="quarter" idx="12"/>
          </p:nvPr>
        </p:nvSpPr>
        <p:spPr/>
        <p:txBody>
          <a:bodyPr/>
          <a:lstStyle/>
          <a:p>
            <a:fld id="{992CD0B2-8AB2-4C6C-8876-E15753662C9B}" type="slidenum">
              <a:rPr lang="nl-NL" smtClean="0"/>
              <a:pPr/>
              <a:t>6</a:t>
            </a:fld>
            <a:endParaRPr lang="nl-NL" dirty="0"/>
          </a:p>
        </p:txBody>
      </p:sp>
      <p:pic>
        <p:nvPicPr>
          <p:cNvPr id="3" name="Picture 2" descr="Shape, square&#10;&#10;Description automatically generated">
            <a:extLst>
              <a:ext uri="{FF2B5EF4-FFF2-40B4-BE49-F238E27FC236}">
                <a16:creationId xmlns:a16="http://schemas.microsoft.com/office/drawing/2014/main" id="{6E0CFE43-0528-65B0-98A5-FEED0A14498D}"/>
              </a:ext>
            </a:extLst>
          </p:cNvPr>
          <p:cNvPicPr>
            <a:picLocks noChangeAspect="1"/>
          </p:cNvPicPr>
          <p:nvPr/>
        </p:nvPicPr>
        <p:blipFill>
          <a:blip r:embed="rId5">
            <a:extLst>
              <a:ext uri="{BEBA8EAE-BF5A-486C-A8C5-ECC9F3942E4B}">
                <a14:imgProps xmlns:a14="http://schemas.microsoft.com/office/drawing/2010/main">
                  <a14:imgLayer r:embed="rId6">
                    <a14:imgEffect>
                      <a14:backgroundRemoval t="10000" b="90000" l="10000" r="90000"/>
                    </a14:imgEffect>
                  </a14:imgLayer>
                </a14:imgProps>
              </a:ext>
            </a:extLst>
          </a:blip>
          <a:stretch>
            <a:fillRect/>
          </a:stretch>
        </p:blipFill>
        <p:spPr>
          <a:xfrm>
            <a:off x="4432300" y="2881128"/>
            <a:ext cx="3325123" cy="1737377"/>
          </a:xfrm>
          <a:prstGeom prst="rect">
            <a:avLst/>
          </a:prstGeom>
          <a:solidFill>
            <a:schemeClr val="accent4">
              <a:lumMod val="20000"/>
              <a:lumOff val="80000"/>
            </a:schemeClr>
          </a:solidFill>
        </p:spPr>
      </p:pic>
      <p:sp>
        <p:nvSpPr>
          <p:cNvPr id="9" name="TextBox 8">
            <a:extLst>
              <a:ext uri="{FF2B5EF4-FFF2-40B4-BE49-F238E27FC236}">
                <a16:creationId xmlns:a16="http://schemas.microsoft.com/office/drawing/2014/main" id="{E596B138-58D6-0EA0-62F7-8FE0F5F7BDAD}"/>
              </a:ext>
            </a:extLst>
          </p:cNvPr>
          <p:cNvSpPr txBox="1"/>
          <p:nvPr/>
        </p:nvSpPr>
        <p:spPr>
          <a:xfrm>
            <a:off x="6215692" y="3306187"/>
            <a:ext cx="1375725" cy="978729"/>
          </a:xfrm>
          <a:prstGeom prst="rect">
            <a:avLst/>
          </a:prstGeom>
          <a:noFill/>
        </p:spPr>
        <p:txBody>
          <a:bodyPr wrap="square">
            <a:spAutoFit/>
          </a:bodyPr>
          <a:lstStyle/>
          <a:p>
            <a:pPr marL="0" indent="0">
              <a:buNone/>
            </a:pPr>
            <a:r>
              <a:rPr lang="nl-NL" sz="800" b="1" dirty="0"/>
              <a:t>De wijziging van het woonplaatsbeginsel Jeugd gaat gepaard met een compensatieregeling, maar gemeenten zullen waarschijnlijk veel meer compensatie aanvragen dan beschikbaar.</a:t>
            </a:r>
            <a:endParaRPr lang="nl-NL" sz="800" dirty="0"/>
          </a:p>
        </p:txBody>
      </p:sp>
      <p:pic>
        <p:nvPicPr>
          <p:cNvPr id="10" name="Graphic 9" descr="Open quotation mark with solid fill">
            <a:extLst>
              <a:ext uri="{FF2B5EF4-FFF2-40B4-BE49-F238E27FC236}">
                <a16:creationId xmlns:a16="http://schemas.microsoft.com/office/drawing/2014/main" id="{575045EE-B2C3-C213-D811-4B908CDDBF2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7057703" y="4098925"/>
            <a:ext cx="155576" cy="155576"/>
          </a:xfrm>
          <a:prstGeom prst="rect">
            <a:avLst/>
          </a:prstGeom>
        </p:spPr>
      </p:pic>
      <p:pic>
        <p:nvPicPr>
          <p:cNvPr id="11" name="Graphic 10" descr="Open quotation mark with solid fill">
            <a:extLst>
              <a:ext uri="{FF2B5EF4-FFF2-40B4-BE49-F238E27FC236}">
                <a16:creationId xmlns:a16="http://schemas.microsoft.com/office/drawing/2014/main" id="{E695959A-37EC-0389-7626-065B1F44A96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flipH="1">
            <a:off x="6134099" y="3309936"/>
            <a:ext cx="155576" cy="155576"/>
          </a:xfrm>
          <a:prstGeom prst="rect">
            <a:avLst/>
          </a:prstGeom>
        </p:spPr>
      </p:pic>
      <p:pic>
        <p:nvPicPr>
          <p:cNvPr id="67" name="Picture 66">
            <a:extLst>
              <a:ext uri="{FF2B5EF4-FFF2-40B4-BE49-F238E27FC236}">
                <a16:creationId xmlns:a16="http://schemas.microsoft.com/office/drawing/2014/main" id="{24E925F7-83B2-39A5-B814-973C33A7B377}"/>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7517397" y="4378031"/>
            <a:ext cx="172250" cy="172250"/>
          </a:xfrm>
          <a:prstGeom prst="rect">
            <a:avLst/>
          </a:prstGeom>
          <a:ln w="9525">
            <a:noFill/>
          </a:ln>
          <a:extLst>
            <a:ext uri="{91240B29-F687-4F45-9708-019B960494DF}">
              <a14:hiddenLine xmlns:a14="http://schemas.microsoft.com/office/drawing/2010/main" w="9525">
                <a:solidFill>
                  <a:srgbClr val="22777B"/>
                </a:solidFill>
              </a14:hiddenLine>
            </a:ext>
          </a:extLst>
        </p:spPr>
      </p:pic>
      <p:pic>
        <p:nvPicPr>
          <p:cNvPr id="6" name="Picture 5">
            <a:extLst>
              <a:ext uri="{FF2B5EF4-FFF2-40B4-BE49-F238E27FC236}">
                <a16:creationId xmlns:a16="http://schemas.microsoft.com/office/drawing/2014/main" id="{F3C88589-4023-A2F4-FBE2-2000B0837A56}"/>
              </a:ext>
            </a:extLst>
          </p:cNvPr>
          <p:cNvPicPr>
            <a:picLocks noChangeAspect="1"/>
          </p:cNvPicPr>
          <p:nvPr/>
        </p:nvPicPr>
        <p:blipFill>
          <a:blip r:embed="rId10"/>
          <a:stretch>
            <a:fillRect/>
          </a:stretch>
        </p:blipFill>
        <p:spPr>
          <a:xfrm>
            <a:off x="4797429" y="3393493"/>
            <a:ext cx="1298571" cy="799545"/>
          </a:xfrm>
          <a:prstGeom prst="rect">
            <a:avLst/>
          </a:prstGeom>
        </p:spPr>
      </p:pic>
    </p:spTree>
    <p:extLst>
      <p:ext uri="{BB962C8B-B14F-4D97-AF65-F5344CB8AC3E}">
        <p14:creationId xmlns:p14="http://schemas.microsoft.com/office/powerpoint/2010/main" val="9051388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6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5C43DA-9EA4-4449-8F61-C9A2C872D901}"/>
              </a:ext>
            </a:extLst>
          </p:cNvPr>
          <p:cNvGraphicFramePr>
            <a:graphicFrameLocks noChangeAspect="1"/>
          </p:cNvGraphicFramePr>
          <p:nvPr>
            <p:custDataLst>
              <p:tags r:id="rId1"/>
            </p:custDataLst>
            <p:extLst>
              <p:ext uri="{D42A27DB-BD31-4B8C-83A1-F6EECF244321}">
                <p14:modId xmlns:p14="http://schemas.microsoft.com/office/powerpoint/2010/main" val="347651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68" name="Google Shape;468;p3"/>
          <p:cNvSpPr txBox="1">
            <a:spLocks noGrp="1"/>
          </p:cNvSpPr>
          <p:nvPr>
            <p:ph type="ftr" idx="4294967295"/>
          </p:nvPr>
        </p:nvSpPr>
        <p:spPr>
          <a:xfrm>
            <a:off x="658813" y="6619875"/>
            <a:ext cx="9753023" cy="163512"/>
          </a:xfrm>
          <a:prstGeom prst="rect">
            <a:avLst/>
          </a:prstGeom>
          <a:noFill/>
          <a:ln>
            <a:noFill/>
          </a:ln>
        </p:spPr>
        <p:txBody>
          <a:bodyPr spcFirstLastPara="1" wrap="square" lIns="91425" tIns="45700" rIns="91425" bIns="45700" anchor="ctr" anchorCtr="0">
            <a:noAutofit/>
          </a:bodyPr>
          <a:lstStyle/>
          <a:p>
            <a:pPr marL="180000" marR="0" lvl="0" indent="-129200" algn="l">
              <a:lnSpc>
                <a:spcPct val="90000"/>
              </a:lnSpc>
              <a:spcBef>
                <a:spcPts val="0"/>
              </a:spcBef>
              <a:spcAft>
                <a:spcPts val="0"/>
              </a:spcAft>
              <a:buClr>
                <a:schemeClr val="dk2"/>
              </a:buClr>
              <a:buSzPts val="800"/>
              <a:buFont typeface="Noto Sans Symbols"/>
              <a:buNone/>
            </a:pPr>
            <a:endParaRPr lang="nl-NL" sz="800" b="0" i="0" u="none" strike="noStrike" cap="none" dirty="0">
              <a:solidFill>
                <a:srgbClr val="000000"/>
              </a:solidFill>
              <a:ea typeface="Corbel"/>
              <a:cs typeface="Corbel"/>
              <a:sym typeface="Corbel" panose="020B0503020204020204" pitchFamily="34" charset="0"/>
            </a:endParaRPr>
          </a:p>
        </p:txBody>
      </p:sp>
      <p:sp>
        <p:nvSpPr>
          <p:cNvPr id="469" name="Google Shape;469;p3"/>
          <p:cNvSpPr txBox="1">
            <a:spLocks noGrp="1"/>
          </p:cNvSpPr>
          <p:nvPr>
            <p:ph type="sldNum" idx="12"/>
          </p:nvPr>
        </p:nvSpPr>
        <p:spPr>
          <a:xfrm>
            <a:off x="10510048" y="6578762"/>
            <a:ext cx="1023140" cy="168275"/>
          </a:xfrm>
          <a:prstGeom prst="rect">
            <a:avLst/>
          </a:prstGeom>
          <a:noFill/>
          <a:ln>
            <a:noFill/>
          </a:ln>
        </p:spPr>
        <p:txBody>
          <a:bodyPr spcFirstLastPara="1" wrap="square" lIns="0" tIns="0" rIns="72000" bIns="0" anchor="t" anchorCtr="0">
            <a:noAutofit/>
          </a:bodyPr>
          <a:lstStyle/>
          <a:p>
            <a:pPr marL="0" lvl="0" indent="0" algn="r">
              <a:lnSpc>
                <a:spcPct val="90000"/>
              </a:lnSpc>
              <a:spcBef>
                <a:spcPts val="0"/>
              </a:spcBef>
              <a:spcAft>
                <a:spcPts val="0"/>
              </a:spcAft>
              <a:buSzPts val="1000"/>
              <a:buNone/>
            </a:pPr>
            <a:fld id="{00000000-1234-1234-1234-123412341234}" type="slidenum">
              <a:rPr lang="nl-NL" smtClean="0">
                <a:sym typeface="Corbel" panose="020B0503020204020204" pitchFamily="34" charset="0"/>
              </a:rPr>
              <a:pPr marL="0" lvl="0" indent="0" algn="r">
                <a:lnSpc>
                  <a:spcPct val="90000"/>
                </a:lnSpc>
                <a:spcBef>
                  <a:spcPts val="0"/>
                </a:spcBef>
                <a:spcAft>
                  <a:spcPts val="0"/>
                </a:spcAft>
                <a:buSzPts val="1000"/>
                <a:buNone/>
              </a:pPr>
              <a:t>7</a:t>
            </a:fld>
            <a:endParaRPr lang="nl-NL" dirty="0">
              <a:sym typeface="Corbel" panose="020B0503020204020204" pitchFamily="34" charset="0"/>
            </a:endParaRPr>
          </a:p>
        </p:txBody>
      </p:sp>
      <p:sp>
        <p:nvSpPr>
          <p:cNvPr id="470" name="Google Shape;470;p3"/>
          <p:cNvSpPr txBox="1">
            <a:spLocks noGrp="1"/>
          </p:cNvSpPr>
          <p:nvPr>
            <p:ph type="body" idx="2"/>
          </p:nvPr>
        </p:nvSpPr>
        <p:spPr>
          <a:xfrm>
            <a:off x="658813" y="2514600"/>
            <a:ext cx="10874374" cy="914400"/>
          </a:xfrm>
          <a:prstGeom prst="rect">
            <a:avLst/>
          </a:prstGeom>
          <a:noFill/>
          <a:ln>
            <a:noFill/>
          </a:ln>
        </p:spPr>
        <p:txBody>
          <a:bodyPr spcFirstLastPara="1" wrap="square" lIns="36000" tIns="36000" rIns="36000" bIns="36000" anchor="t" anchorCtr="0">
            <a:noAutofit/>
          </a:bodyPr>
          <a:lstStyle/>
          <a:p>
            <a:pPr marL="0" lvl="0" indent="0" algn="l">
              <a:lnSpc>
                <a:spcPct val="90000"/>
              </a:lnSpc>
              <a:spcBef>
                <a:spcPts val="0"/>
              </a:spcBef>
              <a:spcAft>
                <a:spcPts val="0"/>
              </a:spcAft>
              <a:buSzPts val="5400"/>
              <a:buNone/>
            </a:pPr>
            <a:r>
              <a:rPr lang="nl-NL">
                <a:sym typeface="Corbel" panose="020B0503020204020204" pitchFamily="34" charset="0"/>
              </a:rPr>
              <a:t>Instructies</a:t>
            </a:r>
            <a:endParaRPr lang="nl-NL" dirty="0">
              <a:sym typeface="Corbel" panose="020B0503020204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75"/>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D48C301-202C-45F6-8E98-608BC80F9DAF}"/>
              </a:ext>
            </a:extLst>
          </p:cNvPr>
          <p:cNvGraphicFramePr>
            <a:graphicFrameLocks noChangeAspect="1"/>
          </p:cNvGraphicFramePr>
          <p:nvPr>
            <p:custDataLst>
              <p:tags r:id="rId1"/>
            </p:custDataLst>
            <p:extLst>
              <p:ext uri="{D42A27DB-BD31-4B8C-83A1-F6EECF244321}">
                <p14:modId xmlns:p14="http://schemas.microsoft.com/office/powerpoint/2010/main" val="2902777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76" name="Google Shape;476;p4"/>
          <p:cNvSpPr txBox="1">
            <a:spLocks noGrp="1"/>
          </p:cNvSpPr>
          <p:nvPr>
            <p:ph type="body" idx="1"/>
          </p:nvPr>
        </p:nvSpPr>
        <p:spPr>
          <a:xfrm>
            <a:off x="666750" y="1228725"/>
            <a:ext cx="10872000" cy="247650"/>
          </a:xfrm>
          <a:prstGeom prst="rect">
            <a:avLst/>
          </a:prstGeom>
          <a:noFill/>
          <a:ln>
            <a:noFill/>
          </a:ln>
        </p:spPr>
        <p:txBody>
          <a:bodyPr spcFirstLastPara="1" wrap="square" lIns="72000" tIns="72000" rIns="72000" bIns="72000" anchor="t" anchorCtr="0">
            <a:noAutofit/>
          </a:bodyPr>
          <a:lstStyle/>
          <a:p>
            <a:pPr marL="0" lvl="0" indent="0" algn="l">
              <a:lnSpc>
                <a:spcPct val="90000"/>
              </a:lnSpc>
              <a:spcBef>
                <a:spcPts val="0"/>
              </a:spcBef>
              <a:spcAft>
                <a:spcPts val="0"/>
              </a:spcAft>
              <a:buSzPts val="1400"/>
              <a:buNone/>
            </a:pPr>
            <a:r>
              <a:rPr lang="nl-NL" b="1" dirty="0">
                <a:sym typeface="Corbel" panose="020B0503020204020204" pitchFamily="34" charset="0"/>
              </a:rPr>
              <a:t>Verhouding en grootte afbeeldingen bij </a:t>
            </a:r>
            <a:r>
              <a:rPr lang="nl-NL" b="1">
                <a:sym typeface="Corbel" panose="020B0503020204020204" pitchFamily="34" charset="0"/>
              </a:rPr>
              <a:t>LinkedIn post</a:t>
            </a:r>
            <a:endParaRPr lang="nl-NL" dirty="0">
              <a:sym typeface="Corbel" panose="020B0503020204020204" pitchFamily="34" charset="0"/>
            </a:endParaRPr>
          </a:p>
        </p:txBody>
      </p:sp>
      <p:sp>
        <p:nvSpPr>
          <p:cNvPr id="477" name="Google Shape;477;p4"/>
          <p:cNvSpPr txBox="1">
            <a:spLocks noGrp="1"/>
          </p:cNvSpPr>
          <p:nvPr>
            <p:ph type="body" idx="2"/>
          </p:nvPr>
        </p:nvSpPr>
        <p:spPr>
          <a:xfrm>
            <a:off x="666748" y="1592263"/>
            <a:ext cx="3238502" cy="4716461"/>
          </a:xfrm>
          <a:prstGeom prst="rect">
            <a:avLst/>
          </a:prstGeom>
          <a:noFill/>
          <a:ln>
            <a:noFill/>
          </a:ln>
        </p:spPr>
        <p:txBody>
          <a:bodyPr spcFirstLastPara="1" wrap="square" lIns="72000" tIns="72000" rIns="72000" bIns="72000" anchor="t" anchorCtr="0">
            <a:noAutofit/>
          </a:bodyPr>
          <a:lstStyle/>
          <a:p>
            <a:pPr marL="180000" lvl="0" indent="-91100" algn="l">
              <a:lnSpc>
                <a:spcPct val="90000"/>
              </a:lnSpc>
              <a:spcBef>
                <a:spcPts val="0"/>
              </a:spcBef>
              <a:spcAft>
                <a:spcPts val="0"/>
              </a:spcAft>
              <a:buSzPts val="1400"/>
              <a:buNone/>
            </a:pPr>
            <a:endParaRPr lang="nl-NL" dirty="0">
              <a:sym typeface="Corbel" panose="020B0503020204020204" pitchFamily="34" charset="0"/>
            </a:endParaRPr>
          </a:p>
          <a:p>
            <a:pPr marL="0" lvl="0" indent="0" algn="l">
              <a:lnSpc>
                <a:spcPct val="90000"/>
              </a:lnSpc>
              <a:spcBef>
                <a:spcPts val="375"/>
              </a:spcBef>
              <a:spcAft>
                <a:spcPts val="0"/>
              </a:spcAft>
              <a:buSzPts val="1400"/>
              <a:buNone/>
            </a:pPr>
            <a:r>
              <a:rPr lang="nl-NL" b="1" dirty="0">
                <a:sym typeface="Corbel" panose="020B0503020204020204" pitchFamily="34" charset="0"/>
              </a:rPr>
              <a:t>Er zijn vier verhoudingen die belangrijk zijn voor Linkedin. </a:t>
            </a:r>
            <a:endParaRPr lang="nl-NL" dirty="0">
              <a:sym typeface="Corbel" panose="020B0503020204020204" pitchFamily="34" charset="0"/>
            </a:endParaRPr>
          </a:p>
          <a:p>
            <a:pPr marL="360000" lvl="1" indent="-179999" algn="l">
              <a:lnSpc>
                <a:spcPct val="90000"/>
              </a:lnSpc>
              <a:spcBef>
                <a:spcPts val="375"/>
              </a:spcBef>
              <a:spcAft>
                <a:spcPts val="0"/>
              </a:spcAft>
              <a:buSzPts val="1400"/>
              <a:buFont typeface="Corbel"/>
              <a:buChar char="-"/>
            </a:pPr>
            <a:r>
              <a:rPr lang="nl-NL" dirty="0">
                <a:sym typeface="Corbel" panose="020B0503020204020204" pitchFamily="34" charset="0"/>
              </a:rPr>
              <a:t>Plaatjes delen met bedrijfsprofiel of persoonlijk profile: 1,200 x 627 met buffer</a:t>
            </a:r>
          </a:p>
          <a:p>
            <a:pPr marL="360000" lvl="1" indent="-179999" algn="l">
              <a:lnSpc>
                <a:spcPct val="90000"/>
              </a:lnSpc>
              <a:spcBef>
                <a:spcPts val="375"/>
              </a:spcBef>
              <a:spcAft>
                <a:spcPts val="0"/>
              </a:spcAft>
              <a:buSzPts val="1400"/>
              <a:buFont typeface="Corbel"/>
              <a:buChar char="-"/>
            </a:pPr>
            <a:r>
              <a:rPr lang="nl-NL" dirty="0">
                <a:sym typeface="Corbel" panose="020B0503020204020204" pitchFamily="34" charset="0"/>
              </a:rPr>
              <a:t>Grote horizontale foto boven profielfoto: 1128 x 191; </a:t>
            </a:r>
            <a:r>
              <a:rPr lang="nl-NL" i="0" dirty="0">
                <a:solidFill>
                  <a:srgbClr val="282828"/>
                </a:solidFill>
                <a:effectLst/>
                <a:latin typeface="+mj-lt"/>
              </a:rPr>
              <a:t>1584 x 396 voor persoonlijke pagina coverfoto</a:t>
            </a:r>
            <a:endParaRPr lang="nl-NL" dirty="0">
              <a:latin typeface="+mj-lt"/>
              <a:sym typeface="Corbel" panose="020B0503020204020204" pitchFamily="34" charset="0"/>
            </a:endParaRPr>
          </a:p>
          <a:p>
            <a:pPr marL="360000" lvl="1" indent="-179999" algn="l">
              <a:lnSpc>
                <a:spcPct val="90000"/>
              </a:lnSpc>
              <a:spcBef>
                <a:spcPts val="375"/>
              </a:spcBef>
              <a:spcAft>
                <a:spcPts val="0"/>
              </a:spcAft>
              <a:buSzPts val="1400"/>
              <a:buFont typeface="Corbel"/>
              <a:buChar char="-"/>
            </a:pPr>
            <a:r>
              <a:rPr lang="nl-NL" dirty="0">
                <a:sym typeface="Corbel" panose="020B0503020204020204" pitchFamily="34" charset="0"/>
              </a:rPr>
              <a:t>Sharing links with an image to Company Page or personal profile: 1200 x 627</a:t>
            </a:r>
          </a:p>
          <a:p>
            <a:pPr marL="360000" lvl="1" indent="-179999" algn="l">
              <a:lnSpc>
                <a:spcPct val="90000"/>
              </a:lnSpc>
              <a:spcBef>
                <a:spcPts val="375"/>
              </a:spcBef>
              <a:spcAft>
                <a:spcPts val="0"/>
              </a:spcAft>
              <a:buSzPts val="1400"/>
              <a:buFont typeface="Corbel"/>
              <a:buChar char="-"/>
            </a:pPr>
            <a:r>
              <a:rPr lang="nl-NL" dirty="0">
                <a:sym typeface="Corbel" panose="020B0503020204020204" pitchFamily="34" charset="0"/>
              </a:rPr>
              <a:t>Afmetingen voor Video: 256×144 tot 4096x 2304</a:t>
            </a:r>
          </a:p>
          <a:p>
            <a:pPr marL="180000" lvl="0" indent="-91100" algn="l">
              <a:lnSpc>
                <a:spcPct val="90000"/>
              </a:lnSpc>
              <a:spcBef>
                <a:spcPts val="375"/>
              </a:spcBef>
              <a:spcAft>
                <a:spcPts val="0"/>
              </a:spcAft>
              <a:buSzPts val="1400"/>
              <a:buNone/>
            </a:pPr>
            <a:endParaRPr lang="nl-NL" dirty="0"/>
          </a:p>
        </p:txBody>
      </p:sp>
      <p:sp>
        <p:nvSpPr>
          <p:cNvPr id="478" name="Google Shape;478;p4"/>
          <p:cNvSpPr txBox="1">
            <a:spLocks noGrp="1"/>
          </p:cNvSpPr>
          <p:nvPr>
            <p:ph type="title"/>
          </p:nvPr>
        </p:nvSpPr>
        <p:spPr>
          <a:xfrm>
            <a:off x="666747" y="266699"/>
            <a:ext cx="10866441" cy="930276"/>
          </a:xfrm>
          <a:prstGeom prst="rect">
            <a:avLst/>
          </a:prstGeom>
          <a:noFill/>
          <a:ln>
            <a:noFill/>
          </a:ln>
        </p:spPr>
        <p:txBody>
          <a:bodyPr spcFirstLastPara="1" wrap="square" lIns="91425" tIns="45700" rIns="91425" bIns="45700" anchor="b" anchorCtr="0">
            <a:noAutofit/>
          </a:bodyPr>
          <a:lstStyle/>
          <a:p>
            <a:pPr marL="0" lvl="0" indent="0" algn="l">
              <a:lnSpc>
                <a:spcPct val="90000"/>
              </a:lnSpc>
              <a:spcBef>
                <a:spcPts val="0"/>
              </a:spcBef>
              <a:spcAft>
                <a:spcPts val="0"/>
              </a:spcAft>
              <a:buClr>
                <a:schemeClr val="dk2"/>
              </a:buClr>
              <a:buSzPts val="2800"/>
              <a:buFont typeface="Corbel"/>
              <a:buNone/>
            </a:pPr>
            <a:r>
              <a:rPr lang="nl-NL" dirty="0">
                <a:sym typeface="Corbel" panose="020B0503020204020204" pitchFamily="34" charset="0"/>
              </a:rPr>
              <a:t>De verhoudingen van de afbeeldingen bij verschillende soorten </a:t>
            </a:r>
            <a:r>
              <a:rPr lang="nl-NL">
                <a:sym typeface="Corbel" panose="020B0503020204020204" pitchFamily="34" charset="0"/>
              </a:rPr>
              <a:t>posts verschillen</a:t>
            </a:r>
            <a:endParaRPr lang="nl-NL" dirty="0">
              <a:sym typeface="Corbel" panose="020B0503020204020204" pitchFamily="34" charset="0"/>
            </a:endParaRPr>
          </a:p>
        </p:txBody>
      </p:sp>
      <p:sp>
        <p:nvSpPr>
          <p:cNvPr id="479" name="Google Shape;479;p4"/>
          <p:cNvSpPr/>
          <p:nvPr/>
        </p:nvSpPr>
        <p:spPr>
          <a:xfrm>
            <a:off x="8388704" y="1642869"/>
            <a:ext cx="3136548" cy="2091032"/>
          </a:xfrm>
          <a:prstGeom prst="rect">
            <a:avLst/>
          </a:prstGeom>
          <a:noFill/>
          <a:ln w="114300" cap="flat" cmpd="sng">
            <a:solidFill>
              <a:schemeClr val="dk2"/>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1104  x 736</a:t>
            </a:r>
            <a:endParaRPr lang="nl-NL" dirty="0">
              <a:sym typeface="Corbel" panose="020B0503020204020204" pitchFamily="34" charset="0"/>
            </a:endParaRPr>
          </a:p>
          <a:p>
            <a:pPr marL="0" marR="0" lvl="0" indent="0" algn="ctr">
              <a:lnSpc>
                <a:spcPct val="90000"/>
              </a:lnSpc>
              <a:spcBef>
                <a:spcPts val="750"/>
              </a:spcBef>
              <a:spcAft>
                <a:spcPts val="0"/>
              </a:spcAft>
              <a:buClr>
                <a:srgbClr val="FF0000"/>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Horizontal (landscape) image with post</a:t>
            </a:r>
            <a:endParaRPr lang="nl-NL" dirty="0">
              <a:sym typeface="Corbel" panose="020B0503020204020204" pitchFamily="34" charset="0"/>
            </a:endParaRPr>
          </a:p>
        </p:txBody>
      </p:sp>
      <p:sp>
        <p:nvSpPr>
          <p:cNvPr id="480" name="Google Shape;480;p4"/>
          <p:cNvSpPr/>
          <p:nvPr/>
        </p:nvSpPr>
        <p:spPr>
          <a:xfrm>
            <a:off x="7264877" y="4000591"/>
            <a:ext cx="4320000" cy="2257200"/>
          </a:xfrm>
          <a:prstGeom prst="rect">
            <a:avLst/>
          </a:prstGeom>
          <a:noFill/>
          <a:ln w="114300" cap="flat" cmpd="sng">
            <a:solidFill>
              <a:schemeClr val="dk2"/>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1200 x 627</a:t>
            </a:r>
            <a:endParaRPr lang="nl-NL" dirty="0">
              <a:sym typeface="Corbel" panose="020B0503020204020204" pitchFamily="34" charset="0"/>
            </a:endParaRPr>
          </a:p>
          <a:p>
            <a:pPr marL="0" marR="0" lvl="0" indent="0" algn="ctr">
              <a:lnSpc>
                <a:spcPct val="90000"/>
              </a:lnSpc>
              <a:spcBef>
                <a:spcPts val="750"/>
              </a:spcBef>
              <a:spcAft>
                <a:spcPts val="0"/>
              </a:spcAft>
              <a:buClr>
                <a:srgbClr val="FF0000"/>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Image size when shared with </a:t>
            </a:r>
            <a:r>
              <a:rPr lang="nl-NL" dirty="0">
                <a:ea typeface="Corbel"/>
                <a:cs typeface="Corbel"/>
                <a:sym typeface="Corbel" panose="020B0503020204020204" pitchFamily="34" charset="0"/>
              </a:rPr>
              <a:t>or without</a:t>
            </a:r>
            <a:r>
              <a:rPr lang="nl-NL" sz="1400" b="0" i="0" u="none" strike="noStrike" cap="none" dirty="0">
                <a:solidFill>
                  <a:srgbClr val="000000"/>
                </a:solidFill>
                <a:ea typeface="Corbel"/>
                <a:cs typeface="Corbel"/>
                <a:sym typeface="Corbel" panose="020B0503020204020204" pitchFamily="34" charset="0"/>
              </a:rPr>
              <a:t> link</a:t>
            </a:r>
            <a:endParaRPr lang="nl-NL" dirty="0">
              <a:sym typeface="Corbel" panose="020B0503020204020204" pitchFamily="34" charset="0"/>
            </a:endParaRPr>
          </a:p>
        </p:txBody>
      </p:sp>
      <p:sp>
        <p:nvSpPr>
          <p:cNvPr id="481" name="Google Shape;481;p4"/>
          <p:cNvSpPr/>
          <p:nvPr/>
        </p:nvSpPr>
        <p:spPr>
          <a:xfrm>
            <a:off x="4633783" y="1642869"/>
            <a:ext cx="3434305" cy="1926562"/>
          </a:xfrm>
          <a:prstGeom prst="rect">
            <a:avLst/>
          </a:prstGeom>
          <a:noFill/>
          <a:ln w="114300" cap="flat" cmpd="sng">
            <a:solidFill>
              <a:schemeClr val="dk2"/>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256 x </a:t>
            </a:r>
            <a:r>
              <a:rPr lang="nl-NL" sz="1400" b="0" i="0" u="none" strike="noStrike" cap="none">
                <a:solidFill>
                  <a:srgbClr val="000000"/>
                </a:solidFill>
                <a:ea typeface="Corbel"/>
                <a:cs typeface="Corbel"/>
                <a:sym typeface="Corbel" panose="020B0503020204020204" pitchFamily="34" charset="0"/>
              </a:rPr>
              <a:t>144 </a:t>
            </a:r>
            <a:endParaRPr lang="nl-NL">
              <a:sym typeface="Corbel" panose="020B0503020204020204" pitchFamily="34" charset="0"/>
            </a:endParaRPr>
          </a:p>
          <a:p>
            <a:pPr marL="0" marR="0" lvl="0" indent="0" algn="ctr">
              <a:lnSpc>
                <a:spcPct val="90000"/>
              </a:lnSpc>
              <a:spcBef>
                <a:spcPts val="750"/>
              </a:spcBef>
              <a:spcAft>
                <a:spcPts val="0"/>
              </a:spcAft>
              <a:buClr>
                <a:srgbClr val="FF0000"/>
              </a:buClr>
              <a:buSzPts val="1400"/>
              <a:buFont typeface="Noto Sans Symbols"/>
              <a:buNone/>
            </a:pPr>
            <a:r>
              <a:rPr lang="nl-NL" sz="1400" b="0" i="0" u="none" strike="noStrike" cap="none">
                <a:solidFill>
                  <a:srgbClr val="000000"/>
                </a:solidFill>
                <a:ea typeface="Corbel"/>
                <a:cs typeface="Corbel"/>
                <a:sym typeface="Corbel" panose="020B0503020204020204" pitchFamily="34" charset="0"/>
              </a:rPr>
              <a:t>Video</a:t>
            </a:r>
            <a:endParaRPr lang="nl-NL" dirty="0">
              <a:sym typeface="Corbel" panose="020B0503020204020204" pitchFamily="34" charset="0"/>
            </a:endParaRPr>
          </a:p>
        </p:txBody>
      </p:sp>
      <p:sp>
        <p:nvSpPr>
          <p:cNvPr id="482" name="Google Shape;482;p4"/>
          <p:cNvSpPr/>
          <p:nvPr/>
        </p:nvSpPr>
        <p:spPr>
          <a:xfrm>
            <a:off x="2768167" y="4504199"/>
            <a:ext cx="4060800" cy="687600"/>
          </a:xfrm>
          <a:prstGeom prst="rect">
            <a:avLst/>
          </a:prstGeom>
          <a:noFill/>
          <a:ln w="114300" cap="flat" cmpd="sng">
            <a:solidFill>
              <a:schemeClr val="dk2"/>
            </a:solidFill>
            <a:prstDash val="solid"/>
            <a:round/>
            <a:headEnd type="none" w="sm" len="sm"/>
            <a:tailEnd type="none" w="sm" len="sm"/>
          </a:ln>
        </p:spPr>
        <p:txBody>
          <a:bodyPr spcFirstLastPara="1" wrap="square" lIns="72000" tIns="45700" rIns="72000" bIns="45700" anchor="ctr" anchorCtr="0">
            <a:noAutofit/>
          </a:bodyPr>
          <a:lstStyle/>
          <a:p>
            <a:pPr marL="0" marR="0" lvl="0" indent="0" algn="ctr">
              <a:lnSpc>
                <a:spcPct val="90000"/>
              </a:lnSpc>
              <a:spcBef>
                <a:spcPts val="0"/>
              </a:spcBef>
              <a:spcAft>
                <a:spcPts val="0"/>
              </a:spcAft>
              <a:buClr>
                <a:srgbClr val="FF0000"/>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1128 x 191</a:t>
            </a:r>
            <a:endParaRPr lang="nl-NL" dirty="0">
              <a:sym typeface="Corbel" panose="020B0503020204020204" pitchFamily="34" charset="0"/>
            </a:endParaRPr>
          </a:p>
          <a:p>
            <a:pPr marL="0" marR="0" lvl="0" indent="0" algn="ctr">
              <a:lnSpc>
                <a:spcPct val="90000"/>
              </a:lnSpc>
              <a:spcBef>
                <a:spcPts val="750"/>
              </a:spcBef>
              <a:spcAft>
                <a:spcPts val="0"/>
              </a:spcAft>
              <a:buClr>
                <a:srgbClr val="FF0000"/>
              </a:buClr>
              <a:buSzPts val="1400"/>
              <a:buFont typeface="Noto Sans Symbols"/>
              <a:buNone/>
            </a:pPr>
            <a:r>
              <a:rPr lang="nl-NL" sz="1400" b="0" i="0" u="none" strike="noStrike" cap="none" dirty="0">
                <a:solidFill>
                  <a:srgbClr val="000000"/>
                </a:solidFill>
                <a:ea typeface="Corbel"/>
                <a:cs typeface="Corbel"/>
                <a:sym typeface="Corbel" panose="020B0503020204020204" pitchFamily="34" charset="0"/>
              </a:rPr>
              <a:t>Grote foto bovenop company profiel</a:t>
            </a:r>
            <a:endParaRPr lang="nl-NL" dirty="0">
              <a:sym typeface="Corbel" panose="020B0503020204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87"/>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03A8A6-6F00-4E80-88E1-B69AE22C979E}"/>
              </a:ext>
            </a:extLst>
          </p:cNvPr>
          <p:cNvGraphicFramePr>
            <a:graphicFrameLocks noChangeAspect="1"/>
          </p:cNvGraphicFramePr>
          <p:nvPr>
            <p:custDataLst>
              <p:tags r:id="rId1"/>
            </p:custDataLst>
            <p:extLst>
              <p:ext uri="{D42A27DB-BD31-4B8C-83A1-F6EECF244321}">
                <p14:modId xmlns:p14="http://schemas.microsoft.com/office/powerpoint/2010/main" val="4036707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88" name="Google Shape;488;p5"/>
          <p:cNvSpPr txBox="1">
            <a:spLocks noGrp="1"/>
          </p:cNvSpPr>
          <p:nvPr>
            <p:ph type="body" idx="3"/>
          </p:nvPr>
        </p:nvSpPr>
        <p:spPr>
          <a:xfrm>
            <a:off x="6237221" y="1699963"/>
            <a:ext cx="5292000" cy="2206800"/>
          </a:xfrm>
          <a:prstGeom prst="rect">
            <a:avLst/>
          </a:prstGeom>
          <a:noFill/>
          <a:ln>
            <a:noFill/>
          </a:ln>
        </p:spPr>
        <p:txBody>
          <a:bodyPr spcFirstLastPara="1" wrap="square" lIns="0" tIns="72000" rIns="72000" bIns="72000" anchor="t" anchorCtr="0">
            <a:noAutofit/>
          </a:bodyPr>
          <a:lstStyle/>
          <a:p>
            <a:pPr marL="0" lvl="0" indent="0" algn="l">
              <a:lnSpc>
                <a:spcPct val="90000"/>
              </a:lnSpc>
              <a:spcBef>
                <a:spcPts val="0"/>
              </a:spcBef>
              <a:spcAft>
                <a:spcPts val="0"/>
              </a:spcAft>
              <a:buSzPts val="1400"/>
              <a:buNone/>
            </a:pPr>
            <a:r>
              <a:rPr lang="nl-NL" b="1" dirty="0">
                <a:sym typeface="Corbel" panose="020B0503020204020204" pitchFamily="34" charset="0"/>
              </a:rPr>
              <a:t>2. Post met infographs</a:t>
            </a:r>
            <a:endParaRPr lang="nl-NL" dirty="0">
              <a:sym typeface="Corbel" panose="020B0503020204020204" pitchFamily="34" charset="0"/>
            </a:endParaRPr>
          </a:p>
        </p:txBody>
      </p:sp>
      <p:sp>
        <p:nvSpPr>
          <p:cNvPr id="491" name="Google Shape;491;p5"/>
          <p:cNvSpPr txBox="1">
            <a:spLocks noGrp="1"/>
          </p:cNvSpPr>
          <p:nvPr>
            <p:ph type="body" idx="1"/>
          </p:nvPr>
        </p:nvSpPr>
        <p:spPr>
          <a:xfrm>
            <a:off x="6237221" y="3989344"/>
            <a:ext cx="5292000" cy="2206800"/>
          </a:xfrm>
          <a:prstGeom prst="rect">
            <a:avLst/>
          </a:prstGeom>
          <a:noFill/>
          <a:ln>
            <a:noFill/>
          </a:ln>
        </p:spPr>
        <p:txBody>
          <a:bodyPr spcFirstLastPara="1" wrap="square" lIns="0" tIns="72000" rIns="72000" bIns="72000" anchor="t" anchorCtr="0">
            <a:noAutofit/>
          </a:bodyPr>
          <a:lstStyle/>
          <a:p>
            <a:pPr marL="0" lvl="0" indent="0" algn="l">
              <a:lnSpc>
                <a:spcPct val="90000"/>
              </a:lnSpc>
              <a:spcBef>
                <a:spcPts val="0"/>
              </a:spcBef>
              <a:spcAft>
                <a:spcPts val="0"/>
              </a:spcAft>
              <a:buSzPts val="1400"/>
              <a:buNone/>
            </a:pPr>
            <a:r>
              <a:rPr lang="nl-NL" b="1" dirty="0">
                <a:sym typeface="Corbel" panose="020B0503020204020204" pitchFamily="34" charset="0"/>
              </a:rPr>
              <a:t>4. Recruitment &amp; overig</a:t>
            </a:r>
            <a:endParaRPr lang="nl-NL" dirty="0">
              <a:sym typeface="Corbel" panose="020B0503020204020204" pitchFamily="34" charset="0"/>
            </a:endParaRPr>
          </a:p>
        </p:txBody>
      </p:sp>
      <p:sp>
        <p:nvSpPr>
          <p:cNvPr id="492" name="Google Shape;492;p5"/>
          <p:cNvSpPr txBox="1">
            <a:spLocks noGrp="1"/>
          </p:cNvSpPr>
          <p:nvPr>
            <p:ph type="body" idx="2"/>
          </p:nvPr>
        </p:nvSpPr>
        <p:spPr>
          <a:xfrm>
            <a:off x="662780" y="3989344"/>
            <a:ext cx="5292000" cy="2206800"/>
          </a:xfrm>
          <a:prstGeom prst="rect">
            <a:avLst/>
          </a:prstGeom>
          <a:noFill/>
          <a:ln>
            <a:noFill/>
          </a:ln>
        </p:spPr>
        <p:txBody>
          <a:bodyPr spcFirstLastPara="1" wrap="square" lIns="0" tIns="72000" rIns="72000" bIns="72000" anchor="t" anchorCtr="0">
            <a:noAutofit/>
          </a:bodyPr>
          <a:lstStyle/>
          <a:p>
            <a:pPr marL="0" lvl="0" indent="0" algn="l">
              <a:lnSpc>
                <a:spcPct val="90000"/>
              </a:lnSpc>
              <a:spcBef>
                <a:spcPts val="0"/>
              </a:spcBef>
              <a:spcAft>
                <a:spcPts val="0"/>
              </a:spcAft>
              <a:buSzPts val="1400"/>
              <a:buNone/>
            </a:pPr>
            <a:r>
              <a:rPr lang="nl-NL" b="1" dirty="0">
                <a:sym typeface="Corbel" panose="020B0503020204020204" pitchFamily="34" charset="0"/>
              </a:rPr>
              <a:t>3. Nieuwe medewerker</a:t>
            </a:r>
            <a:endParaRPr lang="nl-NL" dirty="0">
              <a:sym typeface="Corbel" panose="020B0503020204020204" pitchFamily="34" charset="0"/>
            </a:endParaRPr>
          </a:p>
        </p:txBody>
      </p:sp>
      <p:sp>
        <p:nvSpPr>
          <p:cNvPr id="493" name="Google Shape;493;p5"/>
          <p:cNvSpPr txBox="1">
            <a:spLocks noGrp="1"/>
          </p:cNvSpPr>
          <p:nvPr>
            <p:ph type="body" idx="4"/>
          </p:nvPr>
        </p:nvSpPr>
        <p:spPr>
          <a:xfrm>
            <a:off x="662780" y="1699963"/>
            <a:ext cx="5292000" cy="2206800"/>
          </a:xfrm>
          <a:prstGeom prst="rect">
            <a:avLst/>
          </a:prstGeom>
          <a:noFill/>
          <a:ln>
            <a:noFill/>
          </a:ln>
        </p:spPr>
        <p:txBody>
          <a:bodyPr spcFirstLastPara="1" wrap="square" lIns="72000" tIns="72000" rIns="72000" bIns="72000" anchor="t" anchorCtr="0">
            <a:noAutofit/>
          </a:bodyPr>
          <a:lstStyle/>
          <a:p>
            <a:pPr marL="0" lvl="0" indent="0" algn="l">
              <a:lnSpc>
                <a:spcPct val="90000"/>
              </a:lnSpc>
              <a:spcBef>
                <a:spcPts val="0"/>
              </a:spcBef>
              <a:spcAft>
                <a:spcPts val="0"/>
              </a:spcAft>
              <a:buSzPts val="1400"/>
              <a:buNone/>
            </a:pPr>
            <a:r>
              <a:rPr lang="nl-NL" b="1" dirty="0">
                <a:sym typeface="Corbel" panose="020B0503020204020204" pitchFamily="34" charset="0"/>
              </a:rPr>
              <a:t>1. Post voor publicatie – met foto &amp; statement</a:t>
            </a:r>
            <a:endParaRPr lang="nl-NL" dirty="0">
              <a:sym typeface="Corbel" panose="020B0503020204020204" pitchFamily="34" charset="0"/>
            </a:endParaRPr>
          </a:p>
        </p:txBody>
      </p:sp>
      <p:sp>
        <p:nvSpPr>
          <p:cNvPr id="495" name="Google Shape;495;p5"/>
          <p:cNvSpPr txBox="1">
            <a:spLocks noGrp="1"/>
          </p:cNvSpPr>
          <p:nvPr>
            <p:ph type="title"/>
          </p:nvPr>
        </p:nvSpPr>
        <p:spPr>
          <a:xfrm>
            <a:off x="662780" y="384876"/>
            <a:ext cx="10866441" cy="774000"/>
          </a:xfrm>
          <a:prstGeom prst="rect">
            <a:avLst/>
          </a:prstGeom>
          <a:noFill/>
          <a:ln>
            <a:noFill/>
          </a:ln>
        </p:spPr>
        <p:txBody>
          <a:bodyPr spcFirstLastPara="1" wrap="square" lIns="0" tIns="0" rIns="0" bIns="0" anchor="b" anchorCtr="0">
            <a:noAutofit/>
          </a:bodyPr>
          <a:lstStyle/>
          <a:p>
            <a:pPr marL="0" lvl="0" indent="0" algn="l">
              <a:lnSpc>
                <a:spcPct val="90000"/>
              </a:lnSpc>
              <a:spcBef>
                <a:spcPts val="0"/>
              </a:spcBef>
              <a:spcAft>
                <a:spcPts val="0"/>
              </a:spcAft>
              <a:buClr>
                <a:schemeClr val="dk2"/>
              </a:buClr>
              <a:buSzPts val="2800"/>
              <a:buFont typeface="Corbel"/>
              <a:buNone/>
            </a:pPr>
            <a:r>
              <a:rPr lang="nl-NL" dirty="0">
                <a:sym typeface="Corbel" panose="020B0503020204020204" pitchFamily="34" charset="0"/>
              </a:rPr>
              <a:t>We hebben al templates voor verschillende posts, kijk of jouw type post er tussen zit (volg de hyperlink op het </a:t>
            </a:r>
            <a:r>
              <a:rPr lang="nl-NL">
                <a:sym typeface="Corbel" panose="020B0503020204020204" pitchFamily="34" charset="0"/>
              </a:rPr>
              <a:t>plaatje)</a:t>
            </a:r>
            <a:endParaRPr lang="nl-NL" dirty="0">
              <a:sym typeface="Corbel" panose="020B0503020204020204" pitchFamily="34" charset="0"/>
            </a:endParaRPr>
          </a:p>
        </p:txBody>
      </p:sp>
      <p:sp>
        <p:nvSpPr>
          <p:cNvPr id="496" name="Google Shape;496;p5"/>
          <p:cNvSpPr txBox="1">
            <a:spLocks noGrp="1"/>
          </p:cNvSpPr>
          <p:nvPr>
            <p:ph type="body" idx="6"/>
          </p:nvPr>
        </p:nvSpPr>
        <p:spPr>
          <a:xfrm>
            <a:off x="662780" y="6549444"/>
            <a:ext cx="10868400" cy="122400"/>
          </a:xfrm>
          <a:prstGeom prst="rect">
            <a:avLst/>
          </a:prstGeom>
          <a:noFill/>
          <a:ln>
            <a:noFill/>
          </a:ln>
        </p:spPr>
        <p:txBody>
          <a:bodyPr spcFirstLastPara="1" wrap="square" lIns="36000" tIns="0" rIns="36000" bIns="0" anchor="b" anchorCtr="0">
            <a:noAutofit/>
          </a:bodyPr>
          <a:lstStyle/>
          <a:p>
            <a:pPr marL="90000" lvl="0" indent="-39200" algn="l">
              <a:lnSpc>
                <a:spcPct val="90000"/>
              </a:lnSpc>
              <a:spcBef>
                <a:spcPts val="0"/>
              </a:spcBef>
              <a:spcAft>
                <a:spcPts val="0"/>
              </a:spcAft>
              <a:buClr>
                <a:srgbClr val="000000"/>
              </a:buClr>
              <a:buSzPts val="800"/>
              <a:buFont typeface="Corbel"/>
              <a:buNone/>
            </a:pPr>
            <a:endParaRPr lang="nl-NL" dirty="0">
              <a:sym typeface="Corbel" panose="020B0503020204020204" pitchFamily="34" charset="0"/>
            </a:endParaRPr>
          </a:p>
        </p:txBody>
      </p:sp>
      <p:pic>
        <p:nvPicPr>
          <p:cNvPr id="4" name="Picture 3">
            <a:hlinkClick r:id="rId6" action="ppaction://hlinksldjump"/>
            <a:extLst>
              <a:ext uri="{FF2B5EF4-FFF2-40B4-BE49-F238E27FC236}">
                <a16:creationId xmlns:a16="http://schemas.microsoft.com/office/drawing/2014/main" id="{7EC61A59-0FDD-4C33-9992-548604D01835}"/>
              </a:ext>
            </a:extLst>
          </p:cNvPr>
          <p:cNvPicPr>
            <a:picLocks noChangeAspect="1"/>
          </p:cNvPicPr>
          <p:nvPr/>
        </p:nvPicPr>
        <p:blipFill>
          <a:blip r:embed="rId7">
            <a:alphaModFix/>
          </a:blip>
          <a:stretch>
            <a:fillRect/>
          </a:stretch>
        </p:blipFill>
        <p:spPr>
          <a:xfrm>
            <a:off x="890752" y="2008193"/>
            <a:ext cx="3186284" cy="1962534"/>
          </a:xfrm>
          <a:prstGeom prst="rect">
            <a:avLst/>
          </a:prstGeom>
          <a:noFill/>
          <a:ln w="9525" cap="flat" cmpd="sng">
            <a:solidFill>
              <a:srgbClr val="7F7F7F"/>
            </a:solidFill>
            <a:prstDash val="solid"/>
            <a:round/>
            <a:headEnd type="none" w="sm" len="sm"/>
            <a:tailEnd type="none" w="sm" len="sm"/>
          </a:ln>
        </p:spPr>
      </p:pic>
      <p:pic>
        <p:nvPicPr>
          <p:cNvPr id="6" name="Picture 5">
            <a:hlinkClick r:id="rId8" action="ppaction://hlinksldjump"/>
            <a:extLst>
              <a:ext uri="{FF2B5EF4-FFF2-40B4-BE49-F238E27FC236}">
                <a16:creationId xmlns:a16="http://schemas.microsoft.com/office/drawing/2014/main" id="{CB6C0E6E-FC24-483B-8D5F-05648D177AA0}"/>
              </a:ext>
            </a:extLst>
          </p:cNvPr>
          <p:cNvPicPr>
            <a:picLocks noChangeAspect="1"/>
          </p:cNvPicPr>
          <p:nvPr/>
        </p:nvPicPr>
        <p:blipFill>
          <a:blip r:embed="rId9">
            <a:alphaModFix/>
          </a:blip>
          <a:stretch>
            <a:fillRect/>
          </a:stretch>
        </p:blipFill>
        <p:spPr>
          <a:xfrm>
            <a:off x="6396283" y="2008193"/>
            <a:ext cx="3237583" cy="1995491"/>
          </a:xfrm>
          <a:prstGeom prst="rect">
            <a:avLst/>
          </a:prstGeom>
          <a:noFill/>
          <a:ln w="9525" cap="flat" cmpd="sng">
            <a:solidFill>
              <a:srgbClr val="7F7F7F"/>
            </a:solidFill>
            <a:prstDash val="solid"/>
            <a:round/>
            <a:headEnd type="none" w="sm" len="sm"/>
            <a:tailEnd type="none" w="sm" len="sm"/>
          </a:ln>
        </p:spPr>
      </p:pic>
      <p:pic>
        <p:nvPicPr>
          <p:cNvPr id="8" name="Picture 7">
            <a:hlinkClick r:id="rId10" action="ppaction://hlinksldjump"/>
            <a:extLst>
              <a:ext uri="{FF2B5EF4-FFF2-40B4-BE49-F238E27FC236}">
                <a16:creationId xmlns:a16="http://schemas.microsoft.com/office/drawing/2014/main" id="{AEE70E96-5BE1-4B84-9FDF-94950F62FC6C}"/>
              </a:ext>
            </a:extLst>
          </p:cNvPr>
          <p:cNvPicPr>
            <a:picLocks noChangeAspect="1"/>
          </p:cNvPicPr>
          <p:nvPr/>
        </p:nvPicPr>
        <p:blipFill>
          <a:blip r:embed="rId11">
            <a:alphaModFix/>
          </a:blip>
          <a:stretch>
            <a:fillRect/>
          </a:stretch>
        </p:blipFill>
        <p:spPr>
          <a:xfrm>
            <a:off x="896971" y="4304669"/>
            <a:ext cx="3186285" cy="1978896"/>
          </a:xfrm>
          <a:prstGeom prst="rect">
            <a:avLst/>
          </a:prstGeom>
          <a:noFill/>
          <a:ln w="9525" cap="flat" cmpd="sng">
            <a:solidFill>
              <a:srgbClr val="7F7F7F"/>
            </a:solidFill>
            <a:prstDash val="solid"/>
            <a:round/>
            <a:headEnd type="none" w="sm" len="sm"/>
            <a:tailEnd type="none" w="sm" len="sm"/>
          </a:ln>
        </p:spPr>
      </p:pic>
      <p:pic>
        <p:nvPicPr>
          <p:cNvPr id="10" name="Picture 9">
            <a:hlinkClick r:id="rId12" action="ppaction://hlinksldjump"/>
            <a:extLst>
              <a:ext uri="{FF2B5EF4-FFF2-40B4-BE49-F238E27FC236}">
                <a16:creationId xmlns:a16="http://schemas.microsoft.com/office/drawing/2014/main" id="{1DEECEDE-528D-4C80-ABA7-CA859A22DEF4}"/>
              </a:ext>
            </a:extLst>
          </p:cNvPr>
          <p:cNvPicPr>
            <a:picLocks noChangeAspect="1"/>
          </p:cNvPicPr>
          <p:nvPr/>
        </p:nvPicPr>
        <p:blipFill>
          <a:blip r:embed="rId13">
            <a:alphaModFix/>
          </a:blip>
          <a:stretch>
            <a:fillRect/>
          </a:stretch>
        </p:blipFill>
        <p:spPr>
          <a:xfrm>
            <a:off x="6396283" y="4310894"/>
            <a:ext cx="3281996" cy="1995491"/>
          </a:xfrm>
          <a:prstGeom prst="rect">
            <a:avLst/>
          </a:prstGeom>
          <a:noFill/>
          <a:ln w="9525" cap="flat" cmpd="sng">
            <a:solidFill>
              <a:srgbClr val="7F7F7F"/>
            </a:solidFill>
            <a:prstDash val="solid"/>
            <a:round/>
            <a:headEnd type="none" w="sm" len="sm"/>
            <a:tailEnd type="none" w="sm" len="sm"/>
          </a:ln>
        </p:spPr>
      </p:pic>
      <p:grpSp>
        <p:nvGrpSpPr>
          <p:cNvPr id="498" name="Google Shape;498;p5"/>
          <p:cNvGrpSpPr/>
          <p:nvPr/>
        </p:nvGrpSpPr>
        <p:grpSpPr>
          <a:xfrm rot="-1126171">
            <a:off x="8580330" y="3157294"/>
            <a:ext cx="2808416" cy="908812"/>
            <a:chOff x="1772269" y="4778304"/>
            <a:chExt cx="2808416" cy="908813"/>
          </a:xfrm>
        </p:grpSpPr>
        <p:sp>
          <p:nvSpPr>
            <p:cNvPr id="499" name="Google Shape;499;p5">
              <a:hlinkClick r:id="rId14"/>
            </p:cNvPr>
            <p:cNvSpPr/>
            <p:nvPr/>
          </p:nvSpPr>
          <p:spPr>
            <a:xfrm rot="162194">
              <a:off x="1789091" y="4843304"/>
              <a:ext cx="2774773" cy="778813"/>
            </a:xfrm>
            <a:prstGeom prst="rect">
              <a:avLst/>
            </a:prstGeom>
            <a:solidFill>
              <a:schemeClr val="accent5"/>
            </a:solidFill>
            <a:ln>
              <a:noFill/>
            </a:ln>
            <a:effectLst>
              <a:outerShdw blurRad="50800" dist="38100" algn="l" rotWithShape="0">
                <a:srgbClr val="000000">
                  <a:alpha val="40000"/>
                </a:srgbClr>
              </a:outerShdw>
            </a:effectLst>
          </p:spPr>
          <p:txBody>
            <a:bodyPr spcFirstLastPara="1" wrap="square" lIns="360000" tIns="45700" rIns="72000" bIns="45700" anchor="t" anchorCtr="0">
              <a:noAutofit/>
            </a:bodyPr>
            <a:lstStyle/>
            <a:p>
              <a:pPr marL="0" marR="0" lvl="0" indent="0" algn="l">
                <a:lnSpc>
                  <a:spcPct val="90000"/>
                </a:lnSpc>
                <a:spcBef>
                  <a:spcPts val="0"/>
                </a:spcBef>
                <a:spcAft>
                  <a:spcPts val="0"/>
                </a:spcAft>
                <a:buClr>
                  <a:srgbClr val="FF0000"/>
                </a:buClr>
                <a:buSzPts val="1200"/>
                <a:buFont typeface="Noto Sans Symbols"/>
                <a:buNone/>
              </a:pPr>
              <a:r>
                <a:rPr lang="nl-NL" sz="1200" b="1" i="0" u="none" strike="noStrike" cap="none" dirty="0">
                  <a:solidFill>
                    <a:srgbClr val="000000"/>
                  </a:solidFill>
                  <a:ea typeface="Corbel"/>
                  <a:cs typeface="Corbel"/>
                  <a:sym typeface="Corbel" panose="020B0503020204020204" pitchFamily="34" charset="0"/>
                </a:rPr>
                <a:t>Vergeet niet de template eerst te kopiëren zodat het origineel behouden blijft</a:t>
              </a:r>
              <a:endParaRPr lang="nl-NL" sz="1200" b="0" i="0" u="none" strike="noStrike" cap="none" dirty="0">
                <a:solidFill>
                  <a:srgbClr val="000000"/>
                </a:solidFill>
                <a:ea typeface="Corbel"/>
                <a:cs typeface="Corbel"/>
                <a:sym typeface="Corbel" panose="020B0503020204020204" pitchFamily="34" charset="0"/>
              </a:endParaRPr>
            </a:p>
            <a:p>
              <a:pPr marL="0" marR="0" lvl="0" indent="0" algn="l">
                <a:lnSpc>
                  <a:spcPct val="90000"/>
                </a:lnSpc>
                <a:spcBef>
                  <a:spcPts val="750"/>
                </a:spcBef>
                <a:spcAft>
                  <a:spcPts val="0"/>
                </a:spcAft>
                <a:buClr>
                  <a:srgbClr val="FF0000"/>
                </a:buClr>
                <a:buSzPts val="1200"/>
                <a:buFont typeface="Noto Sans Symbols"/>
                <a:buNone/>
              </a:pPr>
              <a:endParaRPr lang="nl-NL" sz="1200" b="0" i="0" u="none" strike="noStrike" cap="none" dirty="0">
                <a:solidFill>
                  <a:srgbClr val="000000"/>
                </a:solidFill>
                <a:latin typeface="Corbel"/>
                <a:ea typeface="Corbel"/>
                <a:cs typeface="Corbel"/>
                <a:sym typeface="Corbel"/>
              </a:endParaRPr>
            </a:p>
          </p:txBody>
        </p:sp>
        <p:pic>
          <p:nvPicPr>
            <p:cNvPr id="500" name="Google Shape;500;p5" descr="Information"/>
            <p:cNvPicPr preferRelativeResize="0"/>
            <p:nvPr/>
          </p:nvPicPr>
          <p:blipFill rotWithShape="1">
            <a:blip r:embed="rId15" cstate="hqprint">
              <a:alphaModFix/>
              <a:extLst>
                <a:ext uri="{28A0092B-C50C-407E-A947-70E740481C1C}">
                  <a14:useLocalDpi xmlns:a14="http://schemas.microsoft.com/office/drawing/2010/main"/>
                </a:ext>
              </a:extLst>
            </a:blip>
            <a:srcRect/>
            <a:stretch/>
          </p:blipFill>
          <p:spPr>
            <a:xfrm rot="162194">
              <a:off x="1849333" y="4814620"/>
              <a:ext cx="291256" cy="291256"/>
            </a:xfrm>
            <a:prstGeom prst="rect">
              <a:avLst/>
            </a:prstGeom>
            <a:noFill/>
            <a:ln>
              <a:noFill/>
            </a:ln>
          </p:spPr>
        </p:pic>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49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1.55610000000000003872E+00&quot;&gt;&lt;m_msothmcolidx val=&quot;0&quot;/&gt;&lt;m_rgb r=&quot;EC&quot; g=&quot;62&quot; b=&quot;24&quot;/&gt;&lt;/elem&gt;&lt;elem m_fUsage=&quot;1.00000000000000000000E+00&quot;&gt;&lt;m_msothmcolidx val=&quot;0&quot;/&gt;&lt;m_rgb r=&quot;FF&quot; g=&quot;EF&quot; b=&quot;BF&quot;/&gt;&lt;/elem&gt;&lt;elem m_fUsage=&quot;8.10000000000000053291E-01&quot;&gt;&lt;m_msothmcolidx val=&quot;0&quot;/&gt;&lt;m_rgb r=&quot;F5&quot; g=&quot;B0&quot; b=&quot;91&quot;/&gt;&lt;/elem&gt;&lt;elem m_fUsage=&quot;7.29000000000000092371E-01&quot;&gt;&lt;m_msothmcolidx val=&quot;0&quot;/&gt;&lt;m_rgb r=&quot;F0&quot; g=&quot;F7&quot; b=&quot;F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x.r_eD0FhdMuBmVK_w2K5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nnFtYShf4nds1LT7aYSde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PTINOwX3997LRVvpYlLS9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s3.nLaoTFwHpgUuABgVVe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L47Ugy3PH569nktjL8CX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0y.sixR_FtuZw.ilxlYL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LYaaNSrVHKepzzKGKVpW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QhziZEEALrG8ueju73Xz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1Exsovbjn69yqtYzdRax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EsW9JY1pIf5UWPqqFwjuzw"/>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potx" id="{A0CEDFD0-AE7D-4E2D-B1C6-4BD02AA936B9}" vid="{7ABD8A0A-A662-4A66-85C5-4A469C795F26}"/>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0</TotalTime>
  <Words>1096</Words>
  <Application>Microsoft Office PowerPoint</Application>
  <PresentationFormat>Widescreen</PresentationFormat>
  <Paragraphs>205</Paragraphs>
  <Slides>39</Slides>
  <Notes>3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6" baseType="lpstr">
      <vt:lpstr>Arial</vt:lpstr>
      <vt:lpstr>Corbel</vt:lpstr>
      <vt:lpstr>Garamond</vt:lpstr>
      <vt:lpstr>Noto Sans Symbols</vt:lpstr>
      <vt:lpstr>Wingdings</vt:lpstr>
      <vt:lpstr>itspublic 20200925</vt:lpstr>
      <vt:lpstr>think-cell Slide</vt:lpstr>
      <vt:lpstr>LINKEDIN TEMPLATES</vt:lpstr>
      <vt:lpstr>PowerPoint Presentation</vt:lpstr>
      <vt:lpstr>PowerPoint Presentation</vt:lpstr>
      <vt:lpstr>PowerPoint Presentation</vt:lpstr>
      <vt:lpstr>PowerPoint Presentation</vt:lpstr>
      <vt:lpstr>PowerPoint Presentation</vt:lpstr>
      <vt:lpstr>PowerPoint Presentation</vt:lpstr>
      <vt:lpstr>De verhoudingen van de afbeeldingen bij verschillende soorten posts verschillen</vt:lpstr>
      <vt:lpstr>We hebben al templates voor verschillende posts, kijk of jouw type post er tussen zit (volg de hyperlink op het plaatje)</vt:lpstr>
      <vt:lpstr>Optie 1: Je kunt templates eenvoudig aanpassen door de huidige foto’s te vervangen en de tekst te veranderen</vt:lpstr>
      <vt:lpstr>Optie 2: Je kunt zelf eenvoudig visualisaties bij posts maken door binnen het gele vlak te werke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va Nivard</dc:creator>
  <dc:description/>
  <cp:lastModifiedBy>Thijs Jacobs</cp:lastModifiedBy>
  <cp:revision>126</cp:revision>
  <dcterms:created xsi:type="dcterms:W3CDTF">2021-07-09T11:53:54Z</dcterms:created>
  <dcterms:modified xsi:type="dcterms:W3CDTF">2023-02-27T10:08:54Z</dcterms:modified>
</cp:coreProperties>
</file>